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Override4.xml" ContentType="application/vnd.openxmlformats-officedocument.themeOverr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8"/>
  </p:notesMasterIdLst>
  <p:handoutMasterIdLst>
    <p:handoutMasterId r:id="rId29"/>
  </p:handoutMasterIdLst>
  <p:sldIdLst>
    <p:sldId id="256" r:id="rId2"/>
    <p:sldId id="269" r:id="rId3"/>
    <p:sldId id="258" r:id="rId4"/>
    <p:sldId id="272" r:id="rId5"/>
    <p:sldId id="273" r:id="rId6"/>
    <p:sldId id="274" r:id="rId7"/>
    <p:sldId id="275" r:id="rId8"/>
    <p:sldId id="278" r:id="rId9"/>
    <p:sldId id="279" r:id="rId10"/>
    <p:sldId id="280" r:id="rId11"/>
    <p:sldId id="281" r:id="rId12"/>
    <p:sldId id="283" r:id="rId13"/>
    <p:sldId id="284" r:id="rId14"/>
    <p:sldId id="285" r:id="rId15"/>
    <p:sldId id="286" r:id="rId16"/>
    <p:sldId id="287" r:id="rId17"/>
    <p:sldId id="289" r:id="rId18"/>
    <p:sldId id="290" r:id="rId19"/>
    <p:sldId id="291" r:id="rId20"/>
    <p:sldId id="292" r:id="rId21"/>
    <p:sldId id="293" r:id="rId22"/>
    <p:sldId id="295" r:id="rId23"/>
    <p:sldId id="296" r:id="rId24"/>
    <p:sldId id="297" r:id="rId25"/>
    <p:sldId id="298" r:id="rId26"/>
    <p:sldId id="261" r:id="rId27"/>
  </p:sldIdLst>
  <p:sldSz cx="12192000" cy="6858000"/>
  <p:notesSz cx="6858000" cy="9144000"/>
  <p:custDataLst>
    <p:tags r:id="rId3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9EDD5"/>
    <a:srgbClr val="4BD194"/>
    <a:srgbClr val="2BAD71"/>
    <a:srgbClr val="55BC67"/>
    <a:srgbClr val="61C153"/>
    <a:srgbClr val="A20000"/>
    <a:srgbClr val="A40000"/>
    <a:srgbClr val="9E0000"/>
    <a:srgbClr val="C7450B"/>
    <a:srgbClr val="E24E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777" autoAdjust="0"/>
    <p:restoredTop sz="95677" autoAdjust="0"/>
  </p:normalViewPr>
  <p:slideViewPr>
    <p:cSldViewPr snapToGrid="0">
      <p:cViewPr varScale="1">
        <p:scale>
          <a:sx n="70" d="100"/>
          <a:sy n="70" d="100"/>
        </p:scale>
        <p:origin x="221" y="58"/>
      </p:cViewPr>
      <p:guideLst/>
    </p:cSldViewPr>
  </p:slid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4-09-1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4-09-1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51PPT</a:t>
            </a:r>
            <a:r>
              <a:rPr lang="zh-CN" altLang="en-US" dirty="0"/>
              <a:t>模板网，幻灯片演示模板及素材免费下载！</a:t>
            </a:r>
          </a:p>
          <a:p>
            <a:r>
              <a:rPr lang="en-US" altLang="zh-CN" dirty="0"/>
              <a:t>51PPT</a:t>
            </a:r>
            <a:r>
              <a:rPr lang="zh-CN" altLang="en-US" dirty="0"/>
              <a:t>模板网 唯一访问网址：</a:t>
            </a:r>
            <a:r>
              <a:rPr lang="en-US" altLang="zh-CN" dirty="0"/>
              <a:t>www.51pptmoban.com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606707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51PPT</a:t>
            </a:r>
            <a:r>
              <a:rPr lang="zh-CN" altLang="en-US" dirty="0"/>
              <a:t>模板网，幻灯片演示模板及素材免费下载！</a:t>
            </a:r>
          </a:p>
          <a:p>
            <a:r>
              <a:rPr lang="en-US" altLang="zh-CN" dirty="0"/>
              <a:t>51PPT</a:t>
            </a:r>
            <a:r>
              <a:rPr lang="zh-CN" altLang="en-US" dirty="0"/>
              <a:t>模板网 唯一访问网址：</a:t>
            </a:r>
            <a:r>
              <a:rPr lang="en-US" altLang="zh-CN" dirty="0"/>
              <a:t>www.51pptmoban.com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419784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5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jpeg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9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0">
            <a:extLst>
              <a:ext uri="{FF2B5EF4-FFF2-40B4-BE49-F238E27FC236}">
                <a16:creationId xmlns:a16="http://schemas.microsoft.com/office/drawing/2014/main" id="{30293BD0-D52A-41F1-831E-D0C00154386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1760537"/>
            <a:ext cx="12192000" cy="5097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119132A3-810C-4B3B-83DA-1BCC8654E78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36000">
                <a:schemeClr val="bg1"/>
              </a:gs>
              <a:gs pos="100000">
                <a:schemeClr val="bg1">
                  <a:alpha val="73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8" name="组合 7">
            <a:extLst>
              <a:ext uri="{FF2B5EF4-FFF2-40B4-BE49-F238E27FC236}">
                <a16:creationId xmlns:a16="http://schemas.microsoft.com/office/drawing/2014/main" id="{60AD7349-AB7C-47A5-BF0C-3EADCFF39749}"/>
              </a:ext>
            </a:extLst>
          </p:cNvPr>
          <p:cNvGrpSpPr/>
          <p:nvPr userDrawn="1"/>
        </p:nvGrpSpPr>
        <p:grpSpPr>
          <a:xfrm>
            <a:off x="875576" y="649389"/>
            <a:ext cx="2632511" cy="596061"/>
            <a:chOff x="7537450" y="-861601"/>
            <a:chExt cx="2669040" cy="604332"/>
          </a:xfrm>
        </p:grpSpPr>
        <p:grpSp>
          <p:nvGrpSpPr>
            <p:cNvPr id="9" name="图形 7">
              <a:extLst>
                <a:ext uri="{FF2B5EF4-FFF2-40B4-BE49-F238E27FC236}">
                  <a16:creationId xmlns:a16="http://schemas.microsoft.com/office/drawing/2014/main" id="{8A1589E2-29DD-4A12-9910-A2B56A86A59A}"/>
                </a:ext>
              </a:extLst>
            </p:cNvPr>
            <p:cNvGrpSpPr/>
            <p:nvPr/>
          </p:nvGrpSpPr>
          <p:grpSpPr>
            <a:xfrm>
              <a:off x="7537450" y="-861601"/>
              <a:ext cx="604826" cy="604332"/>
              <a:chOff x="1948711" y="3428943"/>
              <a:chExt cx="3240058" cy="3237414"/>
            </a:xfrm>
          </p:grpSpPr>
          <p:grpSp>
            <p:nvGrpSpPr>
              <p:cNvPr id="70" name="图形 7">
                <a:extLst>
                  <a:ext uri="{FF2B5EF4-FFF2-40B4-BE49-F238E27FC236}">
                    <a16:creationId xmlns:a16="http://schemas.microsoft.com/office/drawing/2014/main" id="{C321A420-262E-4C73-8D03-74C859FB44EC}"/>
                  </a:ext>
                </a:extLst>
              </p:cNvPr>
              <p:cNvGrpSpPr/>
              <p:nvPr/>
            </p:nvGrpSpPr>
            <p:grpSpPr>
              <a:xfrm>
                <a:off x="1948711" y="3428943"/>
                <a:ext cx="3240058" cy="3237414"/>
                <a:chOff x="1948710" y="3428943"/>
                <a:chExt cx="3240058" cy="3237414"/>
              </a:xfrm>
              <a:solidFill>
                <a:srgbClr val="00993E"/>
              </a:solidFill>
            </p:grpSpPr>
            <p:sp>
              <p:nvSpPr>
                <p:cNvPr id="149" name="任意多边形: 形状 148">
                  <a:extLst>
                    <a:ext uri="{FF2B5EF4-FFF2-40B4-BE49-F238E27FC236}">
                      <a16:creationId xmlns:a16="http://schemas.microsoft.com/office/drawing/2014/main" id="{DC7A6BD9-4308-4DDE-B066-C961FA57828B}"/>
                    </a:ext>
                  </a:extLst>
                </p:cNvPr>
                <p:cNvSpPr/>
                <p:nvPr/>
              </p:nvSpPr>
              <p:spPr>
                <a:xfrm>
                  <a:off x="1949069" y="3428943"/>
                  <a:ext cx="3239642" cy="3237414"/>
                </a:xfrm>
                <a:custGeom>
                  <a:avLst/>
                  <a:gdLst>
                    <a:gd name="connsiteX0" fmla="*/ 1612202 w 3239642"/>
                    <a:gd name="connsiteY0" fmla="*/ 3167977 h 3237414"/>
                    <a:gd name="connsiteX1" fmla="*/ 1660779 w 3239642"/>
                    <a:gd name="connsiteY1" fmla="*/ 3164357 h 3237414"/>
                    <a:gd name="connsiteX2" fmla="*/ 1785557 w 3239642"/>
                    <a:gd name="connsiteY2" fmla="*/ 3155309 h 3237414"/>
                    <a:gd name="connsiteX3" fmla="*/ 2056067 w 3239642"/>
                    <a:gd name="connsiteY3" fmla="*/ 3099683 h 3237414"/>
                    <a:gd name="connsiteX4" fmla="*/ 3034665 w 3239642"/>
                    <a:gd name="connsiteY4" fmla="*/ 2211286 h 3237414"/>
                    <a:gd name="connsiteX5" fmla="*/ 3135344 w 3239642"/>
                    <a:gd name="connsiteY5" fmla="*/ 1836953 h 3237414"/>
                    <a:gd name="connsiteX6" fmla="*/ 3147346 w 3239642"/>
                    <a:gd name="connsiteY6" fmla="*/ 1676266 h 3237414"/>
                    <a:gd name="connsiteX7" fmla="*/ 3141345 w 3239642"/>
                    <a:gd name="connsiteY7" fmla="*/ 1467288 h 3237414"/>
                    <a:gd name="connsiteX8" fmla="*/ 3037713 w 3239642"/>
                    <a:gd name="connsiteY8" fmla="*/ 1055332 h 3237414"/>
                    <a:gd name="connsiteX9" fmla="*/ 1612202 w 3239642"/>
                    <a:gd name="connsiteY9" fmla="*/ 90544 h 3237414"/>
                    <a:gd name="connsiteX10" fmla="*/ 1612202 w 3239642"/>
                    <a:gd name="connsiteY10" fmla="*/ 152 h 3237414"/>
                    <a:gd name="connsiteX11" fmla="*/ 3118961 w 3239642"/>
                    <a:gd name="connsiteY11" fmla="*/ 1014851 h 3237414"/>
                    <a:gd name="connsiteX12" fmla="*/ 3227070 w 3239642"/>
                    <a:gd name="connsiteY12" fmla="*/ 1438808 h 3237414"/>
                    <a:gd name="connsiteX13" fmla="*/ 3234690 w 3239642"/>
                    <a:gd name="connsiteY13" fmla="*/ 1566539 h 3237414"/>
                    <a:gd name="connsiteX14" fmla="*/ 3239643 w 3239642"/>
                    <a:gd name="connsiteY14" fmla="*/ 1632261 h 3237414"/>
                    <a:gd name="connsiteX15" fmla="*/ 3239643 w 3239642"/>
                    <a:gd name="connsiteY15" fmla="*/ 1646168 h 3237414"/>
                    <a:gd name="connsiteX16" fmla="*/ 3227070 w 3239642"/>
                    <a:gd name="connsiteY16" fmla="*/ 1780089 h 3237414"/>
                    <a:gd name="connsiteX17" fmla="*/ 3210497 w 3239642"/>
                    <a:gd name="connsiteY17" fmla="*/ 1907724 h 3237414"/>
                    <a:gd name="connsiteX18" fmla="*/ 3112675 w 3239642"/>
                    <a:gd name="connsiteY18" fmla="*/ 2238527 h 3237414"/>
                    <a:gd name="connsiteX19" fmla="*/ 2095119 w 3239642"/>
                    <a:gd name="connsiteY19" fmla="*/ 3162929 h 3237414"/>
                    <a:gd name="connsiteX20" fmla="*/ 1823180 w 3239642"/>
                    <a:gd name="connsiteY20" fmla="*/ 3221507 h 3237414"/>
                    <a:gd name="connsiteX21" fmla="*/ 1669733 w 3239642"/>
                    <a:gd name="connsiteY21" fmla="*/ 3233604 h 3237414"/>
                    <a:gd name="connsiteX22" fmla="*/ 1612202 w 3239642"/>
                    <a:gd name="connsiteY22" fmla="*/ 3237414 h 3237414"/>
                    <a:gd name="connsiteX23" fmla="*/ 1612202 w 3239642"/>
                    <a:gd name="connsiteY23" fmla="*/ 3167977 h 3237414"/>
                    <a:gd name="connsiteX24" fmla="*/ 1391793 w 3239642"/>
                    <a:gd name="connsiteY24" fmla="*/ 105499 h 3237414"/>
                    <a:gd name="connsiteX25" fmla="*/ 1082231 w 3239642"/>
                    <a:gd name="connsiteY25" fmla="*/ 183604 h 3237414"/>
                    <a:gd name="connsiteX26" fmla="*/ 160687 w 3239642"/>
                    <a:gd name="connsiteY26" fmla="*/ 1118768 h 3237414"/>
                    <a:gd name="connsiteX27" fmla="*/ 90107 w 3239642"/>
                    <a:gd name="connsiteY27" fmla="*/ 1407185 h 3237414"/>
                    <a:gd name="connsiteX28" fmla="*/ 136684 w 3239642"/>
                    <a:gd name="connsiteY28" fmla="*/ 2054981 h 3237414"/>
                    <a:gd name="connsiteX29" fmla="*/ 990410 w 3239642"/>
                    <a:gd name="connsiteY29" fmla="*/ 3032055 h 3237414"/>
                    <a:gd name="connsiteX30" fmla="*/ 1283494 w 3239642"/>
                    <a:gd name="connsiteY30" fmla="*/ 3129877 h 3237414"/>
                    <a:gd name="connsiteX31" fmla="*/ 1451801 w 3239642"/>
                    <a:gd name="connsiteY31" fmla="*/ 3155404 h 3237414"/>
                    <a:gd name="connsiteX32" fmla="*/ 1612202 w 3239642"/>
                    <a:gd name="connsiteY32" fmla="*/ 3168072 h 3237414"/>
                    <a:gd name="connsiteX33" fmla="*/ 1612202 w 3239642"/>
                    <a:gd name="connsiteY33" fmla="*/ 3237319 h 3237414"/>
                    <a:gd name="connsiteX34" fmla="*/ 1456277 w 3239642"/>
                    <a:gd name="connsiteY34" fmla="*/ 3224555 h 3237414"/>
                    <a:gd name="connsiteX35" fmla="*/ 1304639 w 3239642"/>
                    <a:gd name="connsiteY35" fmla="*/ 3203600 h 3237414"/>
                    <a:gd name="connsiteX36" fmla="*/ 981361 w 3239642"/>
                    <a:gd name="connsiteY36" fmla="*/ 3101302 h 3237414"/>
                    <a:gd name="connsiteX37" fmla="*/ 68961 w 3239642"/>
                    <a:gd name="connsiteY37" fmla="*/ 2071649 h 3237414"/>
                    <a:gd name="connsiteX38" fmla="*/ 0 w 3239642"/>
                    <a:gd name="connsiteY38" fmla="*/ 1637309 h 3237414"/>
                    <a:gd name="connsiteX39" fmla="*/ 0 w 3239642"/>
                    <a:gd name="connsiteY39" fmla="*/ 1568539 h 3237414"/>
                    <a:gd name="connsiteX40" fmla="*/ 18002 w 3239642"/>
                    <a:gd name="connsiteY40" fmla="*/ 1390707 h 3237414"/>
                    <a:gd name="connsiteX41" fmla="*/ 88583 w 3239642"/>
                    <a:gd name="connsiteY41" fmla="*/ 1094575 h 3237414"/>
                    <a:gd name="connsiteX42" fmla="*/ 1071563 w 3239642"/>
                    <a:gd name="connsiteY42" fmla="*/ 94926 h 3237414"/>
                    <a:gd name="connsiteX43" fmla="*/ 1393317 w 3239642"/>
                    <a:gd name="connsiteY43" fmla="*/ 15202 h 3237414"/>
                    <a:gd name="connsiteX44" fmla="*/ 1569053 w 3239642"/>
                    <a:gd name="connsiteY44" fmla="*/ 247 h 3237414"/>
                    <a:gd name="connsiteX45" fmla="*/ 1612106 w 3239642"/>
                    <a:gd name="connsiteY45" fmla="*/ 57 h 3237414"/>
                    <a:gd name="connsiteX46" fmla="*/ 1612106 w 3239642"/>
                    <a:gd name="connsiteY46" fmla="*/ 90544 h 3237414"/>
                    <a:gd name="connsiteX47" fmla="*/ 1562957 w 3239642"/>
                    <a:gd name="connsiteY47" fmla="*/ 90544 h 3237414"/>
                    <a:gd name="connsiteX48" fmla="*/ 1391793 w 3239642"/>
                    <a:gd name="connsiteY48" fmla="*/ 105499 h 32374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3239642" h="3237414">
                      <a:moveTo>
                        <a:pt x="1612202" y="3167977"/>
                      </a:moveTo>
                      <a:cubicBezTo>
                        <a:pt x="1630394" y="3167786"/>
                        <a:pt x="1647158" y="3166548"/>
                        <a:pt x="1660779" y="3164357"/>
                      </a:cubicBezTo>
                      <a:cubicBezTo>
                        <a:pt x="1702308" y="3161309"/>
                        <a:pt x="1743932" y="3158356"/>
                        <a:pt x="1785557" y="3155309"/>
                      </a:cubicBezTo>
                      <a:cubicBezTo>
                        <a:pt x="1881378" y="3137973"/>
                        <a:pt x="1971389" y="3126257"/>
                        <a:pt x="2056067" y="3099683"/>
                      </a:cubicBezTo>
                      <a:cubicBezTo>
                        <a:pt x="2522982" y="2953188"/>
                        <a:pt x="2851976" y="2642292"/>
                        <a:pt x="3034665" y="2211286"/>
                      </a:cubicBezTo>
                      <a:cubicBezTo>
                        <a:pt x="3082671" y="2097938"/>
                        <a:pt x="3109436" y="1974113"/>
                        <a:pt x="3135344" y="1836953"/>
                      </a:cubicBezTo>
                      <a:cubicBezTo>
                        <a:pt x="3145155" y="1784852"/>
                        <a:pt x="3138011" y="1732654"/>
                        <a:pt x="3147346" y="1676266"/>
                      </a:cubicBezTo>
                      <a:cubicBezTo>
                        <a:pt x="3156966" y="1617974"/>
                        <a:pt x="3150965" y="1521581"/>
                        <a:pt x="3141345" y="1467288"/>
                      </a:cubicBezTo>
                      <a:cubicBezTo>
                        <a:pt x="3114294" y="1312983"/>
                        <a:pt x="3088767" y="1179633"/>
                        <a:pt x="3037713" y="1055332"/>
                      </a:cubicBezTo>
                      <a:cubicBezTo>
                        <a:pt x="2825972" y="540410"/>
                        <a:pt x="2338578" y="99307"/>
                        <a:pt x="1612202" y="90544"/>
                      </a:cubicBezTo>
                      <a:lnTo>
                        <a:pt x="1612202" y="152"/>
                      </a:lnTo>
                      <a:cubicBezTo>
                        <a:pt x="2379821" y="6439"/>
                        <a:pt x="2895791" y="471449"/>
                        <a:pt x="3118961" y="1014851"/>
                      </a:cubicBezTo>
                      <a:cubicBezTo>
                        <a:pt x="3171444" y="1142962"/>
                        <a:pt x="3198781" y="1280217"/>
                        <a:pt x="3227070" y="1438808"/>
                      </a:cubicBezTo>
                      <a:cubicBezTo>
                        <a:pt x="3229547" y="1481385"/>
                        <a:pt x="3232118" y="1524057"/>
                        <a:pt x="3234690" y="1566539"/>
                      </a:cubicBezTo>
                      <a:cubicBezTo>
                        <a:pt x="3237929" y="1586922"/>
                        <a:pt x="3239453" y="1609306"/>
                        <a:pt x="3239643" y="1632261"/>
                      </a:cubicBezTo>
                      <a:lnTo>
                        <a:pt x="3239643" y="1646168"/>
                      </a:lnTo>
                      <a:cubicBezTo>
                        <a:pt x="3239167" y="1693697"/>
                        <a:pt x="3233642" y="1742561"/>
                        <a:pt x="3227070" y="1780089"/>
                      </a:cubicBezTo>
                      <a:cubicBezTo>
                        <a:pt x="3221641" y="1822666"/>
                        <a:pt x="3216021" y="1865243"/>
                        <a:pt x="3210497" y="1907724"/>
                      </a:cubicBezTo>
                      <a:cubicBezTo>
                        <a:pt x="3184112" y="2026787"/>
                        <a:pt x="3155918" y="2136800"/>
                        <a:pt x="3112675" y="2238527"/>
                      </a:cubicBezTo>
                      <a:cubicBezTo>
                        <a:pt x="2923604" y="2684297"/>
                        <a:pt x="2577370" y="3010529"/>
                        <a:pt x="2095119" y="3162929"/>
                      </a:cubicBezTo>
                      <a:cubicBezTo>
                        <a:pt x="2009775" y="3189980"/>
                        <a:pt x="1919097" y="3203696"/>
                        <a:pt x="1823180" y="3221507"/>
                      </a:cubicBezTo>
                      <a:cubicBezTo>
                        <a:pt x="1771936" y="3225508"/>
                        <a:pt x="1720977" y="3229604"/>
                        <a:pt x="1669733" y="3233604"/>
                      </a:cubicBezTo>
                      <a:cubicBezTo>
                        <a:pt x="1653826" y="3236271"/>
                        <a:pt x="1634014" y="3237319"/>
                        <a:pt x="1612202" y="3237414"/>
                      </a:cubicBezTo>
                      <a:lnTo>
                        <a:pt x="1612202" y="3167977"/>
                      </a:lnTo>
                      <a:close/>
                      <a:moveTo>
                        <a:pt x="1391793" y="105499"/>
                      </a:moveTo>
                      <a:cubicBezTo>
                        <a:pt x="1281113" y="127120"/>
                        <a:pt x="1177099" y="146551"/>
                        <a:pt x="1082231" y="183604"/>
                      </a:cubicBezTo>
                      <a:cubicBezTo>
                        <a:pt x="632269" y="359245"/>
                        <a:pt x="335947" y="667759"/>
                        <a:pt x="160687" y="1118768"/>
                      </a:cubicBezTo>
                      <a:cubicBezTo>
                        <a:pt x="126397" y="1206779"/>
                        <a:pt x="109823" y="1305173"/>
                        <a:pt x="90107" y="1407185"/>
                      </a:cubicBezTo>
                      <a:cubicBezTo>
                        <a:pt x="48482" y="1621688"/>
                        <a:pt x="84582" y="1883912"/>
                        <a:pt x="136684" y="2054981"/>
                      </a:cubicBezTo>
                      <a:cubicBezTo>
                        <a:pt x="277654" y="2517134"/>
                        <a:pt x="571595" y="2848604"/>
                        <a:pt x="990410" y="3032055"/>
                      </a:cubicBezTo>
                      <a:cubicBezTo>
                        <a:pt x="1080516" y="3071584"/>
                        <a:pt x="1178243" y="3103588"/>
                        <a:pt x="1283494" y="3129877"/>
                      </a:cubicBezTo>
                      <a:cubicBezTo>
                        <a:pt x="1338167" y="3143402"/>
                        <a:pt x="1392460" y="3144926"/>
                        <a:pt x="1451801" y="3155404"/>
                      </a:cubicBezTo>
                      <a:cubicBezTo>
                        <a:pt x="1487424" y="3161690"/>
                        <a:pt x="1556671" y="3168929"/>
                        <a:pt x="1612202" y="3168072"/>
                      </a:cubicBezTo>
                      <a:lnTo>
                        <a:pt x="1612202" y="3237319"/>
                      </a:lnTo>
                      <a:cubicBezTo>
                        <a:pt x="1557052" y="3237319"/>
                        <a:pt x="1491139" y="3230556"/>
                        <a:pt x="1456277" y="3224555"/>
                      </a:cubicBezTo>
                      <a:cubicBezTo>
                        <a:pt x="1402747" y="3215316"/>
                        <a:pt x="1354265" y="3214649"/>
                        <a:pt x="1304639" y="3203600"/>
                      </a:cubicBezTo>
                      <a:cubicBezTo>
                        <a:pt x="1187672" y="3177311"/>
                        <a:pt x="1080230" y="3143783"/>
                        <a:pt x="981361" y="3101302"/>
                      </a:cubicBezTo>
                      <a:cubicBezTo>
                        <a:pt x="534448" y="2908516"/>
                        <a:pt x="219170" y="2561520"/>
                        <a:pt x="68961" y="2071649"/>
                      </a:cubicBezTo>
                      <a:cubicBezTo>
                        <a:pt x="32861" y="1953730"/>
                        <a:pt x="3715" y="1795900"/>
                        <a:pt x="0" y="1637309"/>
                      </a:cubicBezTo>
                      <a:lnTo>
                        <a:pt x="0" y="1568539"/>
                      </a:lnTo>
                      <a:cubicBezTo>
                        <a:pt x="1524" y="1507865"/>
                        <a:pt x="7144" y="1447857"/>
                        <a:pt x="18002" y="1390707"/>
                      </a:cubicBezTo>
                      <a:cubicBezTo>
                        <a:pt x="37528" y="1286408"/>
                        <a:pt x="53531" y="1184872"/>
                        <a:pt x="88583" y="1094575"/>
                      </a:cubicBezTo>
                      <a:cubicBezTo>
                        <a:pt x="278797" y="604799"/>
                        <a:pt x="582644" y="285426"/>
                        <a:pt x="1071563" y="94926"/>
                      </a:cubicBezTo>
                      <a:cubicBezTo>
                        <a:pt x="1169861" y="56635"/>
                        <a:pt x="1278445" y="36919"/>
                        <a:pt x="1393317" y="15202"/>
                      </a:cubicBezTo>
                      <a:cubicBezTo>
                        <a:pt x="1451801" y="10249"/>
                        <a:pt x="1510474" y="5200"/>
                        <a:pt x="1569053" y="247"/>
                      </a:cubicBezTo>
                      <a:cubicBezTo>
                        <a:pt x="1583531" y="-38"/>
                        <a:pt x="1597819" y="-38"/>
                        <a:pt x="1612106" y="57"/>
                      </a:cubicBezTo>
                      <a:lnTo>
                        <a:pt x="1612106" y="90544"/>
                      </a:lnTo>
                      <a:cubicBezTo>
                        <a:pt x="1595914" y="90259"/>
                        <a:pt x="1579436" y="90259"/>
                        <a:pt x="1562957" y="90544"/>
                      </a:cubicBezTo>
                      <a:cubicBezTo>
                        <a:pt x="1505903" y="95593"/>
                        <a:pt x="1448848" y="100450"/>
                        <a:pt x="1391793" y="105499"/>
                      </a:cubicBezTo>
                      <a:close/>
                    </a:path>
                  </a:pathLst>
                </a:custGeom>
                <a:solidFill>
                  <a:srgbClr val="00993E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0" name="任意多边形: 形状 149">
                  <a:extLst>
                    <a:ext uri="{FF2B5EF4-FFF2-40B4-BE49-F238E27FC236}">
                      <a16:creationId xmlns:a16="http://schemas.microsoft.com/office/drawing/2014/main" id="{F498661A-A3EA-483C-84E2-BCD412A8D0F3}"/>
                    </a:ext>
                  </a:extLst>
                </p:cNvPr>
                <p:cNvSpPr/>
                <p:nvPr/>
              </p:nvSpPr>
              <p:spPr>
                <a:xfrm>
                  <a:off x="1948710" y="3429082"/>
                  <a:ext cx="3240058" cy="3237140"/>
                </a:xfrm>
                <a:custGeom>
                  <a:avLst/>
                  <a:gdLst>
                    <a:gd name="connsiteX0" fmla="*/ 1392152 w 3240058"/>
                    <a:gd name="connsiteY0" fmla="*/ 105359 h 3237140"/>
                    <a:gd name="connsiteX1" fmla="*/ 1082589 w 3240058"/>
                    <a:gd name="connsiteY1" fmla="*/ 183464 h 3237140"/>
                    <a:gd name="connsiteX2" fmla="*/ 161046 w 3240058"/>
                    <a:gd name="connsiteY2" fmla="*/ 1118629 h 3237140"/>
                    <a:gd name="connsiteX3" fmla="*/ 90465 w 3240058"/>
                    <a:gd name="connsiteY3" fmla="*/ 1407046 h 3237140"/>
                    <a:gd name="connsiteX4" fmla="*/ 137043 w 3240058"/>
                    <a:gd name="connsiteY4" fmla="*/ 2054841 h 3237140"/>
                    <a:gd name="connsiteX5" fmla="*/ 990768 w 3240058"/>
                    <a:gd name="connsiteY5" fmla="*/ 3031916 h 3237140"/>
                    <a:gd name="connsiteX6" fmla="*/ 1283853 w 3240058"/>
                    <a:gd name="connsiteY6" fmla="*/ 3129737 h 3237140"/>
                    <a:gd name="connsiteX7" fmla="*/ 1452159 w 3240058"/>
                    <a:gd name="connsiteY7" fmla="*/ 3155264 h 3237140"/>
                    <a:gd name="connsiteX8" fmla="*/ 1661138 w 3240058"/>
                    <a:gd name="connsiteY8" fmla="*/ 3164313 h 3237140"/>
                    <a:gd name="connsiteX9" fmla="*/ 1785915 w 3240058"/>
                    <a:gd name="connsiteY9" fmla="*/ 3155264 h 3237140"/>
                    <a:gd name="connsiteX10" fmla="*/ 2056425 w 3240058"/>
                    <a:gd name="connsiteY10" fmla="*/ 3099638 h 3237140"/>
                    <a:gd name="connsiteX11" fmla="*/ 3035024 w 3240058"/>
                    <a:gd name="connsiteY11" fmla="*/ 2211242 h 3237140"/>
                    <a:gd name="connsiteX12" fmla="*/ 3135703 w 3240058"/>
                    <a:gd name="connsiteY12" fmla="*/ 1836909 h 3237140"/>
                    <a:gd name="connsiteX13" fmla="*/ 3147705 w 3240058"/>
                    <a:gd name="connsiteY13" fmla="*/ 1676222 h 3237140"/>
                    <a:gd name="connsiteX14" fmla="*/ 3141704 w 3240058"/>
                    <a:gd name="connsiteY14" fmla="*/ 1467244 h 3237140"/>
                    <a:gd name="connsiteX15" fmla="*/ 3038072 w 3240058"/>
                    <a:gd name="connsiteY15" fmla="*/ 1055287 h 3237140"/>
                    <a:gd name="connsiteX16" fmla="*/ 1563411 w 3240058"/>
                    <a:gd name="connsiteY16" fmla="*/ 90405 h 3237140"/>
                    <a:gd name="connsiteX17" fmla="*/ 1392152 w 3240058"/>
                    <a:gd name="connsiteY17" fmla="*/ 105359 h 3237140"/>
                    <a:gd name="connsiteX18" fmla="*/ 1392152 w 3240058"/>
                    <a:gd name="connsiteY18" fmla="*/ 105359 h 3237140"/>
                    <a:gd name="connsiteX19" fmla="*/ 1569507 w 3240058"/>
                    <a:gd name="connsiteY19" fmla="*/ 203 h 3237140"/>
                    <a:gd name="connsiteX20" fmla="*/ 3119320 w 3240058"/>
                    <a:gd name="connsiteY20" fmla="*/ 1014711 h 3237140"/>
                    <a:gd name="connsiteX21" fmla="*/ 3227429 w 3240058"/>
                    <a:gd name="connsiteY21" fmla="*/ 1438669 h 3237140"/>
                    <a:gd name="connsiteX22" fmla="*/ 3235049 w 3240058"/>
                    <a:gd name="connsiteY22" fmla="*/ 1566399 h 3237140"/>
                    <a:gd name="connsiteX23" fmla="*/ 3227429 w 3240058"/>
                    <a:gd name="connsiteY23" fmla="*/ 1779854 h 3237140"/>
                    <a:gd name="connsiteX24" fmla="*/ 3210855 w 3240058"/>
                    <a:gd name="connsiteY24" fmla="*/ 1907489 h 3237140"/>
                    <a:gd name="connsiteX25" fmla="*/ 3113034 w 3240058"/>
                    <a:gd name="connsiteY25" fmla="*/ 2238293 h 3237140"/>
                    <a:gd name="connsiteX26" fmla="*/ 2095478 w 3240058"/>
                    <a:gd name="connsiteY26" fmla="*/ 3162694 h 3237140"/>
                    <a:gd name="connsiteX27" fmla="*/ 1823539 w 3240058"/>
                    <a:gd name="connsiteY27" fmla="*/ 3221273 h 3237140"/>
                    <a:gd name="connsiteX28" fmla="*/ 1670091 w 3240058"/>
                    <a:gd name="connsiteY28" fmla="*/ 3233369 h 3237140"/>
                    <a:gd name="connsiteX29" fmla="*/ 1456636 w 3240058"/>
                    <a:gd name="connsiteY29" fmla="*/ 3224320 h 3237140"/>
                    <a:gd name="connsiteX30" fmla="*/ 1304998 w 3240058"/>
                    <a:gd name="connsiteY30" fmla="*/ 3203366 h 3237140"/>
                    <a:gd name="connsiteX31" fmla="*/ 981720 w 3240058"/>
                    <a:gd name="connsiteY31" fmla="*/ 3101067 h 3237140"/>
                    <a:gd name="connsiteX32" fmla="*/ 69320 w 3240058"/>
                    <a:gd name="connsiteY32" fmla="*/ 2071414 h 3237140"/>
                    <a:gd name="connsiteX33" fmla="*/ 18361 w 3240058"/>
                    <a:gd name="connsiteY33" fmla="*/ 1390567 h 3237140"/>
                    <a:gd name="connsiteX34" fmla="*/ 88941 w 3240058"/>
                    <a:gd name="connsiteY34" fmla="*/ 1094435 h 3237140"/>
                    <a:gd name="connsiteX35" fmla="*/ 1071921 w 3240058"/>
                    <a:gd name="connsiteY35" fmla="*/ 94786 h 3237140"/>
                    <a:gd name="connsiteX36" fmla="*/ 1393676 w 3240058"/>
                    <a:gd name="connsiteY36" fmla="*/ 15062 h 3237140"/>
                    <a:gd name="connsiteX37" fmla="*/ 1569507 w 3240058"/>
                    <a:gd name="connsiteY37" fmla="*/ 203 h 32371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3240058" h="3237140">
                      <a:moveTo>
                        <a:pt x="1392152" y="105359"/>
                      </a:moveTo>
                      <a:cubicBezTo>
                        <a:pt x="1281471" y="126981"/>
                        <a:pt x="1177458" y="146412"/>
                        <a:pt x="1082589" y="183464"/>
                      </a:cubicBezTo>
                      <a:cubicBezTo>
                        <a:pt x="632628" y="359105"/>
                        <a:pt x="336306" y="667620"/>
                        <a:pt x="161046" y="1118629"/>
                      </a:cubicBezTo>
                      <a:cubicBezTo>
                        <a:pt x="126756" y="1206640"/>
                        <a:pt x="110182" y="1305033"/>
                        <a:pt x="90465" y="1407046"/>
                      </a:cubicBezTo>
                      <a:cubicBezTo>
                        <a:pt x="48841" y="1621549"/>
                        <a:pt x="84941" y="1883772"/>
                        <a:pt x="137043" y="2054841"/>
                      </a:cubicBezTo>
                      <a:cubicBezTo>
                        <a:pt x="278013" y="2516994"/>
                        <a:pt x="571954" y="2848464"/>
                        <a:pt x="990768" y="3031916"/>
                      </a:cubicBezTo>
                      <a:cubicBezTo>
                        <a:pt x="1080875" y="3071444"/>
                        <a:pt x="1178601" y="3103448"/>
                        <a:pt x="1283853" y="3129737"/>
                      </a:cubicBezTo>
                      <a:cubicBezTo>
                        <a:pt x="1338526" y="3143263"/>
                        <a:pt x="1392819" y="3144787"/>
                        <a:pt x="1452159" y="3155264"/>
                      </a:cubicBezTo>
                      <a:cubicBezTo>
                        <a:pt x="1499308" y="3163646"/>
                        <a:pt x="1606083" y="3173457"/>
                        <a:pt x="1661138" y="3164313"/>
                      </a:cubicBezTo>
                      <a:cubicBezTo>
                        <a:pt x="1702667" y="3161265"/>
                        <a:pt x="1744291" y="3158312"/>
                        <a:pt x="1785915" y="3155264"/>
                      </a:cubicBezTo>
                      <a:cubicBezTo>
                        <a:pt x="1881737" y="3137929"/>
                        <a:pt x="1971748" y="3126213"/>
                        <a:pt x="2056425" y="3099638"/>
                      </a:cubicBezTo>
                      <a:cubicBezTo>
                        <a:pt x="2523341" y="2953144"/>
                        <a:pt x="2852334" y="2642248"/>
                        <a:pt x="3035024" y="2211242"/>
                      </a:cubicBezTo>
                      <a:cubicBezTo>
                        <a:pt x="3083030" y="2097894"/>
                        <a:pt x="3109795" y="1974069"/>
                        <a:pt x="3135703" y="1836909"/>
                      </a:cubicBezTo>
                      <a:cubicBezTo>
                        <a:pt x="3145514" y="1784807"/>
                        <a:pt x="3138370" y="1732610"/>
                        <a:pt x="3147705" y="1676222"/>
                      </a:cubicBezTo>
                      <a:cubicBezTo>
                        <a:pt x="3157325" y="1617929"/>
                        <a:pt x="3151324" y="1521536"/>
                        <a:pt x="3141704" y="1467244"/>
                      </a:cubicBezTo>
                      <a:cubicBezTo>
                        <a:pt x="3114653" y="1312939"/>
                        <a:pt x="3089126" y="1179589"/>
                        <a:pt x="3038072" y="1055287"/>
                      </a:cubicBezTo>
                      <a:cubicBezTo>
                        <a:pt x="2821664" y="528745"/>
                        <a:pt x="2316839" y="79165"/>
                        <a:pt x="1563411" y="90405"/>
                      </a:cubicBezTo>
                      <a:cubicBezTo>
                        <a:pt x="1506261" y="95453"/>
                        <a:pt x="1449207" y="100311"/>
                        <a:pt x="1392152" y="105359"/>
                      </a:cubicBezTo>
                      <a:lnTo>
                        <a:pt x="1392152" y="105359"/>
                      </a:lnTo>
                      <a:close/>
                      <a:moveTo>
                        <a:pt x="1569507" y="203"/>
                      </a:moveTo>
                      <a:cubicBezTo>
                        <a:pt x="2360844" y="-11227"/>
                        <a:pt x="2892149" y="461308"/>
                        <a:pt x="3119320" y="1014711"/>
                      </a:cubicBezTo>
                      <a:cubicBezTo>
                        <a:pt x="3171803" y="1142822"/>
                        <a:pt x="3199140" y="1280077"/>
                        <a:pt x="3227429" y="1438669"/>
                      </a:cubicBezTo>
                      <a:cubicBezTo>
                        <a:pt x="3229905" y="1481245"/>
                        <a:pt x="3232477" y="1523917"/>
                        <a:pt x="3235049" y="1566399"/>
                      </a:cubicBezTo>
                      <a:cubicBezTo>
                        <a:pt x="3245526" y="1632883"/>
                        <a:pt x="3237906" y="1720418"/>
                        <a:pt x="3227429" y="1779854"/>
                      </a:cubicBezTo>
                      <a:cubicBezTo>
                        <a:pt x="3222000" y="1822431"/>
                        <a:pt x="3216380" y="1865008"/>
                        <a:pt x="3210855" y="1907489"/>
                      </a:cubicBezTo>
                      <a:cubicBezTo>
                        <a:pt x="3184471" y="2026552"/>
                        <a:pt x="3156277" y="2136566"/>
                        <a:pt x="3113034" y="2238293"/>
                      </a:cubicBezTo>
                      <a:cubicBezTo>
                        <a:pt x="2923962" y="2684062"/>
                        <a:pt x="2577729" y="3010294"/>
                        <a:pt x="2095478" y="3162694"/>
                      </a:cubicBezTo>
                      <a:cubicBezTo>
                        <a:pt x="2010134" y="3189745"/>
                        <a:pt x="1919456" y="3203461"/>
                        <a:pt x="1823539" y="3221273"/>
                      </a:cubicBezTo>
                      <a:cubicBezTo>
                        <a:pt x="1772295" y="3225273"/>
                        <a:pt x="1721336" y="3229369"/>
                        <a:pt x="1670091" y="3233369"/>
                      </a:cubicBezTo>
                      <a:cubicBezTo>
                        <a:pt x="1613799" y="3242704"/>
                        <a:pt x="1505214" y="3232798"/>
                        <a:pt x="1456636" y="3224320"/>
                      </a:cubicBezTo>
                      <a:cubicBezTo>
                        <a:pt x="1403106" y="3215081"/>
                        <a:pt x="1354623" y="3214415"/>
                        <a:pt x="1304998" y="3203366"/>
                      </a:cubicBezTo>
                      <a:cubicBezTo>
                        <a:pt x="1188031" y="3177076"/>
                        <a:pt x="1080589" y="3143549"/>
                        <a:pt x="981720" y="3101067"/>
                      </a:cubicBezTo>
                      <a:cubicBezTo>
                        <a:pt x="534807" y="2908281"/>
                        <a:pt x="219529" y="2561285"/>
                        <a:pt x="69320" y="2071414"/>
                      </a:cubicBezTo>
                      <a:cubicBezTo>
                        <a:pt x="14170" y="1891297"/>
                        <a:pt x="-24597" y="1617929"/>
                        <a:pt x="18361" y="1390567"/>
                      </a:cubicBezTo>
                      <a:cubicBezTo>
                        <a:pt x="37887" y="1286269"/>
                        <a:pt x="53889" y="1184732"/>
                        <a:pt x="88941" y="1094435"/>
                      </a:cubicBezTo>
                      <a:cubicBezTo>
                        <a:pt x="279156" y="604660"/>
                        <a:pt x="583003" y="285286"/>
                        <a:pt x="1071921" y="94786"/>
                      </a:cubicBezTo>
                      <a:cubicBezTo>
                        <a:pt x="1170219" y="56496"/>
                        <a:pt x="1278804" y="36779"/>
                        <a:pt x="1393676" y="15062"/>
                      </a:cubicBezTo>
                      <a:cubicBezTo>
                        <a:pt x="1452159" y="10204"/>
                        <a:pt x="1510833" y="5156"/>
                        <a:pt x="1569507" y="203"/>
                      </a:cubicBezTo>
                      <a:close/>
                    </a:path>
                  </a:pathLst>
                </a:custGeom>
                <a:solidFill>
                  <a:srgbClr val="00993E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89AC3085-CBD3-4538-88F8-CD6B4E8ACA5D}"/>
                  </a:ext>
                </a:extLst>
              </p:cNvPr>
              <p:cNvSpPr/>
              <p:nvPr/>
            </p:nvSpPr>
            <p:spPr>
              <a:xfrm>
                <a:off x="2205197" y="4387273"/>
                <a:ext cx="252048" cy="419849"/>
              </a:xfrm>
              <a:custGeom>
                <a:avLst/>
                <a:gdLst>
                  <a:gd name="connsiteX0" fmla="*/ 137541 w 252047"/>
                  <a:gd name="connsiteY0" fmla="*/ 322646 h 419850"/>
                  <a:gd name="connsiteX1" fmla="*/ 203645 w 252047"/>
                  <a:gd name="connsiteY1" fmla="*/ 411229 h 419850"/>
                  <a:gd name="connsiteX2" fmla="*/ 208979 w 252047"/>
                  <a:gd name="connsiteY2" fmla="*/ 404561 h 419850"/>
                  <a:gd name="connsiteX3" fmla="*/ 198501 w 252047"/>
                  <a:gd name="connsiteY3" fmla="*/ 366937 h 419850"/>
                  <a:gd name="connsiteX4" fmla="*/ 217265 w 252047"/>
                  <a:gd name="connsiteY4" fmla="*/ 365509 h 419850"/>
                  <a:gd name="connsiteX5" fmla="*/ 249555 w 252047"/>
                  <a:gd name="connsiteY5" fmla="*/ 375224 h 419850"/>
                  <a:gd name="connsiteX6" fmla="*/ 206312 w 252047"/>
                  <a:gd name="connsiteY6" fmla="*/ 339220 h 419850"/>
                  <a:gd name="connsiteX7" fmla="*/ 180404 w 252047"/>
                  <a:gd name="connsiteY7" fmla="*/ 325218 h 419850"/>
                  <a:gd name="connsiteX8" fmla="*/ 147257 w 252047"/>
                  <a:gd name="connsiteY8" fmla="*/ 297405 h 419850"/>
                  <a:gd name="connsiteX9" fmla="*/ 60960 w 252047"/>
                  <a:gd name="connsiteY9" fmla="*/ 168532 h 419850"/>
                  <a:gd name="connsiteX10" fmla="*/ 41720 w 252047"/>
                  <a:gd name="connsiteY10" fmla="*/ 126145 h 419850"/>
                  <a:gd name="connsiteX11" fmla="*/ 51054 w 252047"/>
                  <a:gd name="connsiteY11" fmla="*/ 128431 h 419850"/>
                  <a:gd name="connsiteX12" fmla="*/ 107537 w 252047"/>
                  <a:gd name="connsiteY12" fmla="*/ 222253 h 419850"/>
                  <a:gd name="connsiteX13" fmla="*/ 140113 w 252047"/>
                  <a:gd name="connsiteY13" fmla="*/ 229682 h 419850"/>
                  <a:gd name="connsiteX14" fmla="*/ 133445 w 252047"/>
                  <a:gd name="connsiteY14" fmla="*/ 211585 h 419850"/>
                  <a:gd name="connsiteX15" fmla="*/ 109442 w 252047"/>
                  <a:gd name="connsiteY15" fmla="*/ 177009 h 419850"/>
                  <a:gd name="connsiteX16" fmla="*/ 98489 w 252047"/>
                  <a:gd name="connsiteY16" fmla="*/ 140528 h 419850"/>
                  <a:gd name="connsiteX17" fmla="*/ 108014 w 252047"/>
                  <a:gd name="connsiteY17" fmla="*/ 147100 h 419850"/>
                  <a:gd name="connsiteX18" fmla="*/ 132683 w 252047"/>
                  <a:gd name="connsiteY18" fmla="*/ 194535 h 419850"/>
                  <a:gd name="connsiteX19" fmla="*/ 142494 w 252047"/>
                  <a:gd name="connsiteY19" fmla="*/ 195868 h 419850"/>
                  <a:gd name="connsiteX20" fmla="*/ 150209 w 252047"/>
                  <a:gd name="connsiteY20" fmla="*/ 158245 h 419850"/>
                  <a:gd name="connsiteX21" fmla="*/ 141827 w 252047"/>
                  <a:gd name="connsiteY21" fmla="*/ 157768 h 419850"/>
                  <a:gd name="connsiteX22" fmla="*/ 129826 w 252047"/>
                  <a:gd name="connsiteY22" fmla="*/ 153387 h 419850"/>
                  <a:gd name="connsiteX23" fmla="*/ 89535 w 252047"/>
                  <a:gd name="connsiteY23" fmla="*/ 79092 h 419850"/>
                  <a:gd name="connsiteX24" fmla="*/ 71438 w 252047"/>
                  <a:gd name="connsiteY24" fmla="*/ 86236 h 419850"/>
                  <a:gd name="connsiteX25" fmla="*/ 90297 w 252047"/>
                  <a:gd name="connsiteY25" fmla="*/ 157578 h 419850"/>
                  <a:gd name="connsiteX26" fmla="*/ 86773 w 252047"/>
                  <a:gd name="connsiteY26" fmla="*/ 166341 h 419850"/>
                  <a:gd name="connsiteX27" fmla="*/ 52483 w 252047"/>
                  <a:gd name="connsiteY27" fmla="*/ 96904 h 419850"/>
                  <a:gd name="connsiteX28" fmla="*/ 18098 w 252047"/>
                  <a:gd name="connsiteY28" fmla="*/ 7940 h 419850"/>
                  <a:gd name="connsiteX29" fmla="*/ 0 w 252047"/>
                  <a:gd name="connsiteY29" fmla="*/ 6892 h 419850"/>
                  <a:gd name="connsiteX30" fmla="*/ 2858 w 252047"/>
                  <a:gd name="connsiteY30" fmla="*/ 79949 h 419850"/>
                  <a:gd name="connsiteX31" fmla="*/ 11144 w 252047"/>
                  <a:gd name="connsiteY31" fmla="*/ 125860 h 419850"/>
                  <a:gd name="connsiteX32" fmla="*/ 23146 w 252047"/>
                  <a:gd name="connsiteY32" fmla="*/ 143671 h 419850"/>
                  <a:gd name="connsiteX33" fmla="*/ 83820 w 252047"/>
                  <a:gd name="connsiteY33" fmla="*/ 234826 h 419850"/>
                  <a:gd name="connsiteX34" fmla="*/ 114205 w 252047"/>
                  <a:gd name="connsiteY34" fmla="*/ 277593 h 419850"/>
                  <a:gd name="connsiteX35" fmla="*/ 103061 w 252047"/>
                  <a:gd name="connsiteY35" fmla="*/ 282165 h 419850"/>
                  <a:gd name="connsiteX36" fmla="*/ 48387 w 252047"/>
                  <a:gd name="connsiteY36" fmla="*/ 236921 h 419850"/>
                  <a:gd name="connsiteX37" fmla="*/ 35909 w 252047"/>
                  <a:gd name="connsiteY37" fmla="*/ 255685 h 419850"/>
                  <a:gd name="connsiteX38" fmla="*/ 64008 w 252047"/>
                  <a:gd name="connsiteY38" fmla="*/ 330076 h 419850"/>
                  <a:gd name="connsiteX39" fmla="*/ 84963 w 252047"/>
                  <a:gd name="connsiteY39" fmla="*/ 300548 h 419850"/>
                  <a:gd name="connsiteX40" fmla="*/ 76486 w 252047"/>
                  <a:gd name="connsiteY40" fmla="*/ 290261 h 419850"/>
                  <a:gd name="connsiteX41" fmla="*/ 89535 w 252047"/>
                  <a:gd name="connsiteY41" fmla="*/ 287213 h 419850"/>
                  <a:gd name="connsiteX42" fmla="*/ 132588 w 252047"/>
                  <a:gd name="connsiteY42" fmla="*/ 315407 h 419850"/>
                  <a:gd name="connsiteX43" fmla="*/ 137541 w 252047"/>
                  <a:gd name="connsiteY43" fmla="*/ 322646 h 419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252047" h="419850">
                    <a:moveTo>
                      <a:pt x="137541" y="322646"/>
                    </a:moveTo>
                    <a:cubicBezTo>
                      <a:pt x="137541" y="322646"/>
                      <a:pt x="177356" y="454186"/>
                      <a:pt x="203645" y="411229"/>
                    </a:cubicBezTo>
                    <a:lnTo>
                      <a:pt x="208979" y="404561"/>
                    </a:lnTo>
                    <a:lnTo>
                      <a:pt x="198501" y="366937"/>
                    </a:lnTo>
                    <a:cubicBezTo>
                      <a:pt x="198501" y="366937"/>
                      <a:pt x="194977" y="348554"/>
                      <a:pt x="217265" y="365509"/>
                    </a:cubicBezTo>
                    <a:cubicBezTo>
                      <a:pt x="217265" y="365509"/>
                      <a:pt x="246983" y="384654"/>
                      <a:pt x="249555" y="375224"/>
                    </a:cubicBezTo>
                    <a:cubicBezTo>
                      <a:pt x="249555" y="375224"/>
                      <a:pt x="267653" y="372652"/>
                      <a:pt x="206312" y="339220"/>
                    </a:cubicBezTo>
                    <a:cubicBezTo>
                      <a:pt x="206312" y="339220"/>
                      <a:pt x="183071" y="329695"/>
                      <a:pt x="180404" y="325218"/>
                    </a:cubicBezTo>
                    <a:cubicBezTo>
                      <a:pt x="177832" y="320646"/>
                      <a:pt x="168593" y="328552"/>
                      <a:pt x="147257" y="297405"/>
                    </a:cubicBezTo>
                    <a:cubicBezTo>
                      <a:pt x="147257" y="297405"/>
                      <a:pt x="87916" y="233111"/>
                      <a:pt x="60960" y="168532"/>
                    </a:cubicBezTo>
                    <a:cubicBezTo>
                      <a:pt x="60960" y="168532"/>
                      <a:pt x="42101" y="141100"/>
                      <a:pt x="41720" y="126145"/>
                    </a:cubicBezTo>
                    <a:cubicBezTo>
                      <a:pt x="41720" y="126145"/>
                      <a:pt x="46673" y="119383"/>
                      <a:pt x="51054" y="128431"/>
                    </a:cubicBezTo>
                    <a:cubicBezTo>
                      <a:pt x="51054" y="128431"/>
                      <a:pt x="87249" y="204631"/>
                      <a:pt x="107537" y="222253"/>
                    </a:cubicBezTo>
                    <a:cubicBezTo>
                      <a:pt x="107537" y="222253"/>
                      <a:pt x="134588" y="252828"/>
                      <a:pt x="140113" y="229682"/>
                    </a:cubicBezTo>
                    <a:cubicBezTo>
                      <a:pt x="140113" y="229682"/>
                      <a:pt x="142589" y="225491"/>
                      <a:pt x="133445" y="211585"/>
                    </a:cubicBezTo>
                    <a:cubicBezTo>
                      <a:pt x="133445" y="211585"/>
                      <a:pt x="115157" y="185581"/>
                      <a:pt x="109442" y="177009"/>
                    </a:cubicBezTo>
                    <a:cubicBezTo>
                      <a:pt x="109442" y="177009"/>
                      <a:pt x="97917" y="157006"/>
                      <a:pt x="98489" y="140528"/>
                    </a:cubicBezTo>
                    <a:cubicBezTo>
                      <a:pt x="98489" y="140528"/>
                      <a:pt x="102965" y="135194"/>
                      <a:pt x="108014" y="147100"/>
                    </a:cubicBezTo>
                    <a:lnTo>
                      <a:pt x="132683" y="194535"/>
                    </a:lnTo>
                    <a:lnTo>
                      <a:pt x="142494" y="195868"/>
                    </a:lnTo>
                    <a:cubicBezTo>
                      <a:pt x="142494" y="195868"/>
                      <a:pt x="164211" y="162626"/>
                      <a:pt x="150209" y="158245"/>
                    </a:cubicBezTo>
                    <a:cubicBezTo>
                      <a:pt x="150209" y="158245"/>
                      <a:pt x="144971" y="155197"/>
                      <a:pt x="141827" y="157768"/>
                    </a:cubicBezTo>
                    <a:cubicBezTo>
                      <a:pt x="141827" y="157768"/>
                      <a:pt x="132398" y="161674"/>
                      <a:pt x="129826" y="153387"/>
                    </a:cubicBezTo>
                    <a:lnTo>
                      <a:pt x="89535" y="79092"/>
                    </a:lnTo>
                    <a:cubicBezTo>
                      <a:pt x="89535" y="79092"/>
                      <a:pt x="73057" y="72329"/>
                      <a:pt x="71438" y="86236"/>
                    </a:cubicBezTo>
                    <a:cubicBezTo>
                      <a:pt x="71438" y="86236"/>
                      <a:pt x="66104" y="117097"/>
                      <a:pt x="90297" y="157578"/>
                    </a:cubicBezTo>
                    <a:cubicBezTo>
                      <a:pt x="90297" y="157578"/>
                      <a:pt x="96107" y="168532"/>
                      <a:pt x="86773" y="166341"/>
                    </a:cubicBezTo>
                    <a:cubicBezTo>
                      <a:pt x="86773" y="166341"/>
                      <a:pt x="54674" y="104524"/>
                      <a:pt x="52483" y="96904"/>
                    </a:cubicBezTo>
                    <a:cubicBezTo>
                      <a:pt x="52483" y="96904"/>
                      <a:pt x="26099" y="56994"/>
                      <a:pt x="18098" y="7940"/>
                    </a:cubicBezTo>
                    <a:cubicBezTo>
                      <a:pt x="18098" y="7940"/>
                      <a:pt x="8096" y="-9205"/>
                      <a:pt x="0" y="6892"/>
                    </a:cubicBezTo>
                    <a:cubicBezTo>
                      <a:pt x="0" y="6892"/>
                      <a:pt x="0" y="60328"/>
                      <a:pt x="2858" y="79949"/>
                    </a:cubicBezTo>
                    <a:cubicBezTo>
                      <a:pt x="2858" y="79949"/>
                      <a:pt x="12097" y="111286"/>
                      <a:pt x="11144" y="125860"/>
                    </a:cubicBezTo>
                    <a:cubicBezTo>
                      <a:pt x="11144" y="125860"/>
                      <a:pt x="14097" y="139099"/>
                      <a:pt x="23146" y="143671"/>
                    </a:cubicBezTo>
                    <a:cubicBezTo>
                      <a:pt x="23146" y="143671"/>
                      <a:pt x="70961" y="210823"/>
                      <a:pt x="83820" y="234826"/>
                    </a:cubicBezTo>
                    <a:cubicBezTo>
                      <a:pt x="83820" y="234826"/>
                      <a:pt x="106109" y="263496"/>
                      <a:pt x="114205" y="277593"/>
                    </a:cubicBezTo>
                    <a:cubicBezTo>
                      <a:pt x="114205" y="277593"/>
                      <a:pt x="117634" y="290452"/>
                      <a:pt x="103061" y="282165"/>
                    </a:cubicBezTo>
                    <a:cubicBezTo>
                      <a:pt x="103061" y="282165"/>
                      <a:pt x="55245" y="242636"/>
                      <a:pt x="48387" y="236921"/>
                    </a:cubicBezTo>
                    <a:cubicBezTo>
                      <a:pt x="48387" y="236921"/>
                      <a:pt x="31718" y="236159"/>
                      <a:pt x="35909" y="255685"/>
                    </a:cubicBezTo>
                    <a:cubicBezTo>
                      <a:pt x="35909" y="255685"/>
                      <a:pt x="56483" y="299691"/>
                      <a:pt x="64008" y="330076"/>
                    </a:cubicBezTo>
                    <a:cubicBezTo>
                      <a:pt x="64008" y="330076"/>
                      <a:pt x="88297" y="337124"/>
                      <a:pt x="84963" y="300548"/>
                    </a:cubicBezTo>
                    <a:cubicBezTo>
                      <a:pt x="84963" y="300548"/>
                      <a:pt x="84296" y="292738"/>
                      <a:pt x="76486" y="290261"/>
                    </a:cubicBezTo>
                    <a:cubicBezTo>
                      <a:pt x="76486" y="290261"/>
                      <a:pt x="74962" y="274164"/>
                      <a:pt x="89535" y="287213"/>
                    </a:cubicBezTo>
                    <a:cubicBezTo>
                      <a:pt x="89535" y="287213"/>
                      <a:pt x="125921" y="301405"/>
                      <a:pt x="132588" y="315407"/>
                    </a:cubicBezTo>
                    <a:cubicBezTo>
                      <a:pt x="132779" y="315502"/>
                      <a:pt x="137827" y="319598"/>
                      <a:pt x="137541" y="322646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75E0F399-6FBD-4DF1-B3AB-3CF6146495B8}"/>
                  </a:ext>
                </a:extLst>
              </p:cNvPr>
              <p:cNvSpPr/>
              <p:nvPr/>
            </p:nvSpPr>
            <p:spPr>
              <a:xfrm>
                <a:off x="2145666" y="4575586"/>
                <a:ext cx="37729" cy="37370"/>
              </a:xfrm>
              <a:custGeom>
                <a:avLst/>
                <a:gdLst>
                  <a:gd name="connsiteX0" fmla="*/ 0 w 37731"/>
                  <a:gd name="connsiteY0" fmla="*/ 36895 h 37371"/>
                  <a:gd name="connsiteX1" fmla="*/ 15431 w 37731"/>
                  <a:gd name="connsiteY1" fmla="*/ 37372 h 37371"/>
                  <a:gd name="connsiteX2" fmla="*/ 36671 w 37731"/>
                  <a:gd name="connsiteY2" fmla="*/ 16988 h 37371"/>
                  <a:gd name="connsiteX3" fmla="*/ 19145 w 37731"/>
                  <a:gd name="connsiteY3" fmla="*/ 415 h 37371"/>
                  <a:gd name="connsiteX4" fmla="*/ 857 w 37731"/>
                  <a:gd name="connsiteY4" fmla="*/ 22036 h 37371"/>
                  <a:gd name="connsiteX5" fmla="*/ 0 w 37731"/>
                  <a:gd name="connsiteY5" fmla="*/ 36895 h 37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731" h="37371">
                    <a:moveTo>
                      <a:pt x="0" y="36895"/>
                    </a:moveTo>
                    <a:lnTo>
                      <a:pt x="15431" y="37372"/>
                    </a:lnTo>
                    <a:lnTo>
                      <a:pt x="36671" y="16988"/>
                    </a:lnTo>
                    <a:cubicBezTo>
                      <a:pt x="36671" y="16988"/>
                      <a:pt x="44196" y="-3110"/>
                      <a:pt x="19145" y="415"/>
                    </a:cubicBezTo>
                    <a:cubicBezTo>
                      <a:pt x="19145" y="415"/>
                      <a:pt x="2286" y="18036"/>
                      <a:pt x="857" y="22036"/>
                    </a:cubicBezTo>
                    <a:cubicBezTo>
                      <a:pt x="857" y="22036"/>
                      <a:pt x="0" y="34609"/>
                      <a:pt x="0" y="36895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F40285F4-15CF-462A-86AE-3A62F125ECC5}"/>
                  </a:ext>
                </a:extLst>
              </p:cNvPr>
              <p:cNvSpPr/>
              <p:nvPr/>
            </p:nvSpPr>
            <p:spPr>
              <a:xfrm>
                <a:off x="2368892" y="4489780"/>
                <a:ext cx="143998" cy="212292"/>
              </a:xfrm>
              <a:custGeom>
                <a:avLst/>
                <a:gdLst>
                  <a:gd name="connsiteX0" fmla="*/ 28326 w 143997"/>
                  <a:gd name="connsiteY0" fmla="*/ 155560 h 212292"/>
                  <a:gd name="connsiteX1" fmla="*/ 228 w 143997"/>
                  <a:gd name="connsiteY1" fmla="*/ 88980 h 212292"/>
                  <a:gd name="connsiteX2" fmla="*/ 9562 w 143997"/>
                  <a:gd name="connsiteY2" fmla="*/ 684 h 212292"/>
                  <a:gd name="connsiteX3" fmla="*/ 79857 w 143997"/>
                  <a:gd name="connsiteY3" fmla="*/ 36403 h 212292"/>
                  <a:gd name="connsiteX4" fmla="*/ 143388 w 143997"/>
                  <a:gd name="connsiteY4" fmla="*/ 110507 h 212292"/>
                  <a:gd name="connsiteX5" fmla="*/ 121862 w 143997"/>
                  <a:gd name="connsiteY5" fmla="*/ 149559 h 212292"/>
                  <a:gd name="connsiteX6" fmla="*/ 112527 w 143997"/>
                  <a:gd name="connsiteY6" fmla="*/ 153560 h 212292"/>
                  <a:gd name="connsiteX7" fmla="*/ 101193 w 143997"/>
                  <a:gd name="connsiteY7" fmla="*/ 170133 h 212292"/>
                  <a:gd name="connsiteX8" fmla="*/ 95478 w 143997"/>
                  <a:gd name="connsiteY8" fmla="*/ 184516 h 212292"/>
                  <a:gd name="connsiteX9" fmla="*/ 100431 w 143997"/>
                  <a:gd name="connsiteY9" fmla="*/ 196518 h 212292"/>
                  <a:gd name="connsiteX10" fmla="*/ 89572 w 143997"/>
                  <a:gd name="connsiteY10" fmla="*/ 210043 h 212292"/>
                  <a:gd name="connsiteX11" fmla="*/ 61759 w 143997"/>
                  <a:gd name="connsiteY11" fmla="*/ 206233 h 212292"/>
                  <a:gd name="connsiteX12" fmla="*/ 3180 w 143997"/>
                  <a:gd name="connsiteY12" fmla="*/ 171277 h 212292"/>
                  <a:gd name="connsiteX13" fmla="*/ 13182 w 143997"/>
                  <a:gd name="connsiteY13" fmla="*/ 156608 h 212292"/>
                  <a:gd name="connsiteX14" fmla="*/ 29089 w 143997"/>
                  <a:gd name="connsiteY14" fmla="*/ 161180 h 212292"/>
                  <a:gd name="connsiteX15" fmla="*/ 28326 w 143997"/>
                  <a:gd name="connsiteY15" fmla="*/ 155560 h 21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43997" h="212292">
                    <a:moveTo>
                      <a:pt x="28326" y="155560"/>
                    </a:moveTo>
                    <a:cubicBezTo>
                      <a:pt x="26802" y="153941"/>
                      <a:pt x="3562" y="114126"/>
                      <a:pt x="228" y="88980"/>
                    </a:cubicBezTo>
                    <a:cubicBezTo>
                      <a:pt x="1371" y="86028"/>
                      <a:pt x="-4344" y="26592"/>
                      <a:pt x="9562" y="684"/>
                    </a:cubicBezTo>
                    <a:cubicBezTo>
                      <a:pt x="9562" y="684"/>
                      <a:pt x="22707" y="-7984"/>
                      <a:pt x="79857" y="36403"/>
                    </a:cubicBezTo>
                    <a:cubicBezTo>
                      <a:pt x="79857" y="36403"/>
                      <a:pt x="136435" y="86885"/>
                      <a:pt x="143388" y="110507"/>
                    </a:cubicBezTo>
                    <a:cubicBezTo>
                      <a:pt x="143388" y="110507"/>
                      <a:pt x="149675" y="138606"/>
                      <a:pt x="121862" y="149559"/>
                    </a:cubicBezTo>
                    <a:cubicBezTo>
                      <a:pt x="121862" y="149559"/>
                      <a:pt x="119671" y="157751"/>
                      <a:pt x="112527" y="153560"/>
                    </a:cubicBezTo>
                    <a:cubicBezTo>
                      <a:pt x="112527" y="153560"/>
                      <a:pt x="103479" y="163466"/>
                      <a:pt x="101193" y="170133"/>
                    </a:cubicBezTo>
                    <a:cubicBezTo>
                      <a:pt x="101193" y="170133"/>
                      <a:pt x="103860" y="180706"/>
                      <a:pt x="95478" y="184516"/>
                    </a:cubicBezTo>
                    <a:cubicBezTo>
                      <a:pt x="95478" y="184516"/>
                      <a:pt x="91763" y="187850"/>
                      <a:pt x="100431" y="196518"/>
                    </a:cubicBezTo>
                    <a:cubicBezTo>
                      <a:pt x="100431" y="196518"/>
                      <a:pt x="105003" y="204900"/>
                      <a:pt x="89572" y="210043"/>
                    </a:cubicBezTo>
                    <a:cubicBezTo>
                      <a:pt x="89572" y="210043"/>
                      <a:pt x="84619" y="217092"/>
                      <a:pt x="61759" y="206233"/>
                    </a:cubicBezTo>
                    <a:cubicBezTo>
                      <a:pt x="61759" y="206233"/>
                      <a:pt x="8134" y="172800"/>
                      <a:pt x="3180" y="171277"/>
                    </a:cubicBezTo>
                    <a:cubicBezTo>
                      <a:pt x="3180" y="171277"/>
                      <a:pt x="-3582" y="158513"/>
                      <a:pt x="13182" y="156608"/>
                    </a:cubicBezTo>
                    <a:cubicBezTo>
                      <a:pt x="13182" y="156608"/>
                      <a:pt x="27850" y="164895"/>
                      <a:pt x="29089" y="161180"/>
                    </a:cubicBezTo>
                    <a:cubicBezTo>
                      <a:pt x="29184" y="161085"/>
                      <a:pt x="29850" y="156989"/>
                      <a:pt x="28326" y="155560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E5A6B220-6876-4EE2-ADF1-19C085C56BEC}"/>
                  </a:ext>
                </a:extLst>
              </p:cNvPr>
              <p:cNvSpPr/>
              <p:nvPr/>
            </p:nvSpPr>
            <p:spPr>
              <a:xfrm>
                <a:off x="2379875" y="4500547"/>
                <a:ext cx="111164" cy="129234"/>
              </a:xfrm>
              <a:custGeom>
                <a:avLst/>
                <a:gdLst>
                  <a:gd name="connsiteX0" fmla="*/ 4200 w 111165"/>
                  <a:gd name="connsiteY0" fmla="*/ 81549 h 129236"/>
                  <a:gd name="connsiteX1" fmla="*/ 8772 w 111165"/>
                  <a:gd name="connsiteY1" fmla="*/ 777 h 129236"/>
                  <a:gd name="connsiteX2" fmla="*/ 56397 w 111165"/>
                  <a:gd name="connsiteY2" fmla="*/ 44021 h 129236"/>
                  <a:gd name="connsiteX3" fmla="*/ 109356 w 111165"/>
                  <a:gd name="connsiteY3" fmla="*/ 101837 h 129236"/>
                  <a:gd name="connsiteX4" fmla="*/ 111165 w 111165"/>
                  <a:gd name="connsiteY4" fmla="*/ 118030 h 129236"/>
                  <a:gd name="connsiteX5" fmla="*/ 97640 w 111165"/>
                  <a:gd name="connsiteY5" fmla="*/ 128984 h 129236"/>
                  <a:gd name="connsiteX6" fmla="*/ 80019 w 111165"/>
                  <a:gd name="connsiteY6" fmla="*/ 117649 h 129236"/>
                  <a:gd name="connsiteX7" fmla="*/ 85353 w 111165"/>
                  <a:gd name="connsiteY7" fmla="*/ 90217 h 129236"/>
                  <a:gd name="connsiteX8" fmla="*/ 33060 w 111165"/>
                  <a:gd name="connsiteY8" fmla="*/ 53736 h 129236"/>
                  <a:gd name="connsiteX9" fmla="*/ 13153 w 111165"/>
                  <a:gd name="connsiteY9" fmla="*/ 52688 h 129236"/>
                  <a:gd name="connsiteX10" fmla="*/ 11534 w 111165"/>
                  <a:gd name="connsiteY10" fmla="*/ 81073 h 129236"/>
                  <a:gd name="connsiteX11" fmla="*/ 4200 w 111165"/>
                  <a:gd name="connsiteY11" fmla="*/ 81549 h 129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1165" h="129236">
                    <a:moveTo>
                      <a:pt x="4200" y="81549"/>
                    </a:moveTo>
                    <a:cubicBezTo>
                      <a:pt x="4200" y="81549"/>
                      <a:pt x="-7802" y="6492"/>
                      <a:pt x="8772" y="777"/>
                    </a:cubicBezTo>
                    <a:cubicBezTo>
                      <a:pt x="8772" y="777"/>
                      <a:pt x="14296" y="-9415"/>
                      <a:pt x="56397" y="44021"/>
                    </a:cubicBezTo>
                    <a:cubicBezTo>
                      <a:pt x="56397" y="44021"/>
                      <a:pt x="103450" y="89455"/>
                      <a:pt x="109356" y="101837"/>
                    </a:cubicBezTo>
                    <a:cubicBezTo>
                      <a:pt x="109356" y="101837"/>
                      <a:pt x="108117" y="117268"/>
                      <a:pt x="111165" y="118030"/>
                    </a:cubicBezTo>
                    <a:cubicBezTo>
                      <a:pt x="111165" y="118030"/>
                      <a:pt x="108594" y="131079"/>
                      <a:pt x="97640" y="128984"/>
                    </a:cubicBezTo>
                    <a:cubicBezTo>
                      <a:pt x="97640" y="128984"/>
                      <a:pt x="90115" y="131936"/>
                      <a:pt x="80019" y="117649"/>
                    </a:cubicBezTo>
                    <a:cubicBezTo>
                      <a:pt x="80019" y="117649"/>
                      <a:pt x="81543" y="97075"/>
                      <a:pt x="85353" y="90217"/>
                    </a:cubicBezTo>
                    <a:cubicBezTo>
                      <a:pt x="85353" y="90217"/>
                      <a:pt x="45824" y="87169"/>
                      <a:pt x="33060" y="53736"/>
                    </a:cubicBezTo>
                    <a:cubicBezTo>
                      <a:pt x="33060" y="53736"/>
                      <a:pt x="25155" y="45830"/>
                      <a:pt x="13153" y="52688"/>
                    </a:cubicBezTo>
                    <a:cubicBezTo>
                      <a:pt x="13153" y="52688"/>
                      <a:pt x="8200" y="66214"/>
                      <a:pt x="11534" y="81073"/>
                    </a:cubicBezTo>
                    <a:cubicBezTo>
                      <a:pt x="11629" y="81168"/>
                      <a:pt x="15534" y="93170"/>
                      <a:pt x="4200" y="81549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7E9FFB8B-D9A3-4B67-A129-A2EEE327E089}"/>
                  </a:ext>
                </a:extLst>
              </p:cNvPr>
              <p:cNvSpPr/>
              <p:nvPr/>
            </p:nvSpPr>
            <p:spPr>
              <a:xfrm>
                <a:off x="2409445" y="4588402"/>
                <a:ext cx="17236" cy="18665"/>
              </a:xfrm>
              <a:custGeom>
                <a:avLst/>
                <a:gdLst>
                  <a:gd name="connsiteX0" fmla="*/ 4540 w 17237"/>
                  <a:gd name="connsiteY0" fmla="*/ 75 h 18666"/>
                  <a:gd name="connsiteX1" fmla="*/ 16637 w 17237"/>
                  <a:gd name="connsiteY1" fmla="*/ 12457 h 18666"/>
                  <a:gd name="connsiteX2" fmla="*/ 16351 w 17237"/>
                  <a:gd name="connsiteY2" fmla="*/ 18648 h 18666"/>
                  <a:gd name="connsiteX3" fmla="*/ 8446 w 17237"/>
                  <a:gd name="connsiteY3" fmla="*/ 16267 h 18666"/>
                  <a:gd name="connsiteX4" fmla="*/ 2826 w 17237"/>
                  <a:gd name="connsiteY4" fmla="*/ 8076 h 18666"/>
                  <a:gd name="connsiteX5" fmla="*/ 4540 w 17237"/>
                  <a:gd name="connsiteY5" fmla="*/ 75 h 186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237" h="18666">
                    <a:moveTo>
                      <a:pt x="4540" y="75"/>
                    </a:moveTo>
                    <a:cubicBezTo>
                      <a:pt x="4540" y="75"/>
                      <a:pt x="17494" y="-1735"/>
                      <a:pt x="16637" y="12457"/>
                    </a:cubicBezTo>
                    <a:cubicBezTo>
                      <a:pt x="16637" y="12457"/>
                      <a:pt x="18161" y="18363"/>
                      <a:pt x="16351" y="18648"/>
                    </a:cubicBezTo>
                    <a:cubicBezTo>
                      <a:pt x="16351" y="18648"/>
                      <a:pt x="9398" y="19029"/>
                      <a:pt x="8446" y="16267"/>
                    </a:cubicBezTo>
                    <a:cubicBezTo>
                      <a:pt x="7588" y="13600"/>
                      <a:pt x="9970" y="8076"/>
                      <a:pt x="2826" y="8076"/>
                    </a:cubicBezTo>
                    <a:cubicBezTo>
                      <a:pt x="-4413" y="8076"/>
                      <a:pt x="4540" y="75"/>
                      <a:pt x="4540" y="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617B7823-F541-484D-9EE4-A52CFA35D513}"/>
                  </a:ext>
                </a:extLst>
              </p:cNvPr>
              <p:cNvSpPr/>
              <p:nvPr/>
            </p:nvSpPr>
            <p:spPr>
              <a:xfrm>
                <a:off x="2398364" y="4613615"/>
                <a:ext cx="19442" cy="15471"/>
              </a:xfrm>
              <a:custGeom>
                <a:avLst/>
                <a:gdLst>
                  <a:gd name="connsiteX0" fmla="*/ 0 w 19442"/>
                  <a:gd name="connsiteY0" fmla="*/ 104 h 15471"/>
                  <a:gd name="connsiteX1" fmla="*/ 13811 w 19442"/>
                  <a:gd name="connsiteY1" fmla="*/ 15440 h 15471"/>
                  <a:gd name="connsiteX2" fmla="*/ 16764 w 19442"/>
                  <a:gd name="connsiteY2" fmla="*/ 9153 h 15471"/>
                  <a:gd name="connsiteX3" fmla="*/ 0 w 19442"/>
                  <a:gd name="connsiteY3" fmla="*/ 104 h 15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442" h="15471">
                    <a:moveTo>
                      <a:pt x="0" y="104"/>
                    </a:moveTo>
                    <a:cubicBezTo>
                      <a:pt x="0" y="104"/>
                      <a:pt x="8477" y="15440"/>
                      <a:pt x="13811" y="15440"/>
                    </a:cubicBezTo>
                    <a:cubicBezTo>
                      <a:pt x="13811" y="15440"/>
                      <a:pt x="24193" y="16297"/>
                      <a:pt x="16764" y="9153"/>
                    </a:cubicBezTo>
                    <a:cubicBezTo>
                      <a:pt x="16859" y="9058"/>
                      <a:pt x="8096" y="-1134"/>
                      <a:pt x="0" y="10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FF32DC79-E771-4A19-8EB7-4C95ED7B7E38}"/>
                  </a:ext>
                </a:extLst>
              </p:cNvPr>
              <p:cNvSpPr/>
              <p:nvPr/>
            </p:nvSpPr>
            <p:spPr>
              <a:xfrm>
                <a:off x="2436101" y="4644601"/>
                <a:ext cx="23186" cy="22748"/>
              </a:xfrm>
              <a:custGeom>
                <a:avLst/>
                <a:gdLst>
                  <a:gd name="connsiteX0" fmla="*/ 2935 w 23186"/>
                  <a:gd name="connsiteY0" fmla="*/ 1217 h 22747"/>
                  <a:gd name="connsiteX1" fmla="*/ 22176 w 23186"/>
                  <a:gd name="connsiteY1" fmla="*/ 6932 h 22747"/>
                  <a:gd name="connsiteX2" fmla="*/ 18271 w 23186"/>
                  <a:gd name="connsiteY2" fmla="*/ 10552 h 22747"/>
                  <a:gd name="connsiteX3" fmla="*/ 18080 w 23186"/>
                  <a:gd name="connsiteY3" fmla="*/ 19220 h 22747"/>
                  <a:gd name="connsiteX4" fmla="*/ 3031 w 23186"/>
                  <a:gd name="connsiteY4" fmla="*/ 16838 h 22747"/>
                  <a:gd name="connsiteX5" fmla="*/ 2935 w 23186"/>
                  <a:gd name="connsiteY5" fmla="*/ 1217 h 22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186" h="22747">
                    <a:moveTo>
                      <a:pt x="2935" y="1217"/>
                    </a:moveTo>
                    <a:cubicBezTo>
                      <a:pt x="2935" y="1217"/>
                      <a:pt x="18747" y="-3926"/>
                      <a:pt x="22176" y="6932"/>
                    </a:cubicBezTo>
                    <a:cubicBezTo>
                      <a:pt x="25414" y="17886"/>
                      <a:pt x="19985" y="8552"/>
                      <a:pt x="18271" y="10552"/>
                    </a:cubicBezTo>
                    <a:cubicBezTo>
                      <a:pt x="16461" y="12647"/>
                      <a:pt x="17604" y="17219"/>
                      <a:pt x="18080" y="19220"/>
                    </a:cubicBezTo>
                    <a:cubicBezTo>
                      <a:pt x="18271" y="21410"/>
                      <a:pt x="9603" y="27030"/>
                      <a:pt x="3031" y="16838"/>
                    </a:cubicBezTo>
                    <a:cubicBezTo>
                      <a:pt x="-3732" y="6742"/>
                      <a:pt x="2935" y="1217"/>
                      <a:pt x="2935" y="121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46770E30-8823-4FE5-B605-1929AA55D402}"/>
                  </a:ext>
                </a:extLst>
              </p:cNvPr>
              <p:cNvSpPr/>
              <p:nvPr/>
            </p:nvSpPr>
            <p:spPr>
              <a:xfrm>
                <a:off x="2578446" y="3906083"/>
                <a:ext cx="293879" cy="391114"/>
              </a:xfrm>
              <a:custGeom>
                <a:avLst/>
                <a:gdLst>
                  <a:gd name="connsiteX0" fmla="*/ 104905 w 293880"/>
                  <a:gd name="connsiteY0" fmla="*/ 352828 h 391115"/>
                  <a:gd name="connsiteX1" fmla="*/ 104524 w 293880"/>
                  <a:gd name="connsiteY1" fmla="*/ 389880 h 391115"/>
                  <a:gd name="connsiteX2" fmla="*/ 135480 w 293880"/>
                  <a:gd name="connsiteY2" fmla="*/ 375307 h 391115"/>
                  <a:gd name="connsiteX3" fmla="*/ 188725 w 293880"/>
                  <a:gd name="connsiteY3" fmla="*/ 329206 h 391115"/>
                  <a:gd name="connsiteX4" fmla="*/ 208632 w 293880"/>
                  <a:gd name="connsiteY4" fmla="*/ 300631 h 391115"/>
                  <a:gd name="connsiteX5" fmla="*/ 229777 w 293880"/>
                  <a:gd name="connsiteY5" fmla="*/ 304250 h 391115"/>
                  <a:gd name="connsiteX6" fmla="*/ 247303 w 293880"/>
                  <a:gd name="connsiteY6" fmla="*/ 298726 h 391115"/>
                  <a:gd name="connsiteX7" fmla="*/ 235778 w 293880"/>
                  <a:gd name="connsiteY7" fmla="*/ 282152 h 391115"/>
                  <a:gd name="connsiteX8" fmla="*/ 269306 w 293880"/>
                  <a:gd name="connsiteY8" fmla="*/ 258626 h 391115"/>
                  <a:gd name="connsiteX9" fmla="*/ 293881 w 293880"/>
                  <a:gd name="connsiteY9" fmla="*/ 212525 h 391115"/>
                  <a:gd name="connsiteX10" fmla="*/ 284356 w 293880"/>
                  <a:gd name="connsiteY10" fmla="*/ 213001 h 391115"/>
                  <a:gd name="connsiteX11" fmla="*/ 225682 w 293880"/>
                  <a:gd name="connsiteY11" fmla="*/ 265579 h 391115"/>
                  <a:gd name="connsiteX12" fmla="*/ 211585 w 293880"/>
                  <a:gd name="connsiteY12" fmla="*/ 238147 h 391115"/>
                  <a:gd name="connsiteX13" fmla="*/ 202060 w 293880"/>
                  <a:gd name="connsiteY13" fmla="*/ 174901 h 391115"/>
                  <a:gd name="connsiteX14" fmla="*/ 197107 w 293880"/>
                  <a:gd name="connsiteY14" fmla="*/ 171853 h 391115"/>
                  <a:gd name="connsiteX15" fmla="*/ 176056 w 293880"/>
                  <a:gd name="connsiteY15" fmla="*/ 163947 h 391115"/>
                  <a:gd name="connsiteX16" fmla="*/ 163579 w 293880"/>
                  <a:gd name="connsiteY16" fmla="*/ 162899 h 391115"/>
                  <a:gd name="connsiteX17" fmla="*/ 162626 w 293880"/>
                  <a:gd name="connsiteY17" fmla="*/ 148326 h 391115"/>
                  <a:gd name="connsiteX18" fmla="*/ 155482 w 293880"/>
                  <a:gd name="connsiteY18" fmla="*/ 127276 h 391115"/>
                  <a:gd name="connsiteX19" fmla="*/ 143481 w 293880"/>
                  <a:gd name="connsiteY19" fmla="*/ 117751 h 391115"/>
                  <a:gd name="connsiteX20" fmla="*/ 142528 w 293880"/>
                  <a:gd name="connsiteY20" fmla="*/ 66125 h 391115"/>
                  <a:gd name="connsiteX21" fmla="*/ 131098 w 293880"/>
                  <a:gd name="connsiteY21" fmla="*/ 56696 h 391115"/>
                  <a:gd name="connsiteX22" fmla="*/ 127574 w 293880"/>
                  <a:gd name="connsiteY22" fmla="*/ 43742 h 391115"/>
                  <a:gd name="connsiteX23" fmla="*/ 126050 w 293880"/>
                  <a:gd name="connsiteY23" fmla="*/ 25168 h 391115"/>
                  <a:gd name="connsiteX24" fmla="*/ 98523 w 293880"/>
                  <a:gd name="connsiteY24" fmla="*/ 593 h 391115"/>
                  <a:gd name="connsiteX25" fmla="*/ 84426 w 293880"/>
                  <a:gd name="connsiteY25" fmla="*/ 9166 h 391115"/>
                  <a:gd name="connsiteX26" fmla="*/ 61852 w 293880"/>
                  <a:gd name="connsiteY26" fmla="*/ 23263 h 391115"/>
                  <a:gd name="connsiteX27" fmla="*/ 40801 w 293880"/>
                  <a:gd name="connsiteY27" fmla="*/ 12690 h 391115"/>
                  <a:gd name="connsiteX28" fmla="*/ 28800 w 293880"/>
                  <a:gd name="connsiteY28" fmla="*/ 34121 h 391115"/>
                  <a:gd name="connsiteX29" fmla="*/ 33277 w 293880"/>
                  <a:gd name="connsiteY29" fmla="*/ 38693 h 391115"/>
                  <a:gd name="connsiteX30" fmla="*/ 64328 w 293880"/>
                  <a:gd name="connsiteY30" fmla="*/ 68221 h 391115"/>
                  <a:gd name="connsiteX31" fmla="*/ 48802 w 293880"/>
                  <a:gd name="connsiteY31" fmla="*/ 91748 h 391115"/>
                  <a:gd name="connsiteX32" fmla="*/ 59947 w 293880"/>
                  <a:gd name="connsiteY32" fmla="*/ 104225 h 391115"/>
                  <a:gd name="connsiteX33" fmla="*/ 79949 w 293880"/>
                  <a:gd name="connsiteY33" fmla="*/ 93748 h 391115"/>
                  <a:gd name="connsiteX34" fmla="*/ 107000 w 293880"/>
                  <a:gd name="connsiteY34" fmla="*/ 121751 h 391115"/>
                  <a:gd name="connsiteX35" fmla="*/ 92998 w 293880"/>
                  <a:gd name="connsiteY35" fmla="*/ 185950 h 391115"/>
                  <a:gd name="connsiteX36" fmla="*/ 59470 w 293880"/>
                  <a:gd name="connsiteY36" fmla="*/ 175949 h 391115"/>
                  <a:gd name="connsiteX37" fmla="*/ 10226 w 293880"/>
                  <a:gd name="connsiteY37" fmla="*/ 161852 h 391115"/>
                  <a:gd name="connsiteX38" fmla="*/ 225 w 293880"/>
                  <a:gd name="connsiteY38" fmla="*/ 179378 h 391115"/>
                  <a:gd name="connsiteX39" fmla="*/ 92522 w 293880"/>
                  <a:gd name="connsiteY39" fmla="*/ 244052 h 391115"/>
                  <a:gd name="connsiteX40" fmla="*/ 140528 w 293880"/>
                  <a:gd name="connsiteY40" fmla="*/ 269579 h 391115"/>
                  <a:gd name="connsiteX41" fmla="*/ 131479 w 293880"/>
                  <a:gd name="connsiteY41" fmla="*/ 283772 h 391115"/>
                  <a:gd name="connsiteX42" fmla="*/ 133480 w 293880"/>
                  <a:gd name="connsiteY42" fmla="*/ 299202 h 391115"/>
                  <a:gd name="connsiteX43" fmla="*/ 138528 w 293880"/>
                  <a:gd name="connsiteY43" fmla="*/ 296821 h 391115"/>
                  <a:gd name="connsiteX44" fmla="*/ 169960 w 293880"/>
                  <a:gd name="connsiteY44" fmla="*/ 294725 h 391115"/>
                  <a:gd name="connsiteX45" fmla="*/ 175485 w 293880"/>
                  <a:gd name="connsiteY45" fmla="*/ 287296 h 391115"/>
                  <a:gd name="connsiteX46" fmla="*/ 187963 w 293880"/>
                  <a:gd name="connsiteY46" fmla="*/ 299774 h 391115"/>
                  <a:gd name="connsiteX47" fmla="*/ 119859 w 293880"/>
                  <a:gd name="connsiteY47" fmla="*/ 357876 h 391115"/>
                  <a:gd name="connsiteX48" fmla="*/ 104905 w 293880"/>
                  <a:gd name="connsiteY48" fmla="*/ 352828 h 391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293880" h="391115">
                    <a:moveTo>
                      <a:pt x="104905" y="352828"/>
                    </a:moveTo>
                    <a:cubicBezTo>
                      <a:pt x="104905" y="352828"/>
                      <a:pt x="81949" y="376831"/>
                      <a:pt x="104524" y="389880"/>
                    </a:cubicBezTo>
                    <a:cubicBezTo>
                      <a:pt x="104524" y="389880"/>
                      <a:pt x="111001" y="397405"/>
                      <a:pt x="135480" y="375307"/>
                    </a:cubicBezTo>
                    <a:lnTo>
                      <a:pt x="188725" y="329206"/>
                    </a:lnTo>
                    <a:cubicBezTo>
                      <a:pt x="188725" y="329206"/>
                      <a:pt x="203298" y="300155"/>
                      <a:pt x="208632" y="300631"/>
                    </a:cubicBezTo>
                    <a:cubicBezTo>
                      <a:pt x="208632" y="300631"/>
                      <a:pt x="223205" y="297107"/>
                      <a:pt x="229777" y="304250"/>
                    </a:cubicBezTo>
                    <a:cubicBezTo>
                      <a:pt x="229777" y="304250"/>
                      <a:pt x="243779" y="305203"/>
                      <a:pt x="247303" y="298726"/>
                    </a:cubicBezTo>
                    <a:cubicBezTo>
                      <a:pt x="247303" y="298726"/>
                      <a:pt x="249208" y="290725"/>
                      <a:pt x="235778" y="282152"/>
                    </a:cubicBezTo>
                    <a:cubicBezTo>
                      <a:pt x="235778" y="282152"/>
                      <a:pt x="251780" y="259578"/>
                      <a:pt x="269306" y="258626"/>
                    </a:cubicBezTo>
                    <a:cubicBezTo>
                      <a:pt x="269306" y="258626"/>
                      <a:pt x="284356" y="246529"/>
                      <a:pt x="293881" y="212525"/>
                    </a:cubicBezTo>
                    <a:cubicBezTo>
                      <a:pt x="293881" y="212525"/>
                      <a:pt x="289880" y="206048"/>
                      <a:pt x="284356" y="213001"/>
                    </a:cubicBezTo>
                    <a:cubicBezTo>
                      <a:pt x="284356" y="213001"/>
                      <a:pt x="261305" y="252244"/>
                      <a:pt x="225682" y="265579"/>
                    </a:cubicBezTo>
                    <a:cubicBezTo>
                      <a:pt x="225682" y="265579"/>
                      <a:pt x="207203" y="271199"/>
                      <a:pt x="211585" y="238147"/>
                    </a:cubicBezTo>
                    <a:cubicBezTo>
                      <a:pt x="211585" y="238147"/>
                      <a:pt x="217014" y="200523"/>
                      <a:pt x="202060" y="174901"/>
                    </a:cubicBezTo>
                    <a:lnTo>
                      <a:pt x="197107" y="171853"/>
                    </a:lnTo>
                    <a:cubicBezTo>
                      <a:pt x="197107" y="171853"/>
                      <a:pt x="178533" y="168424"/>
                      <a:pt x="176056" y="163947"/>
                    </a:cubicBezTo>
                    <a:cubicBezTo>
                      <a:pt x="173580" y="159280"/>
                      <a:pt x="166055" y="161471"/>
                      <a:pt x="163579" y="162899"/>
                    </a:cubicBezTo>
                    <a:cubicBezTo>
                      <a:pt x="161102" y="164423"/>
                      <a:pt x="157578" y="161852"/>
                      <a:pt x="162626" y="148326"/>
                    </a:cubicBezTo>
                    <a:cubicBezTo>
                      <a:pt x="162626" y="148326"/>
                      <a:pt x="163579" y="130800"/>
                      <a:pt x="155482" y="127276"/>
                    </a:cubicBezTo>
                    <a:lnTo>
                      <a:pt x="143481" y="117751"/>
                    </a:lnTo>
                    <a:cubicBezTo>
                      <a:pt x="143481" y="117751"/>
                      <a:pt x="146053" y="76222"/>
                      <a:pt x="142528" y="66125"/>
                    </a:cubicBezTo>
                    <a:lnTo>
                      <a:pt x="131098" y="56696"/>
                    </a:lnTo>
                    <a:lnTo>
                      <a:pt x="127574" y="43742"/>
                    </a:lnTo>
                    <a:cubicBezTo>
                      <a:pt x="127574" y="43742"/>
                      <a:pt x="126050" y="27168"/>
                      <a:pt x="126050" y="25168"/>
                    </a:cubicBezTo>
                    <a:cubicBezTo>
                      <a:pt x="126050" y="23263"/>
                      <a:pt x="111001" y="-4360"/>
                      <a:pt x="98523" y="593"/>
                    </a:cubicBezTo>
                    <a:cubicBezTo>
                      <a:pt x="98523" y="593"/>
                      <a:pt x="86045" y="11642"/>
                      <a:pt x="84426" y="9166"/>
                    </a:cubicBezTo>
                    <a:cubicBezTo>
                      <a:pt x="82997" y="6594"/>
                      <a:pt x="77949" y="26692"/>
                      <a:pt x="61852" y="23263"/>
                    </a:cubicBezTo>
                    <a:cubicBezTo>
                      <a:pt x="61852" y="23263"/>
                      <a:pt x="48802" y="12690"/>
                      <a:pt x="40801" y="12690"/>
                    </a:cubicBezTo>
                    <a:cubicBezTo>
                      <a:pt x="40801" y="12690"/>
                      <a:pt x="22799" y="14690"/>
                      <a:pt x="28800" y="34121"/>
                    </a:cubicBezTo>
                    <a:cubicBezTo>
                      <a:pt x="28800" y="34121"/>
                      <a:pt x="31276" y="35741"/>
                      <a:pt x="33277" y="38693"/>
                    </a:cubicBezTo>
                    <a:cubicBezTo>
                      <a:pt x="35182" y="41741"/>
                      <a:pt x="52803" y="39170"/>
                      <a:pt x="64328" y="68221"/>
                    </a:cubicBezTo>
                    <a:cubicBezTo>
                      <a:pt x="64328" y="68221"/>
                      <a:pt x="62423" y="83747"/>
                      <a:pt x="48802" y="91748"/>
                    </a:cubicBezTo>
                    <a:cubicBezTo>
                      <a:pt x="48802" y="91748"/>
                      <a:pt x="41849" y="111845"/>
                      <a:pt x="59947" y="104225"/>
                    </a:cubicBezTo>
                    <a:lnTo>
                      <a:pt x="79949" y="93748"/>
                    </a:lnTo>
                    <a:cubicBezTo>
                      <a:pt x="79949" y="93748"/>
                      <a:pt x="98523" y="103368"/>
                      <a:pt x="107000" y="121751"/>
                    </a:cubicBezTo>
                    <a:cubicBezTo>
                      <a:pt x="107000" y="121751"/>
                      <a:pt x="108905" y="164042"/>
                      <a:pt x="92998" y="185950"/>
                    </a:cubicBezTo>
                    <a:cubicBezTo>
                      <a:pt x="92998" y="185950"/>
                      <a:pt x="84902" y="203476"/>
                      <a:pt x="59470" y="175949"/>
                    </a:cubicBezTo>
                    <a:cubicBezTo>
                      <a:pt x="59470" y="175949"/>
                      <a:pt x="37753" y="154994"/>
                      <a:pt x="10226" y="161852"/>
                    </a:cubicBezTo>
                    <a:cubicBezTo>
                      <a:pt x="10226" y="161852"/>
                      <a:pt x="-1775" y="173377"/>
                      <a:pt x="225" y="179378"/>
                    </a:cubicBezTo>
                    <a:cubicBezTo>
                      <a:pt x="225" y="179378"/>
                      <a:pt x="18799" y="212429"/>
                      <a:pt x="92522" y="244052"/>
                    </a:cubicBezTo>
                    <a:cubicBezTo>
                      <a:pt x="92522" y="244052"/>
                      <a:pt x="137575" y="258149"/>
                      <a:pt x="140528" y="269579"/>
                    </a:cubicBezTo>
                    <a:cubicBezTo>
                      <a:pt x="140528" y="269579"/>
                      <a:pt x="148434" y="280057"/>
                      <a:pt x="131479" y="283772"/>
                    </a:cubicBezTo>
                    <a:cubicBezTo>
                      <a:pt x="131479" y="283772"/>
                      <a:pt x="111858" y="306156"/>
                      <a:pt x="133480" y="299202"/>
                    </a:cubicBezTo>
                    <a:lnTo>
                      <a:pt x="138528" y="296821"/>
                    </a:lnTo>
                    <a:cubicBezTo>
                      <a:pt x="138528" y="296821"/>
                      <a:pt x="164531" y="293297"/>
                      <a:pt x="169960" y="294725"/>
                    </a:cubicBezTo>
                    <a:cubicBezTo>
                      <a:pt x="169960" y="294725"/>
                      <a:pt x="174532" y="292820"/>
                      <a:pt x="175485" y="287296"/>
                    </a:cubicBezTo>
                    <a:cubicBezTo>
                      <a:pt x="176628" y="281771"/>
                      <a:pt x="195106" y="286248"/>
                      <a:pt x="187963" y="299774"/>
                    </a:cubicBezTo>
                    <a:cubicBezTo>
                      <a:pt x="187963" y="299774"/>
                      <a:pt x="125955" y="357876"/>
                      <a:pt x="119859" y="357876"/>
                    </a:cubicBezTo>
                    <a:cubicBezTo>
                      <a:pt x="119954" y="357876"/>
                      <a:pt x="104905" y="357400"/>
                      <a:pt x="104905" y="352828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59EE3770-60A2-41F0-88B7-9CF9040DEB0F}"/>
                  </a:ext>
                </a:extLst>
              </p:cNvPr>
              <p:cNvSpPr/>
              <p:nvPr/>
            </p:nvSpPr>
            <p:spPr>
              <a:xfrm>
                <a:off x="2676107" y="3924325"/>
                <a:ext cx="20198" cy="70488"/>
              </a:xfrm>
              <a:custGeom>
                <a:avLst/>
                <a:gdLst>
                  <a:gd name="connsiteX0" fmla="*/ 1340 w 20198"/>
                  <a:gd name="connsiteY0" fmla="*/ 1976 h 70487"/>
                  <a:gd name="connsiteX1" fmla="*/ 2959 w 20198"/>
                  <a:gd name="connsiteY1" fmla="*/ 37123 h 70487"/>
                  <a:gd name="connsiteX2" fmla="*/ 8960 w 20198"/>
                  <a:gd name="connsiteY2" fmla="*/ 66079 h 70487"/>
                  <a:gd name="connsiteX3" fmla="*/ 16865 w 20198"/>
                  <a:gd name="connsiteY3" fmla="*/ 70080 h 70487"/>
                  <a:gd name="connsiteX4" fmla="*/ 18009 w 20198"/>
                  <a:gd name="connsiteY4" fmla="*/ 15501 h 70487"/>
                  <a:gd name="connsiteX5" fmla="*/ 1340 w 20198"/>
                  <a:gd name="connsiteY5" fmla="*/ 1976 h 70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198" h="70487">
                    <a:moveTo>
                      <a:pt x="1340" y="1976"/>
                    </a:moveTo>
                    <a:cubicBezTo>
                      <a:pt x="1340" y="1976"/>
                      <a:pt x="-2566" y="25503"/>
                      <a:pt x="2959" y="37123"/>
                    </a:cubicBezTo>
                    <a:cubicBezTo>
                      <a:pt x="2959" y="37123"/>
                      <a:pt x="10293" y="61126"/>
                      <a:pt x="8960" y="66079"/>
                    </a:cubicBezTo>
                    <a:cubicBezTo>
                      <a:pt x="8960" y="66079"/>
                      <a:pt x="13913" y="72080"/>
                      <a:pt x="16865" y="70080"/>
                    </a:cubicBezTo>
                    <a:cubicBezTo>
                      <a:pt x="16865" y="70080"/>
                      <a:pt x="23533" y="30456"/>
                      <a:pt x="18009" y="15501"/>
                    </a:cubicBezTo>
                    <a:cubicBezTo>
                      <a:pt x="17913" y="15501"/>
                      <a:pt x="10865" y="-6597"/>
                      <a:pt x="1340" y="197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719866C8-8CF5-4F98-9AED-1415F0C81DB1}"/>
                  </a:ext>
                </a:extLst>
              </p:cNvPr>
              <p:cNvSpPr/>
              <p:nvPr/>
            </p:nvSpPr>
            <p:spPr>
              <a:xfrm>
                <a:off x="2688332" y="4060967"/>
                <a:ext cx="87792" cy="118718"/>
              </a:xfrm>
              <a:custGeom>
                <a:avLst/>
                <a:gdLst>
                  <a:gd name="connsiteX0" fmla="*/ 20830 w 87790"/>
                  <a:gd name="connsiteY0" fmla="*/ 16 h 118719"/>
                  <a:gd name="connsiteX1" fmla="*/ 12162 w 87790"/>
                  <a:gd name="connsiteY1" fmla="*/ 14209 h 118719"/>
                  <a:gd name="connsiteX2" fmla="*/ 8448 w 87790"/>
                  <a:gd name="connsiteY2" fmla="*/ 15733 h 118719"/>
                  <a:gd name="connsiteX3" fmla="*/ 542 w 87790"/>
                  <a:gd name="connsiteY3" fmla="*/ 47356 h 118719"/>
                  <a:gd name="connsiteX4" fmla="*/ 1971 w 87790"/>
                  <a:gd name="connsiteY4" fmla="*/ 52595 h 118719"/>
                  <a:gd name="connsiteX5" fmla="*/ 43785 w 87790"/>
                  <a:gd name="connsiteY5" fmla="*/ 99934 h 118719"/>
                  <a:gd name="connsiteX6" fmla="*/ 64836 w 87790"/>
                  <a:gd name="connsiteY6" fmla="*/ 106316 h 118719"/>
                  <a:gd name="connsiteX7" fmla="*/ 77218 w 87790"/>
                  <a:gd name="connsiteY7" fmla="*/ 112793 h 118719"/>
                  <a:gd name="connsiteX8" fmla="*/ 80171 w 87790"/>
                  <a:gd name="connsiteY8" fmla="*/ 117650 h 118719"/>
                  <a:gd name="connsiteX9" fmla="*/ 87791 w 87790"/>
                  <a:gd name="connsiteY9" fmla="*/ 114697 h 118719"/>
                  <a:gd name="connsiteX10" fmla="*/ 75694 w 87790"/>
                  <a:gd name="connsiteY10" fmla="*/ 104506 h 118719"/>
                  <a:gd name="connsiteX11" fmla="*/ 64074 w 87790"/>
                  <a:gd name="connsiteY11" fmla="*/ 89552 h 118719"/>
                  <a:gd name="connsiteX12" fmla="*/ 62835 w 87790"/>
                  <a:gd name="connsiteY12" fmla="*/ 66977 h 118719"/>
                  <a:gd name="connsiteX13" fmla="*/ 38451 w 87790"/>
                  <a:gd name="connsiteY13" fmla="*/ 47070 h 118719"/>
                  <a:gd name="connsiteX14" fmla="*/ 37689 w 87790"/>
                  <a:gd name="connsiteY14" fmla="*/ 33164 h 118719"/>
                  <a:gd name="connsiteX15" fmla="*/ 25593 w 87790"/>
                  <a:gd name="connsiteY15" fmla="*/ 32116 h 118719"/>
                  <a:gd name="connsiteX16" fmla="*/ 20830 w 87790"/>
                  <a:gd name="connsiteY16" fmla="*/ 16 h 118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87790" h="118719">
                    <a:moveTo>
                      <a:pt x="20830" y="16"/>
                    </a:moveTo>
                    <a:cubicBezTo>
                      <a:pt x="20830" y="16"/>
                      <a:pt x="12639" y="2207"/>
                      <a:pt x="12162" y="14209"/>
                    </a:cubicBezTo>
                    <a:lnTo>
                      <a:pt x="8448" y="15733"/>
                    </a:lnTo>
                    <a:lnTo>
                      <a:pt x="542" y="47356"/>
                    </a:lnTo>
                    <a:cubicBezTo>
                      <a:pt x="542" y="47356"/>
                      <a:pt x="-1363" y="51070"/>
                      <a:pt x="1971" y="52595"/>
                    </a:cubicBezTo>
                    <a:cubicBezTo>
                      <a:pt x="5495" y="54023"/>
                      <a:pt x="35784" y="93457"/>
                      <a:pt x="43785" y="99934"/>
                    </a:cubicBezTo>
                    <a:cubicBezTo>
                      <a:pt x="43785" y="99934"/>
                      <a:pt x="54549" y="109649"/>
                      <a:pt x="64836" y="106316"/>
                    </a:cubicBezTo>
                    <a:cubicBezTo>
                      <a:pt x="64836" y="106316"/>
                      <a:pt x="70074" y="113840"/>
                      <a:pt x="77218" y="112793"/>
                    </a:cubicBezTo>
                    <a:lnTo>
                      <a:pt x="80171" y="117650"/>
                    </a:lnTo>
                    <a:cubicBezTo>
                      <a:pt x="80171" y="117650"/>
                      <a:pt x="86553" y="121460"/>
                      <a:pt x="87791" y="114697"/>
                    </a:cubicBezTo>
                    <a:cubicBezTo>
                      <a:pt x="84267" y="113554"/>
                      <a:pt x="83219" y="108697"/>
                      <a:pt x="75694" y="104506"/>
                    </a:cubicBezTo>
                    <a:cubicBezTo>
                      <a:pt x="68074" y="100410"/>
                      <a:pt x="64074" y="96600"/>
                      <a:pt x="64074" y="89552"/>
                    </a:cubicBezTo>
                    <a:lnTo>
                      <a:pt x="62835" y="66977"/>
                    </a:lnTo>
                    <a:cubicBezTo>
                      <a:pt x="62835" y="66977"/>
                      <a:pt x="58644" y="53452"/>
                      <a:pt x="38451" y="47070"/>
                    </a:cubicBezTo>
                    <a:lnTo>
                      <a:pt x="37689" y="33164"/>
                    </a:lnTo>
                    <a:lnTo>
                      <a:pt x="25593" y="32116"/>
                    </a:lnTo>
                    <a:cubicBezTo>
                      <a:pt x="25688" y="32020"/>
                      <a:pt x="29498" y="-841"/>
                      <a:pt x="20830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969813C2-BA78-4248-B0A6-36525BA8CD72}"/>
                  </a:ext>
                </a:extLst>
              </p:cNvPr>
              <p:cNvSpPr/>
              <p:nvPr/>
            </p:nvSpPr>
            <p:spPr>
              <a:xfrm>
                <a:off x="2608734" y="4092111"/>
                <a:ext cx="66902" cy="44550"/>
              </a:xfrm>
              <a:custGeom>
                <a:avLst/>
                <a:gdLst>
                  <a:gd name="connsiteX0" fmla="*/ 12420 w 66902"/>
                  <a:gd name="connsiteY0" fmla="*/ 304 h 44549"/>
                  <a:gd name="connsiteX1" fmla="*/ 38 w 66902"/>
                  <a:gd name="connsiteY1" fmla="*/ 2209 h 44549"/>
                  <a:gd name="connsiteX2" fmla="*/ 43567 w 66902"/>
                  <a:gd name="connsiteY2" fmla="*/ 36118 h 44549"/>
                  <a:gd name="connsiteX3" fmla="*/ 66903 w 66902"/>
                  <a:gd name="connsiteY3" fmla="*/ 44310 h 44549"/>
                  <a:gd name="connsiteX4" fmla="*/ 33565 w 66902"/>
                  <a:gd name="connsiteY4" fmla="*/ 19926 h 44549"/>
                  <a:gd name="connsiteX5" fmla="*/ 12420 w 66902"/>
                  <a:gd name="connsiteY5" fmla="*/ 304 h 44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902" h="44549">
                    <a:moveTo>
                      <a:pt x="12420" y="304"/>
                    </a:moveTo>
                    <a:cubicBezTo>
                      <a:pt x="12420" y="304"/>
                      <a:pt x="3752" y="-1124"/>
                      <a:pt x="38" y="2209"/>
                    </a:cubicBezTo>
                    <a:cubicBezTo>
                      <a:pt x="38" y="2209"/>
                      <a:pt x="-2915" y="19069"/>
                      <a:pt x="43567" y="36118"/>
                    </a:cubicBezTo>
                    <a:cubicBezTo>
                      <a:pt x="43567" y="36118"/>
                      <a:pt x="61664" y="46215"/>
                      <a:pt x="66903" y="44310"/>
                    </a:cubicBezTo>
                    <a:cubicBezTo>
                      <a:pt x="66903" y="44310"/>
                      <a:pt x="53473" y="31927"/>
                      <a:pt x="33565" y="19926"/>
                    </a:cubicBezTo>
                    <a:cubicBezTo>
                      <a:pt x="33565" y="19926"/>
                      <a:pt x="13182" y="3638"/>
                      <a:pt x="12420" y="30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F8FAB199-76AD-43DD-9A15-30E97986C59E}"/>
                  </a:ext>
                </a:extLst>
              </p:cNvPr>
              <p:cNvSpPr/>
              <p:nvPr/>
            </p:nvSpPr>
            <p:spPr>
              <a:xfrm>
                <a:off x="2761475" y="4090959"/>
                <a:ext cx="13410" cy="39079"/>
              </a:xfrm>
              <a:custGeom>
                <a:avLst/>
                <a:gdLst>
                  <a:gd name="connsiteX0" fmla="*/ 3313 w 13409"/>
                  <a:gd name="connsiteY0" fmla="*/ 1457 h 39080"/>
                  <a:gd name="connsiteX1" fmla="*/ 646 w 13409"/>
                  <a:gd name="connsiteY1" fmla="*/ 12316 h 39080"/>
                  <a:gd name="connsiteX2" fmla="*/ 7314 w 13409"/>
                  <a:gd name="connsiteY2" fmla="*/ 39081 h 39080"/>
                  <a:gd name="connsiteX3" fmla="*/ 13410 w 13409"/>
                  <a:gd name="connsiteY3" fmla="*/ 20602 h 39080"/>
                  <a:gd name="connsiteX4" fmla="*/ 12267 w 13409"/>
                  <a:gd name="connsiteY4" fmla="*/ 2219 h 39080"/>
                  <a:gd name="connsiteX5" fmla="*/ 3313 w 13409"/>
                  <a:gd name="connsiteY5" fmla="*/ 1457 h 39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409" h="39080">
                    <a:moveTo>
                      <a:pt x="3313" y="1457"/>
                    </a:moveTo>
                    <a:cubicBezTo>
                      <a:pt x="3313" y="1457"/>
                      <a:pt x="4075" y="9077"/>
                      <a:pt x="646" y="12316"/>
                    </a:cubicBezTo>
                    <a:cubicBezTo>
                      <a:pt x="646" y="12316"/>
                      <a:pt x="-3068" y="33461"/>
                      <a:pt x="7314" y="39081"/>
                    </a:cubicBezTo>
                    <a:cubicBezTo>
                      <a:pt x="7314" y="39081"/>
                      <a:pt x="9981" y="22888"/>
                      <a:pt x="13410" y="20602"/>
                    </a:cubicBezTo>
                    <a:lnTo>
                      <a:pt x="12267" y="2219"/>
                    </a:lnTo>
                    <a:cubicBezTo>
                      <a:pt x="12267" y="2314"/>
                      <a:pt x="9314" y="-2258"/>
                      <a:pt x="3313" y="145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498459E8-102E-4758-B073-B745D98715C6}"/>
                  </a:ext>
                </a:extLst>
              </p:cNvPr>
              <p:cNvSpPr/>
              <p:nvPr/>
            </p:nvSpPr>
            <p:spPr>
              <a:xfrm>
                <a:off x="3148075" y="3720702"/>
                <a:ext cx="36203" cy="47673"/>
              </a:xfrm>
              <a:custGeom>
                <a:avLst/>
                <a:gdLst>
                  <a:gd name="connsiteX0" fmla="*/ 1 w 36205"/>
                  <a:gd name="connsiteY0" fmla="*/ 144 h 47673"/>
                  <a:gd name="connsiteX1" fmla="*/ 31433 w 36205"/>
                  <a:gd name="connsiteY1" fmla="*/ 47674 h 47673"/>
                  <a:gd name="connsiteX2" fmla="*/ 22003 w 36205"/>
                  <a:gd name="connsiteY2" fmla="*/ 17575 h 47673"/>
                  <a:gd name="connsiteX3" fmla="*/ 1 w 36205"/>
                  <a:gd name="connsiteY3" fmla="*/ 144 h 47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205" h="47673">
                    <a:moveTo>
                      <a:pt x="1" y="144"/>
                    </a:moveTo>
                    <a:cubicBezTo>
                      <a:pt x="1" y="144"/>
                      <a:pt x="-571" y="45578"/>
                      <a:pt x="31433" y="47674"/>
                    </a:cubicBezTo>
                    <a:cubicBezTo>
                      <a:pt x="31433" y="47674"/>
                      <a:pt x="46959" y="36148"/>
                      <a:pt x="22003" y="17575"/>
                    </a:cubicBezTo>
                    <a:cubicBezTo>
                      <a:pt x="22003" y="17670"/>
                      <a:pt x="14955" y="-1856"/>
                      <a:pt x="1" y="144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1FDD9541-80AF-4B3A-B1D9-22A33E99DECB}"/>
                  </a:ext>
                </a:extLst>
              </p:cNvPr>
              <p:cNvSpPr/>
              <p:nvPr/>
            </p:nvSpPr>
            <p:spPr>
              <a:xfrm>
                <a:off x="3160431" y="3566423"/>
                <a:ext cx="216790" cy="426262"/>
              </a:xfrm>
              <a:custGeom>
                <a:avLst/>
                <a:gdLst>
                  <a:gd name="connsiteX0" fmla="*/ 67655 w 216791"/>
                  <a:gd name="connsiteY0" fmla="*/ 1069 h 426264"/>
                  <a:gd name="connsiteX1" fmla="*/ 74227 w 216791"/>
                  <a:gd name="connsiteY1" fmla="*/ 46694 h 426264"/>
                  <a:gd name="connsiteX2" fmla="*/ 70703 w 216791"/>
                  <a:gd name="connsiteY2" fmla="*/ 82222 h 426264"/>
                  <a:gd name="connsiteX3" fmla="*/ 26983 w 216791"/>
                  <a:gd name="connsiteY3" fmla="*/ 111083 h 426264"/>
                  <a:gd name="connsiteX4" fmla="*/ 14410 w 216791"/>
                  <a:gd name="connsiteY4" fmla="*/ 98605 h 426264"/>
                  <a:gd name="connsiteX5" fmla="*/ 14791 w 216791"/>
                  <a:gd name="connsiteY5" fmla="*/ 124894 h 426264"/>
                  <a:gd name="connsiteX6" fmla="*/ 27 w 216791"/>
                  <a:gd name="connsiteY6" fmla="*/ 142610 h 426264"/>
                  <a:gd name="connsiteX7" fmla="*/ 13743 w 216791"/>
                  <a:gd name="connsiteY7" fmla="*/ 149183 h 426264"/>
                  <a:gd name="connsiteX8" fmla="*/ 23840 w 216791"/>
                  <a:gd name="connsiteY8" fmla="*/ 160898 h 426264"/>
                  <a:gd name="connsiteX9" fmla="*/ 41270 w 216791"/>
                  <a:gd name="connsiteY9" fmla="*/ 146135 h 426264"/>
                  <a:gd name="connsiteX10" fmla="*/ 67178 w 216791"/>
                  <a:gd name="connsiteY10" fmla="*/ 112702 h 426264"/>
                  <a:gd name="connsiteX11" fmla="*/ 69083 w 216791"/>
                  <a:gd name="connsiteY11" fmla="*/ 121084 h 426264"/>
                  <a:gd name="connsiteX12" fmla="*/ 56987 w 216791"/>
                  <a:gd name="connsiteY12" fmla="*/ 140039 h 426264"/>
                  <a:gd name="connsiteX13" fmla="*/ 56987 w 216791"/>
                  <a:gd name="connsiteY13" fmla="*/ 150707 h 426264"/>
                  <a:gd name="connsiteX14" fmla="*/ 60320 w 216791"/>
                  <a:gd name="connsiteY14" fmla="*/ 152993 h 426264"/>
                  <a:gd name="connsiteX15" fmla="*/ 62987 w 216791"/>
                  <a:gd name="connsiteY15" fmla="*/ 174233 h 426264"/>
                  <a:gd name="connsiteX16" fmla="*/ 61082 w 216791"/>
                  <a:gd name="connsiteY16" fmla="*/ 191093 h 426264"/>
                  <a:gd name="connsiteX17" fmla="*/ 52700 w 216791"/>
                  <a:gd name="connsiteY17" fmla="*/ 219572 h 426264"/>
                  <a:gd name="connsiteX18" fmla="*/ 53081 w 216791"/>
                  <a:gd name="connsiteY18" fmla="*/ 221668 h 426264"/>
                  <a:gd name="connsiteX19" fmla="*/ 64511 w 216791"/>
                  <a:gd name="connsiteY19" fmla="*/ 219858 h 426264"/>
                  <a:gd name="connsiteX20" fmla="*/ 75275 w 216791"/>
                  <a:gd name="connsiteY20" fmla="*/ 210809 h 426264"/>
                  <a:gd name="connsiteX21" fmla="*/ 85085 w 216791"/>
                  <a:gd name="connsiteY21" fmla="*/ 204618 h 426264"/>
                  <a:gd name="connsiteX22" fmla="*/ 105659 w 216791"/>
                  <a:gd name="connsiteY22" fmla="*/ 203189 h 426264"/>
                  <a:gd name="connsiteX23" fmla="*/ 98325 w 216791"/>
                  <a:gd name="connsiteY23" fmla="*/ 224811 h 426264"/>
                  <a:gd name="connsiteX24" fmla="*/ 55463 w 216791"/>
                  <a:gd name="connsiteY24" fmla="*/ 301392 h 426264"/>
                  <a:gd name="connsiteX25" fmla="*/ 31555 w 216791"/>
                  <a:gd name="connsiteY25" fmla="*/ 375782 h 426264"/>
                  <a:gd name="connsiteX26" fmla="*/ 29364 w 216791"/>
                  <a:gd name="connsiteY26" fmla="*/ 409977 h 426264"/>
                  <a:gd name="connsiteX27" fmla="*/ 32888 w 216791"/>
                  <a:gd name="connsiteY27" fmla="*/ 426265 h 426264"/>
                  <a:gd name="connsiteX28" fmla="*/ 46033 w 216791"/>
                  <a:gd name="connsiteY28" fmla="*/ 412168 h 426264"/>
                  <a:gd name="connsiteX29" fmla="*/ 87848 w 216791"/>
                  <a:gd name="connsiteY29" fmla="*/ 291486 h 426264"/>
                  <a:gd name="connsiteX30" fmla="*/ 96611 w 216791"/>
                  <a:gd name="connsiteY30" fmla="*/ 279770 h 426264"/>
                  <a:gd name="connsiteX31" fmla="*/ 96134 w 216791"/>
                  <a:gd name="connsiteY31" fmla="*/ 266435 h 426264"/>
                  <a:gd name="connsiteX32" fmla="*/ 111755 w 216791"/>
                  <a:gd name="connsiteY32" fmla="*/ 243766 h 426264"/>
                  <a:gd name="connsiteX33" fmla="*/ 150046 w 216791"/>
                  <a:gd name="connsiteY33" fmla="*/ 230812 h 426264"/>
                  <a:gd name="connsiteX34" fmla="*/ 138711 w 216791"/>
                  <a:gd name="connsiteY34" fmla="*/ 249290 h 426264"/>
                  <a:gd name="connsiteX35" fmla="*/ 138330 w 216791"/>
                  <a:gd name="connsiteY35" fmla="*/ 263006 h 426264"/>
                  <a:gd name="connsiteX36" fmla="*/ 131186 w 216791"/>
                  <a:gd name="connsiteY36" fmla="*/ 266912 h 426264"/>
                  <a:gd name="connsiteX37" fmla="*/ 103373 w 216791"/>
                  <a:gd name="connsiteY37" fmla="*/ 278246 h 426264"/>
                  <a:gd name="connsiteX38" fmla="*/ 102326 w 216791"/>
                  <a:gd name="connsiteY38" fmla="*/ 366734 h 426264"/>
                  <a:gd name="connsiteX39" fmla="*/ 98039 w 216791"/>
                  <a:gd name="connsiteY39" fmla="*/ 380640 h 426264"/>
                  <a:gd name="connsiteX40" fmla="*/ 99278 w 216791"/>
                  <a:gd name="connsiteY40" fmla="*/ 419502 h 426264"/>
                  <a:gd name="connsiteX41" fmla="*/ 128043 w 216791"/>
                  <a:gd name="connsiteY41" fmla="*/ 401214 h 426264"/>
                  <a:gd name="connsiteX42" fmla="*/ 156809 w 216791"/>
                  <a:gd name="connsiteY42" fmla="*/ 350732 h 426264"/>
                  <a:gd name="connsiteX43" fmla="*/ 181097 w 216791"/>
                  <a:gd name="connsiteY43" fmla="*/ 363876 h 426264"/>
                  <a:gd name="connsiteX44" fmla="*/ 216721 w 216791"/>
                  <a:gd name="connsiteY44" fmla="*/ 346064 h 426264"/>
                  <a:gd name="connsiteX45" fmla="*/ 198147 w 216791"/>
                  <a:gd name="connsiteY45" fmla="*/ 331396 h 426264"/>
                  <a:gd name="connsiteX46" fmla="*/ 191003 w 216791"/>
                  <a:gd name="connsiteY46" fmla="*/ 331396 h 426264"/>
                  <a:gd name="connsiteX47" fmla="*/ 181193 w 216791"/>
                  <a:gd name="connsiteY47" fmla="*/ 319966 h 426264"/>
                  <a:gd name="connsiteX48" fmla="*/ 196337 w 216791"/>
                  <a:gd name="connsiteY48" fmla="*/ 305869 h 426264"/>
                  <a:gd name="connsiteX49" fmla="*/ 198528 w 216791"/>
                  <a:gd name="connsiteY49" fmla="*/ 278913 h 426264"/>
                  <a:gd name="connsiteX50" fmla="*/ 176621 w 216791"/>
                  <a:gd name="connsiteY50" fmla="*/ 274722 h 426264"/>
                  <a:gd name="connsiteX51" fmla="*/ 154332 w 216791"/>
                  <a:gd name="connsiteY51" fmla="*/ 282342 h 426264"/>
                  <a:gd name="connsiteX52" fmla="*/ 156237 w 216791"/>
                  <a:gd name="connsiteY52" fmla="*/ 270912 h 426264"/>
                  <a:gd name="connsiteX53" fmla="*/ 157761 w 216791"/>
                  <a:gd name="connsiteY53" fmla="*/ 263768 h 426264"/>
                  <a:gd name="connsiteX54" fmla="*/ 161285 w 216791"/>
                  <a:gd name="connsiteY54" fmla="*/ 251195 h 426264"/>
                  <a:gd name="connsiteX55" fmla="*/ 172239 w 216791"/>
                  <a:gd name="connsiteY55" fmla="*/ 213572 h 426264"/>
                  <a:gd name="connsiteX56" fmla="*/ 147950 w 216791"/>
                  <a:gd name="connsiteY56" fmla="*/ 204142 h 426264"/>
                  <a:gd name="connsiteX57" fmla="*/ 141473 w 216791"/>
                  <a:gd name="connsiteY57" fmla="*/ 209381 h 426264"/>
                  <a:gd name="connsiteX58" fmla="*/ 131567 w 216791"/>
                  <a:gd name="connsiteY58" fmla="*/ 209381 h 426264"/>
                  <a:gd name="connsiteX59" fmla="*/ 128615 w 216791"/>
                  <a:gd name="connsiteY59" fmla="*/ 214715 h 426264"/>
                  <a:gd name="connsiteX60" fmla="*/ 121280 w 216791"/>
                  <a:gd name="connsiteY60" fmla="*/ 205571 h 426264"/>
                  <a:gd name="connsiteX61" fmla="*/ 130520 w 216791"/>
                  <a:gd name="connsiteY61" fmla="*/ 174519 h 426264"/>
                  <a:gd name="connsiteX62" fmla="*/ 112232 w 216791"/>
                  <a:gd name="connsiteY62" fmla="*/ 172995 h 426264"/>
                  <a:gd name="connsiteX63" fmla="*/ 98135 w 216791"/>
                  <a:gd name="connsiteY63" fmla="*/ 182425 h 426264"/>
                  <a:gd name="connsiteX64" fmla="*/ 87943 w 216791"/>
                  <a:gd name="connsiteY64" fmla="*/ 189283 h 426264"/>
                  <a:gd name="connsiteX65" fmla="*/ 76894 w 216791"/>
                  <a:gd name="connsiteY65" fmla="*/ 188902 h 426264"/>
                  <a:gd name="connsiteX66" fmla="*/ 83752 w 216791"/>
                  <a:gd name="connsiteY66" fmla="*/ 177091 h 426264"/>
                  <a:gd name="connsiteX67" fmla="*/ 117851 w 216791"/>
                  <a:gd name="connsiteY67" fmla="*/ 157850 h 426264"/>
                  <a:gd name="connsiteX68" fmla="*/ 147188 w 216791"/>
                  <a:gd name="connsiteY68" fmla="*/ 110797 h 426264"/>
                  <a:gd name="connsiteX69" fmla="*/ 151760 w 216791"/>
                  <a:gd name="connsiteY69" fmla="*/ 37073 h 426264"/>
                  <a:gd name="connsiteX70" fmla="*/ 110041 w 216791"/>
                  <a:gd name="connsiteY70" fmla="*/ 60314 h 426264"/>
                  <a:gd name="connsiteX71" fmla="*/ 95277 w 216791"/>
                  <a:gd name="connsiteY71" fmla="*/ 62886 h 426264"/>
                  <a:gd name="connsiteX72" fmla="*/ 97182 w 216791"/>
                  <a:gd name="connsiteY72" fmla="*/ 47741 h 426264"/>
                  <a:gd name="connsiteX73" fmla="*/ 95944 w 216791"/>
                  <a:gd name="connsiteY73" fmla="*/ 22691 h 426264"/>
                  <a:gd name="connsiteX74" fmla="*/ 67655 w 216791"/>
                  <a:gd name="connsiteY74" fmla="*/ 1069 h 4262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216791" h="426264">
                    <a:moveTo>
                      <a:pt x="67655" y="1069"/>
                    </a:moveTo>
                    <a:cubicBezTo>
                      <a:pt x="67655" y="1069"/>
                      <a:pt x="74608" y="35168"/>
                      <a:pt x="74227" y="46694"/>
                    </a:cubicBezTo>
                    <a:cubicBezTo>
                      <a:pt x="74227" y="46694"/>
                      <a:pt x="79751" y="67744"/>
                      <a:pt x="70703" y="82222"/>
                    </a:cubicBezTo>
                    <a:cubicBezTo>
                      <a:pt x="70703" y="82222"/>
                      <a:pt x="40604" y="117274"/>
                      <a:pt x="26983" y="111083"/>
                    </a:cubicBezTo>
                    <a:cubicBezTo>
                      <a:pt x="26983" y="111083"/>
                      <a:pt x="20887" y="94795"/>
                      <a:pt x="14410" y="98605"/>
                    </a:cubicBezTo>
                    <a:cubicBezTo>
                      <a:pt x="14410" y="98605"/>
                      <a:pt x="8409" y="96700"/>
                      <a:pt x="14791" y="124894"/>
                    </a:cubicBezTo>
                    <a:cubicBezTo>
                      <a:pt x="14791" y="124894"/>
                      <a:pt x="-735" y="136991"/>
                      <a:pt x="27" y="142610"/>
                    </a:cubicBezTo>
                    <a:cubicBezTo>
                      <a:pt x="1932" y="143849"/>
                      <a:pt x="-4259" y="151754"/>
                      <a:pt x="13743" y="149183"/>
                    </a:cubicBezTo>
                    <a:cubicBezTo>
                      <a:pt x="13743" y="149183"/>
                      <a:pt x="18601" y="147278"/>
                      <a:pt x="23840" y="160898"/>
                    </a:cubicBezTo>
                    <a:cubicBezTo>
                      <a:pt x="23840" y="160898"/>
                      <a:pt x="38699" y="169947"/>
                      <a:pt x="41270" y="146135"/>
                    </a:cubicBezTo>
                    <a:cubicBezTo>
                      <a:pt x="41270" y="146135"/>
                      <a:pt x="37651" y="120608"/>
                      <a:pt x="67178" y="112702"/>
                    </a:cubicBezTo>
                    <a:cubicBezTo>
                      <a:pt x="67178" y="112702"/>
                      <a:pt x="76989" y="114131"/>
                      <a:pt x="69083" y="121084"/>
                    </a:cubicBezTo>
                    <a:cubicBezTo>
                      <a:pt x="69083" y="121084"/>
                      <a:pt x="68036" y="137753"/>
                      <a:pt x="56987" y="140039"/>
                    </a:cubicBezTo>
                    <a:cubicBezTo>
                      <a:pt x="56987" y="140039"/>
                      <a:pt x="56225" y="147944"/>
                      <a:pt x="56987" y="150707"/>
                    </a:cubicBezTo>
                    <a:cubicBezTo>
                      <a:pt x="57749" y="153374"/>
                      <a:pt x="60320" y="152993"/>
                      <a:pt x="60320" y="152993"/>
                    </a:cubicBezTo>
                    <a:cubicBezTo>
                      <a:pt x="60320" y="152993"/>
                      <a:pt x="66131" y="161279"/>
                      <a:pt x="62987" y="174233"/>
                    </a:cubicBezTo>
                    <a:cubicBezTo>
                      <a:pt x="62987" y="174233"/>
                      <a:pt x="58892" y="187187"/>
                      <a:pt x="61082" y="191093"/>
                    </a:cubicBezTo>
                    <a:cubicBezTo>
                      <a:pt x="61082" y="191093"/>
                      <a:pt x="50700" y="204713"/>
                      <a:pt x="52700" y="219572"/>
                    </a:cubicBezTo>
                    <a:cubicBezTo>
                      <a:pt x="52891" y="220334"/>
                      <a:pt x="52986" y="220906"/>
                      <a:pt x="53081" y="221668"/>
                    </a:cubicBezTo>
                    <a:cubicBezTo>
                      <a:pt x="56606" y="237194"/>
                      <a:pt x="62987" y="223192"/>
                      <a:pt x="64511" y="219858"/>
                    </a:cubicBezTo>
                    <a:cubicBezTo>
                      <a:pt x="64511" y="219858"/>
                      <a:pt x="74036" y="209095"/>
                      <a:pt x="75275" y="210809"/>
                    </a:cubicBezTo>
                    <a:cubicBezTo>
                      <a:pt x="76322" y="212333"/>
                      <a:pt x="82895" y="211476"/>
                      <a:pt x="85085" y="204618"/>
                    </a:cubicBezTo>
                    <a:lnTo>
                      <a:pt x="105659" y="203189"/>
                    </a:lnTo>
                    <a:cubicBezTo>
                      <a:pt x="105659" y="203189"/>
                      <a:pt x="106898" y="211476"/>
                      <a:pt x="98325" y="224811"/>
                    </a:cubicBezTo>
                    <a:cubicBezTo>
                      <a:pt x="98325" y="224811"/>
                      <a:pt x="81275" y="266150"/>
                      <a:pt x="55463" y="301392"/>
                    </a:cubicBezTo>
                    <a:cubicBezTo>
                      <a:pt x="55463" y="301392"/>
                      <a:pt x="33460" y="340921"/>
                      <a:pt x="31555" y="375782"/>
                    </a:cubicBezTo>
                    <a:lnTo>
                      <a:pt x="29364" y="409977"/>
                    </a:lnTo>
                    <a:cubicBezTo>
                      <a:pt x="29364" y="409977"/>
                      <a:pt x="13934" y="425789"/>
                      <a:pt x="32888" y="426265"/>
                    </a:cubicBezTo>
                    <a:cubicBezTo>
                      <a:pt x="32888" y="426265"/>
                      <a:pt x="40413" y="423693"/>
                      <a:pt x="46033" y="412168"/>
                    </a:cubicBezTo>
                    <a:lnTo>
                      <a:pt x="87848" y="291486"/>
                    </a:lnTo>
                    <a:lnTo>
                      <a:pt x="96611" y="279770"/>
                    </a:lnTo>
                    <a:lnTo>
                      <a:pt x="96134" y="266435"/>
                    </a:lnTo>
                    <a:cubicBezTo>
                      <a:pt x="96134" y="266435"/>
                      <a:pt x="105659" y="252338"/>
                      <a:pt x="111755" y="243766"/>
                    </a:cubicBezTo>
                    <a:cubicBezTo>
                      <a:pt x="111755" y="243766"/>
                      <a:pt x="142521" y="223954"/>
                      <a:pt x="150046" y="230812"/>
                    </a:cubicBezTo>
                    <a:cubicBezTo>
                      <a:pt x="150046" y="230812"/>
                      <a:pt x="138997" y="247957"/>
                      <a:pt x="138711" y="249290"/>
                    </a:cubicBezTo>
                    <a:cubicBezTo>
                      <a:pt x="138330" y="250814"/>
                      <a:pt x="138330" y="263006"/>
                      <a:pt x="138330" y="263006"/>
                    </a:cubicBezTo>
                    <a:cubicBezTo>
                      <a:pt x="138330" y="263006"/>
                      <a:pt x="139092" y="266435"/>
                      <a:pt x="131186" y="266912"/>
                    </a:cubicBezTo>
                    <a:cubicBezTo>
                      <a:pt x="131186" y="266912"/>
                      <a:pt x="107564" y="273293"/>
                      <a:pt x="103373" y="278246"/>
                    </a:cubicBezTo>
                    <a:lnTo>
                      <a:pt x="102326" y="366734"/>
                    </a:lnTo>
                    <a:lnTo>
                      <a:pt x="98039" y="380640"/>
                    </a:lnTo>
                    <a:lnTo>
                      <a:pt x="99278" y="419502"/>
                    </a:lnTo>
                    <a:cubicBezTo>
                      <a:pt x="99278" y="419502"/>
                      <a:pt x="119661" y="419121"/>
                      <a:pt x="128043" y="401214"/>
                    </a:cubicBezTo>
                    <a:cubicBezTo>
                      <a:pt x="128043" y="401214"/>
                      <a:pt x="141759" y="359590"/>
                      <a:pt x="156809" y="350732"/>
                    </a:cubicBezTo>
                    <a:cubicBezTo>
                      <a:pt x="156809" y="350732"/>
                      <a:pt x="178430" y="355018"/>
                      <a:pt x="181097" y="363876"/>
                    </a:cubicBezTo>
                    <a:cubicBezTo>
                      <a:pt x="181097" y="363876"/>
                      <a:pt x="218626" y="359876"/>
                      <a:pt x="216721" y="346064"/>
                    </a:cubicBezTo>
                    <a:cubicBezTo>
                      <a:pt x="216721" y="346064"/>
                      <a:pt x="214149" y="337397"/>
                      <a:pt x="198147" y="331396"/>
                    </a:cubicBezTo>
                    <a:lnTo>
                      <a:pt x="191003" y="331396"/>
                    </a:lnTo>
                    <a:lnTo>
                      <a:pt x="181193" y="319966"/>
                    </a:lnTo>
                    <a:cubicBezTo>
                      <a:pt x="181193" y="319966"/>
                      <a:pt x="190622" y="307869"/>
                      <a:pt x="196337" y="305869"/>
                    </a:cubicBezTo>
                    <a:cubicBezTo>
                      <a:pt x="196337" y="305869"/>
                      <a:pt x="209577" y="291772"/>
                      <a:pt x="198528" y="278913"/>
                    </a:cubicBezTo>
                    <a:cubicBezTo>
                      <a:pt x="198528" y="278913"/>
                      <a:pt x="206148" y="272436"/>
                      <a:pt x="176621" y="274722"/>
                    </a:cubicBezTo>
                    <a:cubicBezTo>
                      <a:pt x="176621" y="274722"/>
                      <a:pt x="169763" y="285295"/>
                      <a:pt x="154332" y="282342"/>
                    </a:cubicBezTo>
                    <a:cubicBezTo>
                      <a:pt x="154332" y="282342"/>
                      <a:pt x="150046" y="280437"/>
                      <a:pt x="156237" y="270912"/>
                    </a:cubicBezTo>
                    <a:lnTo>
                      <a:pt x="157761" y="263768"/>
                    </a:lnTo>
                    <a:cubicBezTo>
                      <a:pt x="157761" y="263768"/>
                      <a:pt x="163571" y="263292"/>
                      <a:pt x="161285" y="251195"/>
                    </a:cubicBezTo>
                    <a:cubicBezTo>
                      <a:pt x="161285" y="251195"/>
                      <a:pt x="175668" y="245576"/>
                      <a:pt x="172239" y="213572"/>
                    </a:cubicBezTo>
                    <a:cubicBezTo>
                      <a:pt x="172239" y="213572"/>
                      <a:pt x="168810" y="202142"/>
                      <a:pt x="147950" y="204142"/>
                    </a:cubicBezTo>
                    <a:lnTo>
                      <a:pt x="141473" y="209381"/>
                    </a:lnTo>
                    <a:lnTo>
                      <a:pt x="131567" y="209381"/>
                    </a:lnTo>
                    <a:cubicBezTo>
                      <a:pt x="129377" y="209381"/>
                      <a:pt x="130139" y="214715"/>
                      <a:pt x="128615" y="214715"/>
                    </a:cubicBezTo>
                    <a:cubicBezTo>
                      <a:pt x="126995" y="214715"/>
                      <a:pt x="113851" y="223478"/>
                      <a:pt x="121280" y="205571"/>
                    </a:cubicBezTo>
                    <a:cubicBezTo>
                      <a:pt x="121280" y="205571"/>
                      <a:pt x="131948" y="192236"/>
                      <a:pt x="130520" y="174519"/>
                    </a:cubicBezTo>
                    <a:cubicBezTo>
                      <a:pt x="130520" y="174519"/>
                      <a:pt x="123281" y="170614"/>
                      <a:pt x="112232" y="172995"/>
                    </a:cubicBezTo>
                    <a:cubicBezTo>
                      <a:pt x="112232" y="172995"/>
                      <a:pt x="104707" y="181663"/>
                      <a:pt x="98135" y="182425"/>
                    </a:cubicBezTo>
                    <a:cubicBezTo>
                      <a:pt x="91658" y="183092"/>
                      <a:pt x="87943" y="189283"/>
                      <a:pt x="87943" y="189283"/>
                    </a:cubicBezTo>
                    <a:cubicBezTo>
                      <a:pt x="87943" y="189283"/>
                      <a:pt x="79180" y="190902"/>
                      <a:pt x="76894" y="188902"/>
                    </a:cubicBezTo>
                    <a:cubicBezTo>
                      <a:pt x="74608" y="187092"/>
                      <a:pt x="71941" y="177948"/>
                      <a:pt x="83752" y="177091"/>
                    </a:cubicBezTo>
                    <a:cubicBezTo>
                      <a:pt x="83752" y="177091"/>
                      <a:pt x="112517" y="167280"/>
                      <a:pt x="117851" y="157850"/>
                    </a:cubicBezTo>
                    <a:cubicBezTo>
                      <a:pt x="117851" y="157850"/>
                      <a:pt x="145950" y="121370"/>
                      <a:pt x="147188" y="110797"/>
                    </a:cubicBezTo>
                    <a:cubicBezTo>
                      <a:pt x="147188" y="110797"/>
                      <a:pt x="161285" y="46979"/>
                      <a:pt x="151760" y="37073"/>
                    </a:cubicBezTo>
                    <a:cubicBezTo>
                      <a:pt x="151760" y="37073"/>
                      <a:pt x="141473" y="23453"/>
                      <a:pt x="110041" y="60314"/>
                    </a:cubicBezTo>
                    <a:cubicBezTo>
                      <a:pt x="110041" y="60314"/>
                      <a:pt x="108136" y="69839"/>
                      <a:pt x="95277" y="62886"/>
                    </a:cubicBezTo>
                    <a:cubicBezTo>
                      <a:pt x="95277" y="62886"/>
                      <a:pt x="95944" y="49646"/>
                      <a:pt x="97182" y="47741"/>
                    </a:cubicBezTo>
                    <a:cubicBezTo>
                      <a:pt x="98230" y="45932"/>
                      <a:pt x="103183" y="33263"/>
                      <a:pt x="95944" y="22691"/>
                    </a:cubicBezTo>
                    <a:cubicBezTo>
                      <a:pt x="95658" y="22595"/>
                      <a:pt x="73751" y="-5789"/>
                      <a:pt x="67655" y="1069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572ECE62-6A27-422A-903C-0536C6AABFE1}"/>
                  </a:ext>
                </a:extLst>
              </p:cNvPr>
              <p:cNvSpPr/>
              <p:nvPr/>
            </p:nvSpPr>
            <p:spPr>
              <a:xfrm>
                <a:off x="3191818" y="3730923"/>
                <a:ext cx="14072" cy="14233"/>
              </a:xfrm>
              <a:custGeom>
                <a:avLst/>
                <a:gdLst>
                  <a:gd name="connsiteX0" fmla="*/ 3215 w 14073"/>
                  <a:gd name="connsiteY0" fmla="*/ 1161 h 14233"/>
                  <a:gd name="connsiteX1" fmla="*/ 14073 w 14073"/>
                  <a:gd name="connsiteY1" fmla="*/ 8686 h 14233"/>
                  <a:gd name="connsiteX2" fmla="*/ 643 w 14073"/>
                  <a:gd name="connsiteY2" fmla="*/ 11734 h 14233"/>
                  <a:gd name="connsiteX3" fmla="*/ 3215 w 14073"/>
                  <a:gd name="connsiteY3" fmla="*/ 1161 h 14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73" h="14233">
                    <a:moveTo>
                      <a:pt x="3215" y="1161"/>
                    </a:moveTo>
                    <a:cubicBezTo>
                      <a:pt x="3215" y="1161"/>
                      <a:pt x="13787" y="-4363"/>
                      <a:pt x="14073" y="8686"/>
                    </a:cubicBezTo>
                    <a:cubicBezTo>
                      <a:pt x="14073" y="8686"/>
                      <a:pt x="10358" y="18783"/>
                      <a:pt x="643" y="11734"/>
                    </a:cubicBezTo>
                    <a:cubicBezTo>
                      <a:pt x="643" y="11639"/>
                      <a:pt x="-1929" y="780"/>
                      <a:pt x="3215" y="1161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9866EBFE-BC1F-4577-864C-DF4A595073F9}"/>
                  </a:ext>
                </a:extLst>
              </p:cNvPr>
              <p:cNvSpPr/>
              <p:nvPr/>
            </p:nvSpPr>
            <p:spPr>
              <a:xfrm>
                <a:off x="3236446" y="3635416"/>
                <a:ext cx="54576" cy="90765"/>
              </a:xfrm>
              <a:custGeom>
                <a:avLst/>
                <a:gdLst>
                  <a:gd name="connsiteX0" fmla="*/ 15356 w 54575"/>
                  <a:gd name="connsiteY0" fmla="*/ 25233 h 90765"/>
                  <a:gd name="connsiteX1" fmla="*/ 53742 w 54575"/>
                  <a:gd name="connsiteY1" fmla="*/ 87 h 90765"/>
                  <a:gd name="connsiteX2" fmla="*/ 50694 w 54575"/>
                  <a:gd name="connsiteY2" fmla="*/ 7707 h 90765"/>
                  <a:gd name="connsiteX3" fmla="*/ 31930 w 54575"/>
                  <a:gd name="connsiteY3" fmla="*/ 63333 h 90765"/>
                  <a:gd name="connsiteX4" fmla="*/ 4783 w 54575"/>
                  <a:gd name="connsiteY4" fmla="*/ 90765 h 90765"/>
                  <a:gd name="connsiteX5" fmla="*/ 2974 w 54575"/>
                  <a:gd name="connsiteY5" fmla="*/ 82193 h 90765"/>
                  <a:gd name="connsiteX6" fmla="*/ 13832 w 54575"/>
                  <a:gd name="connsiteY6" fmla="*/ 64095 h 90765"/>
                  <a:gd name="connsiteX7" fmla="*/ 15356 w 54575"/>
                  <a:gd name="connsiteY7" fmla="*/ 25233 h 90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575" h="90765">
                    <a:moveTo>
                      <a:pt x="15356" y="25233"/>
                    </a:moveTo>
                    <a:cubicBezTo>
                      <a:pt x="15356" y="25233"/>
                      <a:pt x="42502" y="-1723"/>
                      <a:pt x="53742" y="87"/>
                    </a:cubicBezTo>
                    <a:cubicBezTo>
                      <a:pt x="53742" y="87"/>
                      <a:pt x="56981" y="6659"/>
                      <a:pt x="50694" y="7707"/>
                    </a:cubicBezTo>
                    <a:cubicBezTo>
                      <a:pt x="50694" y="7707"/>
                      <a:pt x="54504" y="25233"/>
                      <a:pt x="31930" y="63333"/>
                    </a:cubicBezTo>
                    <a:cubicBezTo>
                      <a:pt x="31930" y="63333"/>
                      <a:pt x="19452" y="86003"/>
                      <a:pt x="4783" y="90765"/>
                    </a:cubicBezTo>
                    <a:cubicBezTo>
                      <a:pt x="4783" y="90765"/>
                      <a:pt x="-4646" y="90098"/>
                      <a:pt x="2974" y="82193"/>
                    </a:cubicBezTo>
                    <a:cubicBezTo>
                      <a:pt x="2974" y="82193"/>
                      <a:pt x="16118" y="72763"/>
                      <a:pt x="13832" y="64095"/>
                    </a:cubicBezTo>
                    <a:cubicBezTo>
                      <a:pt x="13832" y="64000"/>
                      <a:pt x="5641" y="42854"/>
                      <a:pt x="15356" y="2523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2A596511-0960-43EF-8D69-CA8F3C905AC0}"/>
                  </a:ext>
                </a:extLst>
              </p:cNvPr>
              <p:cNvSpPr/>
              <p:nvPr/>
            </p:nvSpPr>
            <p:spPr>
              <a:xfrm>
                <a:off x="3202823" y="3889771"/>
                <a:ext cx="19065" cy="45612"/>
              </a:xfrm>
              <a:custGeom>
                <a:avLst/>
                <a:gdLst>
                  <a:gd name="connsiteX0" fmla="*/ 12975 w 19066"/>
                  <a:gd name="connsiteY0" fmla="*/ 143 h 45613"/>
                  <a:gd name="connsiteX1" fmla="*/ 2402 w 19066"/>
                  <a:gd name="connsiteY1" fmla="*/ 22336 h 45613"/>
                  <a:gd name="connsiteX2" fmla="*/ 497 w 19066"/>
                  <a:gd name="connsiteY2" fmla="*/ 44053 h 45613"/>
                  <a:gd name="connsiteX3" fmla="*/ 7355 w 19066"/>
                  <a:gd name="connsiteY3" fmla="*/ 37386 h 45613"/>
                  <a:gd name="connsiteX4" fmla="*/ 14499 w 19066"/>
                  <a:gd name="connsiteY4" fmla="*/ 23384 h 45613"/>
                  <a:gd name="connsiteX5" fmla="*/ 16689 w 19066"/>
                  <a:gd name="connsiteY5" fmla="*/ 9192 h 45613"/>
                  <a:gd name="connsiteX6" fmla="*/ 12975 w 19066"/>
                  <a:gd name="connsiteY6" fmla="*/ 143 h 45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066" h="45613">
                    <a:moveTo>
                      <a:pt x="12975" y="143"/>
                    </a:moveTo>
                    <a:cubicBezTo>
                      <a:pt x="12975" y="143"/>
                      <a:pt x="2878" y="19669"/>
                      <a:pt x="2402" y="22336"/>
                    </a:cubicBezTo>
                    <a:cubicBezTo>
                      <a:pt x="2402" y="22336"/>
                      <a:pt x="-1313" y="30623"/>
                      <a:pt x="497" y="44053"/>
                    </a:cubicBezTo>
                    <a:cubicBezTo>
                      <a:pt x="497" y="44053"/>
                      <a:pt x="6498" y="50435"/>
                      <a:pt x="7355" y="37386"/>
                    </a:cubicBezTo>
                    <a:cubicBezTo>
                      <a:pt x="7355" y="37386"/>
                      <a:pt x="11070" y="22336"/>
                      <a:pt x="14499" y="23384"/>
                    </a:cubicBezTo>
                    <a:cubicBezTo>
                      <a:pt x="14499" y="23384"/>
                      <a:pt x="14023" y="9954"/>
                      <a:pt x="16689" y="9192"/>
                    </a:cubicBezTo>
                    <a:cubicBezTo>
                      <a:pt x="19356" y="8430"/>
                      <a:pt x="21547" y="-1286"/>
                      <a:pt x="12975" y="14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8" name="任意多边形: 形状 87">
                <a:extLst>
                  <a:ext uri="{FF2B5EF4-FFF2-40B4-BE49-F238E27FC236}">
                    <a16:creationId xmlns:a16="http://schemas.microsoft.com/office/drawing/2014/main" id="{3A45D621-5CF6-4704-8F7C-AD7F68B2A4F8}"/>
                  </a:ext>
                </a:extLst>
              </p:cNvPr>
              <p:cNvSpPr/>
              <p:nvPr/>
            </p:nvSpPr>
            <p:spPr>
              <a:xfrm>
                <a:off x="3275395" y="3852528"/>
                <a:ext cx="30456" cy="73607"/>
              </a:xfrm>
              <a:custGeom>
                <a:avLst/>
                <a:gdLst>
                  <a:gd name="connsiteX0" fmla="*/ 3842 w 30454"/>
                  <a:gd name="connsiteY0" fmla="*/ 240 h 73609"/>
                  <a:gd name="connsiteX1" fmla="*/ 508 w 30454"/>
                  <a:gd name="connsiteY1" fmla="*/ 9289 h 73609"/>
                  <a:gd name="connsiteX2" fmla="*/ 508 w 30454"/>
                  <a:gd name="connsiteY2" fmla="*/ 24624 h 73609"/>
                  <a:gd name="connsiteX3" fmla="*/ 3080 w 30454"/>
                  <a:gd name="connsiteY3" fmla="*/ 64534 h 73609"/>
                  <a:gd name="connsiteX4" fmla="*/ 21558 w 30454"/>
                  <a:gd name="connsiteY4" fmla="*/ 65963 h 73609"/>
                  <a:gd name="connsiteX5" fmla="*/ 27559 w 30454"/>
                  <a:gd name="connsiteY5" fmla="*/ 44627 h 73609"/>
                  <a:gd name="connsiteX6" fmla="*/ 15843 w 30454"/>
                  <a:gd name="connsiteY6" fmla="*/ 30339 h 73609"/>
                  <a:gd name="connsiteX7" fmla="*/ 23463 w 30454"/>
                  <a:gd name="connsiteY7" fmla="*/ 5860 h 73609"/>
                  <a:gd name="connsiteX8" fmla="*/ 14795 w 30454"/>
                  <a:gd name="connsiteY8" fmla="*/ 2145 h 73609"/>
                  <a:gd name="connsiteX9" fmla="*/ 3842 w 30454"/>
                  <a:gd name="connsiteY9" fmla="*/ 240 h 73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454" h="73609">
                    <a:moveTo>
                      <a:pt x="3842" y="240"/>
                    </a:moveTo>
                    <a:lnTo>
                      <a:pt x="508" y="9289"/>
                    </a:lnTo>
                    <a:cubicBezTo>
                      <a:pt x="508" y="9289"/>
                      <a:pt x="-635" y="14433"/>
                      <a:pt x="508" y="24624"/>
                    </a:cubicBezTo>
                    <a:cubicBezTo>
                      <a:pt x="1746" y="34721"/>
                      <a:pt x="3080" y="64534"/>
                      <a:pt x="3080" y="64534"/>
                    </a:cubicBezTo>
                    <a:cubicBezTo>
                      <a:pt x="3080" y="64534"/>
                      <a:pt x="8414" y="83965"/>
                      <a:pt x="21558" y="65963"/>
                    </a:cubicBezTo>
                    <a:cubicBezTo>
                      <a:pt x="21558" y="65963"/>
                      <a:pt x="36608" y="58914"/>
                      <a:pt x="27559" y="44627"/>
                    </a:cubicBezTo>
                    <a:lnTo>
                      <a:pt x="15843" y="30339"/>
                    </a:lnTo>
                    <a:lnTo>
                      <a:pt x="23463" y="5860"/>
                    </a:lnTo>
                    <a:cubicBezTo>
                      <a:pt x="23463" y="5860"/>
                      <a:pt x="15081" y="5098"/>
                      <a:pt x="14795" y="2145"/>
                    </a:cubicBezTo>
                    <a:cubicBezTo>
                      <a:pt x="14415" y="-998"/>
                      <a:pt x="3842" y="240"/>
                      <a:pt x="3842" y="24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9" name="任意多边形: 形状 88">
                <a:extLst>
                  <a:ext uri="{FF2B5EF4-FFF2-40B4-BE49-F238E27FC236}">
                    <a16:creationId xmlns:a16="http://schemas.microsoft.com/office/drawing/2014/main" id="{11F673DA-60B4-4A0E-BB22-0B79CCCF7B2C}"/>
                  </a:ext>
                </a:extLst>
              </p:cNvPr>
              <p:cNvSpPr/>
              <p:nvPr/>
            </p:nvSpPr>
            <p:spPr>
              <a:xfrm>
                <a:off x="3314713" y="3864711"/>
                <a:ext cx="22053" cy="16533"/>
              </a:xfrm>
              <a:custGeom>
                <a:avLst/>
                <a:gdLst>
                  <a:gd name="connsiteX0" fmla="*/ 5479 w 22052"/>
                  <a:gd name="connsiteY0" fmla="*/ 1198 h 16532"/>
                  <a:gd name="connsiteX1" fmla="*/ 22052 w 22052"/>
                  <a:gd name="connsiteY1" fmla="*/ 4056 h 16532"/>
                  <a:gd name="connsiteX2" fmla="*/ 4336 w 22052"/>
                  <a:gd name="connsiteY2" fmla="*/ 15390 h 16532"/>
                  <a:gd name="connsiteX3" fmla="*/ 5479 w 22052"/>
                  <a:gd name="connsiteY3" fmla="*/ 1198 h 16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052" h="16532">
                    <a:moveTo>
                      <a:pt x="5479" y="1198"/>
                    </a:moveTo>
                    <a:cubicBezTo>
                      <a:pt x="5479" y="1198"/>
                      <a:pt x="21004" y="-2898"/>
                      <a:pt x="22052" y="4056"/>
                    </a:cubicBezTo>
                    <a:cubicBezTo>
                      <a:pt x="22052" y="4056"/>
                      <a:pt x="14432" y="21010"/>
                      <a:pt x="4336" y="15390"/>
                    </a:cubicBezTo>
                    <a:cubicBezTo>
                      <a:pt x="4336" y="15486"/>
                      <a:pt x="-6142" y="6818"/>
                      <a:pt x="5479" y="119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0" name="任意多边形: 形状 89">
                <a:extLst>
                  <a:ext uri="{FF2B5EF4-FFF2-40B4-BE49-F238E27FC236}">
                    <a16:creationId xmlns:a16="http://schemas.microsoft.com/office/drawing/2014/main" id="{173E40C2-7AFF-4FCB-9367-CC6380C36712}"/>
                  </a:ext>
                </a:extLst>
              </p:cNvPr>
              <p:cNvSpPr/>
              <p:nvPr/>
            </p:nvSpPr>
            <p:spPr>
              <a:xfrm>
                <a:off x="3743578" y="3654428"/>
                <a:ext cx="265615" cy="342685"/>
              </a:xfrm>
              <a:custGeom>
                <a:avLst/>
                <a:gdLst>
                  <a:gd name="connsiteX0" fmla="*/ 159734 w 265616"/>
                  <a:gd name="connsiteY0" fmla="*/ 22508 h 342687"/>
                  <a:gd name="connsiteX1" fmla="*/ 135636 w 265616"/>
                  <a:gd name="connsiteY1" fmla="*/ 70229 h 342687"/>
                  <a:gd name="connsiteX2" fmla="*/ 126587 w 265616"/>
                  <a:gd name="connsiteY2" fmla="*/ 79563 h 342687"/>
                  <a:gd name="connsiteX3" fmla="*/ 115633 w 265616"/>
                  <a:gd name="connsiteY3" fmla="*/ 87183 h 342687"/>
                  <a:gd name="connsiteX4" fmla="*/ 74009 w 265616"/>
                  <a:gd name="connsiteY4" fmla="*/ 84230 h 342687"/>
                  <a:gd name="connsiteX5" fmla="*/ 71723 w 265616"/>
                  <a:gd name="connsiteY5" fmla="*/ 95946 h 342687"/>
                  <a:gd name="connsiteX6" fmla="*/ 102965 w 265616"/>
                  <a:gd name="connsiteY6" fmla="*/ 131570 h 342687"/>
                  <a:gd name="connsiteX7" fmla="*/ 7810 w 265616"/>
                  <a:gd name="connsiteY7" fmla="*/ 217961 h 342687"/>
                  <a:gd name="connsiteX8" fmla="*/ 0 w 265616"/>
                  <a:gd name="connsiteY8" fmla="*/ 259300 h 342687"/>
                  <a:gd name="connsiteX9" fmla="*/ 12097 w 265616"/>
                  <a:gd name="connsiteY9" fmla="*/ 260538 h 342687"/>
                  <a:gd name="connsiteX10" fmla="*/ 47339 w 265616"/>
                  <a:gd name="connsiteY10" fmla="*/ 229296 h 342687"/>
                  <a:gd name="connsiteX11" fmla="*/ 67628 w 265616"/>
                  <a:gd name="connsiteY11" fmla="*/ 241012 h 342687"/>
                  <a:gd name="connsiteX12" fmla="*/ 64008 w 265616"/>
                  <a:gd name="connsiteY12" fmla="*/ 292637 h 342687"/>
                  <a:gd name="connsiteX13" fmla="*/ 73057 w 265616"/>
                  <a:gd name="connsiteY13" fmla="*/ 292637 h 342687"/>
                  <a:gd name="connsiteX14" fmla="*/ 75152 w 265616"/>
                  <a:gd name="connsiteY14" fmla="*/ 283589 h 342687"/>
                  <a:gd name="connsiteX15" fmla="*/ 92583 w 265616"/>
                  <a:gd name="connsiteY15" fmla="*/ 236059 h 342687"/>
                  <a:gd name="connsiteX16" fmla="*/ 120682 w 265616"/>
                  <a:gd name="connsiteY16" fmla="*/ 233963 h 342687"/>
                  <a:gd name="connsiteX17" fmla="*/ 152400 w 265616"/>
                  <a:gd name="connsiteY17" fmla="*/ 210246 h 342687"/>
                  <a:gd name="connsiteX18" fmla="*/ 150495 w 265616"/>
                  <a:gd name="connsiteY18" fmla="*/ 241107 h 342687"/>
                  <a:gd name="connsiteX19" fmla="*/ 133064 w 265616"/>
                  <a:gd name="connsiteY19" fmla="*/ 299781 h 342687"/>
                  <a:gd name="connsiteX20" fmla="*/ 134684 w 265616"/>
                  <a:gd name="connsiteY20" fmla="*/ 339119 h 342687"/>
                  <a:gd name="connsiteX21" fmla="*/ 146018 w 265616"/>
                  <a:gd name="connsiteY21" fmla="*/ 334643 h 342687"/>
                  <a:gd name="connsiteX22" fmla="*/ 145161 w 265616"/>
                  <a:gd name="connsiteY22" fmla="*/ 326737 h 342687"/>
                  <a:gd name="connsiteX23" fmla="*/ 181261 w 265616"/>
                  <a:gd name="connsiteY23" fmla="*/ 196721 h 342687"/>
                  <a:gd name="connsiteX24" fmla="*/ 197358 w 265616"/>
                  <a:gd name="connsiteY24" fmla="*/ 143476 h 342687"/>
                  <a:gd name="connsiteX25" fmla="*/ 209836 w 265616"/>
                  <a:gd name="connsiteY25" fmla="*/ 133094 h 342687"/>
                  <a:gd name="connsiteX26" fmla="*/ 210979 w 265616"/>
                  <a:gd name="connsiteY26" fmla="*/ 132903 h 342687"/>
                  <a:gd name="connsiteX27" fmla="*/ 224409 w 265616"/>
                  <a:gd name="connsiteY27" fmla="*/ 130236 h 342687"/>
                  <a:gd name="connsiteX28" fmla="*/ 226314 w 265616"/>
                  <a:gd name="connsiteY28" fmla="*/ 125378 h 342687"/>
                  <a:gd name="connsiteX29" fmla="*/ 264605 w 265616"/>
                  <a:gd name="connsiteY29" fmla="*/ 121949 h 342687"/>
                  <a:gd name="connsiteX30" fmla="*/ 258889 w 265616"/>
                  <a:gd name="connsiteY30" fmla="*/ 56608 h 342687"/>
                  <a:gd name="connsiteX31" fmla="*/ 253651 w 265616"/>
                  <a:gd name="connsiteY31" fmla="*/ 62894 h 342687"/>
                  <a:gd name="connsiteX32" fmla="*/ 250698 w 265616"/>
                  <a:gd name="connsiteY32" fmla="*/ 94422 h 342687"/>
                  <a:gd name="connsiteX33" fmla="*/ 222885 w 265616"/>
                  <a:gd name="connsiteY33" fmla="*/ 98994 h 342687"/>
                  <a:gd name="connsiteX34" fmla="*/ 217932 w 265616"/>
                  <a:gd name="connsiteY34" fmla="*/ 95184 h 342687"/>
                  <a:gd name="connsiteX35" fmla="*/ 231838 w 265616"/>
                  <a:gd name="connsiteY35" fmla="*/ 65752 h 342687"/>
                  <a:gd name="connsiteX36" fmla="*/ 249555 w 265616"/>
                  <a:gd name="connsiteY36" fmla="*/ 791 h 342687"/>
                  <a:gd name="connsiteX37" fmla="*/ 241268 w 265616"/>
                  <a:gd name="connsiteY37" fmla="*/ 5744 h 342687"/>
                  <a:gd name="connsiteX38" fmla="*/ 216122 w 265616"/>
                  <a:gd name="connsiteY38" fmla="*/ 60989 h 342687"/>
                  <a:gd name="connsiteX39" fmla="*/ 207835 w 265616"/>
                  <a:gd name="connsiteY39" fmla="*/ 71086 h 342687"/>
                  <a:gd name="connsiteX40" fmla="*/ 194215 w 265616"/>
                  <a:gd name="connsiteY40" fmla="*/ 110615 h 342687"/>
                  <a:gd name="connsiteX41" fmla="*/ 185928 w 265616"/>
                  <a:gd name="connsiteY41" fmla="*/ 117187 h 342687"/>
                  <a:gd name="connsiteX42" fmla="*/ 169450 w 265616"/>
                  <a:gd name="connsiteY42" fmla="*/ 122140 h 342687"/>
                  <a:gd name="connsiteX43" fmla="*/ 165545 w 265616"/>
                  <a:gd name="connsiteY43" fmla="*/ 128903 h 342687"/>
                  <a:gd name="connsiteX44" fmla="*/ 135160 w 265616"/>
                  <a:gd name="connsiteY44" fmla="*/ 129188 h 342687"/>
                  <a:gd name="connsiteX45" fmla="*/ 145733 w 265616"/>
                  <a:gd name="connsiteY45" fmla="*/ 113472 h 342687"/>
                  <a:gd name="connsiteX46" fmla="*/ 164116 w 265616"/>
                  <a:gd name="connsiteY46" fmla="*/ 105471 h 342687"/>
                  <a:gd name="connsiteX47" fmla="*/ 162592 w 265616"/>
                  <a:gd name="connsiteY47" fmla="*/ 86231 h 342687"/>
                  <a:gd name="connsiteX48" fmla="*/ 157353 w 265616"/>
                  <a:gd name="connsiteY48" fmla="*/ 66419 h 342687"/>
                  <a:gd name="connsiteX49" fmla="*/ 165163 w 265616"/>
                  <a:gd name="connsiteY49" fmla="*/ 40796 h 342687"/>
                  <a:gd name="connsiteX50" fmla="*/ 159734 w 265616"/>
                  <a:gd name="connsiteY50" fmla="*/ 22508 h 342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265616" h="342687">
                    <a:moveTo>
                      <a:pt x="159734" y="22508"/>
                    </a:moveTo>
                    <a:cubicBezTo>
                      <a:pt x="159734" y="22508"/>
                      <a:pt x="144304" y="60799"/>
                      <a:pt x="135636" y="70229"/>
                    </a:cubicBezTo>
                    <a:cubicBezTo>
                      <a:pt x="135636" y="70229"/>
                      <a:pt x="134874" y="79563"/>
                      <a:pt x="126587" y="79563"/>
                    </a:cubicBezTo>
                    <a:cubicBezTo>
                      <a:pt x="118300" y="79563"/>
                      <a:pt x="116110" y="85564"/>
                      <a:pt x="115633" y="87183"/>
                    </a:cubicBezTo>
                    <a:cubicBezTo>
                      <a:pt x="115348" y="88707"/>
                      <a:pt x="88297" y="94232"/>
                      <a:pt x="74009" y="84230"/>
                    </a:cubicBezTo>
                    <a:cubicBezTo>
                      <a:pt x="74009" y="84230"/>
                      <a:pt x="64008" y="86802"/>
                      <a:pt x="71723" y="95946"/>
                    </a:cubicBezTo>
                    <a:lnTo>
                      <a:pt x="102965" y="131570"/>
                    </a:lnTo>
                    <a:cubicBezTo>
                      <a:pt x="102965" y="131570"/>
                      <a:pt x="108585" y="155954"/>
                      <a:pt x="7810" y="217961"/>
                    </a:cubicBezTo>
                    <a:lnTo>
                      <a:pt x="0" y="259300"/>
                    </a:lnTo>
                    <a:lnTo>
                      <a:pt x="12097" y="260538"/>
                    </a:lnTo>
                    <a:lnTo>
                      <a:pt x="47339" y="229296"/>
                    </a:lnTo>
                    <a:cubicBezTo>
                      <a:pt x="47339" y="229296"/>
                      <a:pt x="75057" y="218438"/>
                      <a:pt x="67628" y="241012"/>
                    </a:cubicBezTo>
                    <a:cubicBezTo>
                      <a:pt x="67628" y="241012"/>
                      <a:pt x="57531" y="283017"/>
                      <a:pt x="64008" y="292637"/>
                    </a:cubicBezTo>
                    <a:lnTo>
                      <a:pt x="73057" y="292637"/>
                    </a:lnTo>
                    <a:cubicBezTo>
                      <a:pt x="73057" y="292637"/>
                      <a:pt x="73819" y="291399"/>
                      <a:pt x="75152" y="283589"/>
                    </a:cubicBezTo>
                    <a:cubicBezTo>
                      <a:pt x="75152" y="283589"/>
                      <a:pt x="85058" y="234344"/>
                      <a:pt x="92583" y="236059"/>
                    </a:cubicBezTo>
                    <a:cubicBezTo>
                      <a:pt x="92583" y="236059"/>
                      <a:pt x="116681" y="241393"/>
                      <a:pt x="120682" y="233963"/>
                    </a:cubicBezTo>
                    <a:cubicBezTo>
                      <a:pt x="120682" y="233963"/>
                      <a:pt x="139446" y="198626"/>
                      <a:pt x="152400" y="210246"/>
                    </a:cubicBezTo>
                    <a:cubicBezTo>
                      <a:pt x="152400" y="210246"/>
                      <a:pt x="161734" y="209484"/>
                      <a:pt x="150495" y="241107"/>
                    </a:cubicBezTo>
                    <a:cubicBezTo>
                      <a:pt x="150495" y="241107"/>
                      <a:pt x="139160" y="293018"/>
                      <a:pt x="133064" y="299781"/>
                    </a:cubicBezTo>
                    <a:lnTo>
                      <a:pt x="134684" y="339119"/>
                    </a:lnTo>
                    <a:cubicBezTo>
                      <a:pt x="134684" y="339119"/>
                      <a:pt x="142113" y="349597"/>
                      <a:pt x="146018" y="334643"/>
                    </a:cubicBezTo>
                    <a:lnTo>
                      <a:pt x="145161" y="326737"/>
                    </a:lnTo>
                    <a:lnTo>
                      <a:pt x="181261" y="196721"/>
                    </a:lnTo>
                    <a:cubicBezTo>
                      <a:pt x="181261" y="196721"/>
                      <a:pt x="189833" y="145571"/>
                      <a:pt x="197358" y="143476"/>
                    </a:cubicBezTo>
                    <a:cubicBezTo>
                      <a:pt x="197358" y="143476"/>
                      <a:pt x="201644" y="135380"/>
                      <a:pt x="209836" y="133094"/>
                    </a:cubicBezTo>
                    <a:cubicBezTo>
                      <a:pt x="211455" y="133094"/>
                      <a:pt x="210598" y="133094"/>
                      <a:pt x="210979" y="132903"/>
                    </a:cubicBezTo>
                    <a:cubicBezTo>
                      <a:pt x="220028" y="131093"/>
                      <a:pt x="224409" y="130236"/>
                      <a:pt x="224409" y="130236"/>
                    </a:cubicBezTo>
                    <a:lnTo>
                      <a:pt x="226314" y="125378"/>
                    </a:lnTo>
                    <a:cubicBezTo>
                      <a:pt x="226314" y="125378"/>
                      <a:pt x="262700" y="126521"/>
                      <a:pt x="264605" y="121949"/>
                    </a:cubicBezTo>
                    <a:cubicBezTo>
                      <a:pt x="264605" y="121949"/>
                      <a:pt x="269176" y="52417"/>
                      <a:pt x="258889" y="56608"/>
                    </a:cubicBezTo>
                    <a:cubicBezTo>
                      <a:pt x="258889" y="56608"/>
                      <a:pt x="249555" y="58132"/>
                      <a:pt x="253651" y="62894"/>
                    </a:cubicBezTo>
                    <a:cubicBezTo>
                      <a:pt x="253651" y="62894"/>
                      <a:pt x="257842" y="85469"/>
                      <a:pt x="250698" y="94422"/>
                    </a:cubicBezTo>
                    <a:cubicBezTo>
                      <a:pt x="250698" y="94422"/>
                      <a:pt x="243173" y="107186"/>
                      <a:pt x="222885" y="98994"/>
                    </a:cubicBezTo>
                    <a:lnTo>
                      <a:pt x="217932" y="95184"/>
                    </a:lnTo>
                    <a:cubicBezTo>
                      <a:pt x="217932" y="95184"/>
                      <a:pt x="231838" y="74896"/>
                      <a:pt x="231838" y="65752"/>
                    </a:cubicBezTo>
                    <a:cubicBezTo>
                      <a:pt x="231838" y="65752"/>
                      <a:pt x="252889" y="4887"/>
                      <a:pt x="249555" y="791"/>
                    </a:cubicBezTo>
                    <a:cubicBezTo>
                      <a:pt x="249555" y="791"/>
                      <a:pt x="244602" y="-2923"/>
                      <a:pt x="241268" y="5744"/>
                    </a:cubicBezTo>
                    <a:cubicBezTo>
                      <a:pt x="241268" y="5744"/>
                      <a:pt x="222028" y="57179"/>
                      <a:pt x="216122" y="60989"/>
                    </a:cubicBezTo>
                    <a:cubicBezTo>
                      <a:pt x="216122" y="60989"/>
                      <a:pt x="212217" y="70324"/>
                      <a:pt x="207835" y="71086"/>
                    </a:cubicBezTo>
                    <a:cubicBezTo>
                      <a:pt x="207835" y="71086"/>
                      <a:pt x="193929" y="98137"/>
                      <a:pt x="194215" y="110615"/>
                    </a:cubicBezTo>
                    <a:cubicBezTo>
                      <a:pt x="194215" y="110615"/>
                      <a:pt x="189262" y="112043"/>
                      <a:pt x="185928" y="117187"/>
                    </a:cubicBezTo>
                    <a:cubicBezTo>
                      <a:pt x="184023" y="119568"/>
                      <a:pt x="169450" y="122140"/>
                      <a:pt x="169450" y="122140"/>
                    </a:cubicBezTo>
                    <a:lnTo>
                      <a:pt x="165545" y="128903"/>
                    </a:lnTo>
                    <a:lnTo>
                      <a:pt x="135160" y="129188"/>
                    </a:lnTo>
                    <a:cubicBezTo>
                      <a:pt x="135160" y="129188"/>
                      <a:pt x="128397" y="113472"/>
                      <a:pt x="145733" y="113472"/>
                    </a:cubicBezTo>
                    <a:cubicBezTo>
                      <a:pt x="145733" y="113472"/>
                      <a:pt x="161449" y="106614"/>
                      <a:pt x="164116" y="105471"/>
                    </a:cubicBezTo>
                    <a:cubicBezTo>
                      <a:pt x="166783" y="104423"/>
                      <a:pt x="167068" y="93089"/>
                      <a:pt x="162592" y="86231"/>
                    </a:cubicBezTo>
                    <a:cubicBezTo>
                      <a:pt x="162592" y="86231"/>
                      <a:pt x="155829" y="79468"/>
                      <a:pt x="157353" y="66419"/>
                    </a:cubicBezTo>
                    <a:cubicBezTo>
                      <a:pt x="158877" y="53274"/>
                      <a:pt x="165545" y="42606"/>
                      <a:pt x="165163" y="40796"/>
                    </a:cubicBezTo>
                    <a:cubicBezTo>
                      <a:pt x="164973" y="38987"/>
                      <a:pt x="175070" y="20889"/>
                      <a:pt x="159734" y="22508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25D8C81E-DD9C-4FAA-B525-F997E95AEC49}"/>
                  </a:ext>
                </a:extLst>
              </p:cNvPr>
              <p:cNvSpPr/>
              <p:nvPr/>
            </p:nvSpPr>
            <p:spPr>
              <a:xfrm>
                <a:off x="3839919" y="3801377"/>
                <a:ext cx="81098" cy="68117"/>
              </a:xfrm>
              <a:custGeom>
                <a:avLst/>
                <a:gdLst>
                  <a:gd name="connsiteX0" fmla="*/ 63109 w 81099"/>
                  <a:gd name="connsiteY0" fmla="*/ 432 h 68116"/>
                  <a:gd name="connsiteX1" fmla="*/ 8436 w 81099"/>
                  <a:gd name="connsiteY1" fmla="*/ 43390 h 68116"/>
                  <a:gd name="connsiteX2" fmla="*/ 10341 w 81099"/>
                  <a:gd name="connsiteY2" fmla="*/ 65297 h 68116"/>
                  <a:gd name="connsiteX3" fmla="*/ 24819 w 81099"/>
                  <a:gd name="connsiteY3" fmla="*/ 64154 h 68116"/>
                  <a:gd name="connsiteX4" fmla="*/ 36534 w 81099"/>
                  <a:gd name="connsiteY4" fmla="*/ 53010 h 68116"/>
                  <a:gd name="connsiteX5" fmla="*/ 73968 w 81099"/>
                  <a:gd name="connsiteY5" fmla="*/ 31864 h 68116"/>
                  <a:gd name="connsiteX6" fmla="*/ 63109 w 81099"/>
                  <a:gd name="connsiteY6" fmla="*/ 432 h 68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099" h="68116">
                    <a:moveTo>
                      <a:pt x="63109" y="432"/>
                    </a:moveTo>
                    <a:cubicBezTo>
                      <a:pt x="63109" y="432"/>
                      <a:pt x="29581" y="18053"/>
                      <a:pt x="8436" y="43390"/>
                    </a:cubicBezTo>
                    <a:cubicBezTo>
                      <a:pt x="8436" y="43390"/>
                      <a:pt x="-11757" y="62249"/>
                      <a:pt x="10341" y="65297"/>
                    </a:cubicBezTo>
                    <a:cubicBezTo>
                      <a:pt x="10341" y="65297"/>
                      <a:pt x="10626" y="72346"/>
                      <a:pt x="24819" y="64154"/>
                    </a:cubicBezTo>
                    <a:cubicBezTo>
                      <a:pt x="39201" y="56058"/>
                      <a:pt x="29676" y="56344"/>
                      <a:pt x="36534" y="53010"/>
                    </a:cubicBezTo>
                    <a:cubicBezTo>
                      <a:pt x="43392" y="49486"/>
                      <a:pt x="73968" y="31864"/>
                      <a:pt x="73968" y="31864"/>
                    </a:cubicBezTo>
                    <a:cubicBezTo>
                      <a:pt x="73968" y="31864"/>
                      <a:pt x="95780" y="-4331"/>
                      <a:pt x="63109" y="43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8261D1B0-6B17-465C-BFFF-E5F1F5D626E9}"/>
                  </a:ext>
                </a:extLst>
              </p:cNvPr>
              <p:cNvSpPr/>
              <p:nvPr/>
            </p:nvSpPr>
            <p:spPr>
              <a:xfrm>
                <a:off x="3946394" y="3863339"/>
                <a:ext cx="69550" cy="43096"/>
              </a:xfrm>
              <a:custGeom>
                <a:avLst/>
                <a:gdLst>
                  <a:gd name="connsiteX0" fmla="*/ 5305 w 69550"/>
                  <a:gd name="connsiteY0" fmla="*/ 0 h 43094"/>
                  <a:gd name="connsiteX1" fmla="*/ 2257 w 69550"/>
                  <a:gd name="connsiteY1" fmla="*/ 8573 h 43094"/>
                  <a:gd name="connsiteX2" fmla="*/ 33118 w 69550"/>
                  <a:gd name="connsiteY2" fmla="*/ 42577 h 43094"/>
                  <a:gd name="connsiteX3" fmla="*/ 47881 w 69550"/>
                  <a:gd name="connsiteY3" fmla="*/ 37338 h 43094"/>
                  <a:gd name="connsiteX4" fmla="*/ 68836 w 69550"/>
                  <a:gd name="connsiteY4" fmla="*/ 23241 h 43094"/>
                  <a:gd name="connsiteX5" fmla="*/ 58073 w 69550"/>
                  <a:gd name="connsiteY5" fmla="*/ 18860 h 43094"/>
                  <a:gd name="connsiteX6" fmla="*/ 45595 w 69550"/>
                  <a:gd name="connsiteY6" fmla="*/ 18860 h 43094"/>
                  <a:gd name="connsiteX7" fmla="*/ 34927 w 69550"/>
                  <a:gd name="connsiteY7" fmla="*/ 17240 h 43094"/>
                  <a:gd name="connsiteX8" fmla="*/ 5305 w 69550"/>
                  <a:gd name="connsiteY8" fmla="*/ 0 h 43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9550" h="43094">
                    <a:moveTo>
                      <a:pt x="5305" y="0"/>
                    </a:moveTo>
                    <a:cubicBezTo>
                      <a:pt x="5305" y="0"/>
                      <a:pt x="-4220" y="3905"/>
                      <a:pt x="2257" y="8573"/>
                    </a:cubicBezTo>
                    <a:cubicBezTo>
                      <a:pt x="8638" y="13335"/>
                      <a:pt x="20354" y="42196"/>
                      <a:pt x="33118" y="42577"/>
                    </a:cubicBezTo>
                    <a:cubicBezTo>
                      <a:pt x="33118" y="42577"/>
                      <a:pt x="40452" y="45530"/>
                      <a:pt x="47881" y="37338"/>
                    </a:cubicBezTo>
                    <a:cubicBezTo>
                      <a:pt x="47881" y="37338"/>
                      <a:pt x="66360" y="20193"/>
                      <a:pt x="68836" y="23241"/>
                    </a:cubicBezTo>
                    <a:cubicBezTo>
                      <a:pt x="68836" y="23241"/>
                      <a:pt x="73694" y="15907"/>
                      <a:pt x="58073" y="18860"/>
                    </a:cubicBezTo>
                    <a:cubicBezTo>
                      <a:pt x="58073" y="18860"/>
                      <a:pt x="53501" y="23241"/>
                      <a:pt x="45595" y="18860"/>
                    </a:cubicBezTo>
                    <a:cubicBezTo>
                      <a:pt x="37975" y="14669"/>
                      <a:pt x="34927" y="17240"/>
                      <a:pt x="34927" y="17240"/>
                    </a:cubicBezTo>
                    <a:cubicBezTo>
                      <a:pt x="34927" y="17240"/>
                      <a:pt x="20830" y="13716"/>
                      <a:pt x="5305" y="0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969DA53B-09DA-4749-9A66-0B11CD33DA62}"/>
                  </a:ext>
                </a:extLst>
              </p:cNvPr>
              <p:cNvSpPr/>
              <p:nvPr/>
            </p:nvSpPr>
            <p:spPr>
              <a:xfrm>
                <a:off x="4236227" y="3978707"/>
                <a:ext cx="290177" cy="182745"/>
              </a:xfrm>
              <a:custGeom>
                <a:avLst/>
                <a:gdLst>
                  <a:gd name="connsiteX0" fmla="*/ 276307 w 290178"/>
                  <a:gd name="connsiteY0" fmla="*/ 1314 h 182744"/>
                  <a:gd name="connsiteX1" fmla="*/ 159054 w 290178"/>
                  <a:gd name="connsiteY1" fmla="*/ 118662 h 182744"/>
                  <a:gd name="connsiteX2" fmla="*/ 92189 w 290178"/>
                  <a:gd name="connsiteY2" fmla="*/ 102850 h 182744"/>
                  <a:gd name="connsiteX3" fmla="*/ 59137 w 290178"/>
                  <a:gd name="connsiteY3" fmla="*/ 80371 h 182744"/>
                  <a:gd name="connsiteX4" fmla="*/ 61423 w 290178"/>
                  <a:gd name="connsiteY4" fmla="*/ 118662 h 182744"/>
                  <a:gd name="connsiteX5" fmla="*/ 109524 w 290178"/>
                  <a:gd name="connsiteY5" fmla="*/ 139712 h 182744"/>
                  <a:gd name="connsiteX6" fmla="*/ 105048 w 290178"/>
                  <a:gd name="connsiteY6" fmla="*/ 144951 h 182744"/>
                  <a:gd name="connsiteX7" fmla="*/ 2845 w 290178"/>
                  <a:gd name="connsiteY7" fmla="*/ 130759 h 182744"/>
                  <a:gd name="connsiteX8" fmla="*/ 11893 w 290178"/>
                  <a:gd name="connsiteY8" fmla="*/ 156286 h 182744"/>
                  <a:gd name="connsiteX9" fmla="*/ 35229 w 290178"/>
                  <a:gd name="connsiteY9" fmla="*/ 178003 h 182744"/>
                  <a:gd name="connsiteX10" fmla="*/ 162293 w 290178"/>
                  <a:gd name="connsiteY10" fmla="*/ 141998 h 182744"/>
                  <a:gd name="connsiteX11" fmla="*/ 270497 w 290178"/>
                  <a:gd name="connsiteY11" fmla="*/ 177336 h 182744"/>
                  <a:gd name="connsiteX12" fmla="*/ 290023 w 290178"/>
                  <a:gd name="connsiteY12" fmla="*/ 169049 h 182744"/>
                  <a:gd name="connsiteX13" fmla="*/ 273545 w 290178"/>
                  <a:gd name="connsiteY13" fmla="*/ 121710 h 182744"/>
                  <a:gd name="connsiteX14" fmla="*/ 260781 w 290178"/>
                  <a:gd name="connsiteY14" fmla="*/ 144284 h 182744"/>
                  <a:gd name="connsiteX15" fmla="*/ 190868 w 290178"/>
                  <a:gd name="connsiteY15" fmla="*/ 130759 h 182744"/>
                  <a:gd name="connsiteX16" fmla="*/ 274307 w 290178"/>
                  <a:gd name="connsiteY16" fmla="*/ 72085 h 182744"/>
                  <a:gd name="connsiteX17" fmla="*/ 282594 w 290178"/>
                  <a:gd name="connsiteY17" fmla="*/ 46462 h 182744"/>
                  <a:gd name="connsiteX18" fmla="*/ 276307 w 290178"/>
                  <a:gd name="connsiteY18" fmla="*/ 1314 h 182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90178" h="182744">
                    <a:moveTo>
                      <a:pt x="276307" y="1314"/>
                    </a:moveTo>
                    <a:cubicBezTo>
                      <a:pt x="276307" y="1314"/>
                      <a:pt x="273354" y="55606"/>
                      <a:pt x="159054" y="118662"/>
                    </a:cubicBezTo>
                    <a:lnTo>
                      <a:pt x="92189" y="102850"/>
                    </a:lnTo>
                    <a:cubicBezTo>
                      <a:pt x="92189" y="102850"/>
                      <a:pt x="65900" y="81038"/>
                      <a:pt x="59137" y="80371"/>
                    </a:cubicBezTo>
                    <a:cubicBezTo>
                      <a:pt x="59137" y="80371"/>
                      <a:pt x="46374" y="98374"/>
                      <a:pt x="61423" y="118662"/>
                    </a:cubicBezTo>
                    <a:cubicBezTo>
                      <a:pt x="61423" y="118662"/>
                      <a:pt x="103428" y="132283"/>
                      <a:pt x="109524" y="139712"/>
                    </a:cubicBezTo>
                    <a:cubicBezTo>
                      <a:pt x="109524" y="139712"/>
                      <a:pt x="114763" y="146380"/>
                      <a:pt x="105048" y="144951"/>
                    </a:cubicBezTo>
                    <a:cubicBezTo>
                      <a:pt x="105048" y="144951"/>
                      <a:pt x="53803" y="184003"/>
                      <a:pt x="2845" y="130759"/>
                    </a:cubicBezTo>
                    <a:cubicBezTo>
                      <a:pt x="2845" y="130759"/>
                      <a:pt x="-7728" y="132283"/>
                      <a:pt x="11893" y="156286"/>
                    </a:cubicBezTo>
                    <a:lnTo>
                      <a:pt x="35229" y="178003"/>
                    </a:lnTo>
                    <a:cubicBezTo>
                      <a:pt x="35229" y="178003"/>
                      <a:pt x="65233" y="202006"/>
                      <a:pt x="162293" y="141998"/>
                    </a:cubicBezTo>
                    <a:lnTo>
                      <a:pt x="270497" y="177336"/>
                    </a:lnTo>
                    <a:cubicBezTo>
                      <a:pt x="270497" y="177336"/>
                      <a:pt x="292214" y="185718"/>
                      <a:pt x="290023" y="169049"/>
                    </a:cubicBezTo>
                    <a:cubicBezTo>
                      <a:pt x="290023" y="169049"/>
                      <a:pt x="273545" y="153238"/>
                      <a:pt x="273545" y="121710"/>
                    </a:cubicBezTo>
                    <a:cubicBezTo>
                      <a:pt x="273545" y="121710"/>
                      <a:pt x="267449" y="109708"/>
                      <a:pt x="260781" y="144284"/>
                    </a:cubicBezTo>
                    <a:cubicBezTo>
                      <a:pt x="260781" y="144284"/>
                      <a:pt x="256210" y="160096"/>
                      <a:pt x="190868" y="130759"/>
                    </a:cubicBezTo>
                    <a:cubicBezTo>
                      <a:pt x="190868" y="130759"/>
                      <a:pt x="236683" y="83324"/>
                      <a:pt x="274307" y="72085"/>
                    </a:cubicBezTo>
                    <a:cubicBezTo>
                      <a:pt x="274307" y="72085"/>
                      <a:pt x="284880" y="69799"/>
                      <a:pt x="282594" y="46462"/>
                    </a:cubicBezTo>
                    <a:cubicBezTo>
                      <a:pt x="282213" y="46462"/>
                      <a:pt x="292786" y="-9164"/>
                      <a:pt x="276307" y="1314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1351148D-F09E-44A4-938F-C5F4F4497E26}"/>
                  </a:ext>
                </a:extLst>
              </p:cNvPr>
              <p:cNvSpPr/>
              <p:nvPr/>
            </p:nvSpPr>
            <p:spPr>
              <a:xfrm>
                <a:off x="4388475" y="4173029"/>
                <a:ext cx="83256" cy="98558"/>
              </a:xfrm>
              <a:custGeom>
                <a:avLst/>
                <a:gdLst>
                  <a:gd name="connsiteX0" fmla="*/ 15091 w 83255"/>
                  <a:gd name="connsiteY0" fmla="*/ 729 h 98558"/>
                  <a:gd name="connsiteX1" fmla="*/ 41 w 83255"/>
                  <a:gd name="connsiteY1" fmla="*/ 68356 h 98558"/>
                  <a:gd name="connsiteX2" fmla="*/ 23568 w 83255"/>
                  <a:gd name="connsiteY2" fmla="*/ 98360 h 98558"/>
                  <a:gd name="connsiteX3" fmla="*/ 82623 w 83255"/>
                  <a:gd name="connsiteY3" fmla="*/ 97407 h 98558"/>
                  <a:gd name="connsiteX4" fmla="*/ 78718 w 83255"/>
                  <a:gd name="connsiteY4" fmla="*/ 88454 h 98558"/>
                  <a:gd name="connsiteX5" fmla="*/ 27569 w 83255"/>
                  <a:gd name="connsiteY5" fmla="*/ 13778 h 98558"/>
                  <a:gd name="connsiteX6" fmla="*/ 15091 w 83255"/>
                  <a:gd name="connsiteY6" fmla="*/ 729 h 98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3255" h="98558">
                    <a:moveTo>
                      <a:pt x="15091" y="729"/>
                    </a:moveTo>
                    <a:cubicBezTo>
                      <a:pt x="15091" y="729"/>
                      <a:pt x="20139" y="20826"/>
                      <a:pt x="41" y="68356"/>
                    </a:cubicBezTo>
                    <a:cubicBezTo>
                      <a:pt x="41" y="68356"/>
                      <a:pt x="-2054" y="101408"/>
                      <a:pt x="23568" y="98360"/>
                    </a:cubicBezTo>
                    <a:lnTo>
                      <a:pt x="82623" y="97407"/>
                    </a:lnTo>
                    <a:cubicBezTo>
                      <a:pt x="82623" y="97407"/>
                      <a:pt x="85576" y="91502"/>
                      <a:pt x="78718" y="88454"/>
                    </a:cubicBezTo>
                    <a:cubicBezTo>
                      <a:pt x="78718" y="88454"/>
                      <a:pt x="28521" y="80834"/>
                      <a:pt x="27569" y="13778"/>
                    </a:cubicBezTo>
                    <a:cubicBezTo>
                      <a:pt x="27569" y="13873"/>
                      <a:pt x="29569" y="-3748"/>
                      <a:pt x="15091" y="729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59F4DA35-3908-4354-8D50-240E1FB24BBF}"/>
                  </a:ext>
                </a:extLst>
              </p:cNvPr>
              <p:cNvSpPr/>
              <p:nvPr/>
            </p:nvSpPr>
            <p:spPr>
              <a:xfrm>
                <a:off x="4768183" y="4444362"/>
                <a:ext cx="42071" cy="30927"/>
              </a:xfrm>
              <a:custGeom>
                <a:avLst/>
                <a:gdLst>
                  <a:gd name="connsiteX0" fmla="*/ 32576 w 42071"/>
                  <a:gd name="connsiteY0" fmla="*/ 0 h 30927"/>
                  <a:gd name="connsiteX1" fmla="*/ 0 w 42071"/>
                  <a:gd name="connsiteY1" fmla="*/ 25622 h 30927"/>
                  <a:gd name="connsiteX2" fmla="*/ 27718 w 42071"/>
                  <a:gd name="connsiteY2" fmla="*/ 29623 h 30927"/>
                  <a:gd name="connsiteX3" fmla="*/ 30289 w 42071"/>
                  <a:gd name="connsiteY3" fmla="*/ 24194 h 30927"/>
                  <a:gd name="connsiteX4" fmla="*/ 32576 w 42071"/>
                  <a:gd name="connsiteY4" fmla="*/ 0 h 30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071" h="30927">
                    <a:moveTo>
                      <a:pt x="32576" y="0"/>
                    </a:moveTo>
                    <a:cubicBezTo>
                      <a:pt x="32576" y="0"/>
                      <a:pt x="476" y="18479"/>
                      <a:pt x="0" y="25622"/>
                    </a:cubicBezTo>
                    <a:cubicBezTo>
                      <a:pt x="0" y="25622"/>
                      <a:pt x="19241" y="34100"/>
                      <a:pt x="27718" y="29623"/>
                    </a:cubicBezTo>
                    <a:lnTo>
                      <a:pt x="30289" y="24194"/>
                    </a:lnTo>
                    <a:cubicBezTo>
                      <a:pt x="30194" y="24098"/>
                      <a:pt x="55245" y="1048"/>
                      <a:pt x="32576" y="0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12FE1C50-36C1-48A0-964E-13B6189740EA}"/>
                  </a:ext>
                </a:extLst>
              </p:cNvPr>
              <p:cNvSpPr/>
              <p:nvPr/>
            </p:nvSpPr>
            <p:spPr>
              <a:xfrm>
                <a:off x="4631813" y="4444071"/>
                <a:ext cx="340393" cy="221158"/>
              </a:xfrm>
              <a:custGeom>
                <a:avLst/>
                <a:gdLst>
                  <a:gd name="connsiteX0" fmla="*/ 226094 w 340394"/>
                  <a:gd name="connsiteY0" fmla="*/ 294 h 221160"/>
                  <a:gd name="connsiteX1" fmla="*/ 214664 w 340394"/>
                  <a:gd name="connsiteY1" fmla="*/ 4771 h 221160"/>
                  <a:gd name="connsiteX2" fmla="*/ 187137 w 340394"/>
                  <a:gd name="connsiteY2" fmla="*/ 30488 h 221160"/>
                  <a:gd name="connsiteX3" fmla="*/ 173992 w 340394"/>
                  <a:gd name="connsiteY3" fmla="*/ 36965 h 221160"/>
                  <a:gd name="connsiteX4" fmla="*/ 173516 w 340394"/>
                  <a:gd name="connsiteY4" fmla="*/ 51062 h 221160"/>
                  <a:gd name="connsiteX5" fmla="*/ 168849 w 340394"/>
                  <a:gd name="connsiteY5" fmla="*/ 58016 h 221160"/>
                  <a:gd name="connsiteX6" fmla="*/ 143893 w 340394"/>
                  <a:gd name="connsiteY6" fmla="*/ 62492 h 221160"/>
                  <a:gd name="connsiteX7" fmla="*/ 163515 w 340394"/>
                  <a:gd name="connsiteY7" fmla="*/ 72113 h 221160"/>
                  <a:gd name="connsiteX8" fmla="*/ 168373 w 340394"/>
                  <a:gd name="connsiteY8" fmla="*/ 92591 h 221160"/>
                  <a:gd name="connsiteX9" fmla="*/ 148942 w 340394"/>
                  <a:gd name="connsiteY9" fmla="*/ 103736 h 221160"/>
                  <a:gd name="connsiteX10" fmla="*/ 61312 w 340394"/>
                  <a:gd name="connsiteY10" fmla="*/ 48014 h 221160"/>
                  <a:gd name="connsiteX11" fmla="*/ 49215 w 340394"/>
                  <a:gd name="connsiteY11" fmla="*/ 41442 h 221160"/>
                  <a:gd name="connsiteX12" fmla="*/ 99793 w 340394"/>
                  <a:gd name="connsiteY12" fmla="*/ 41442 h 221160"/>
                  <a:gd name="connsiteX13" fmla="*/ 75790 w 340394"/>
                  <a:gd name="connsiteY13" fmla="*/ 28869 h 221160"/>
                  <a:gd name="connsiteX14" fmla="*/ 52168 w 340394"/>
                  <a:gd name="connsiteY14" fmla="*/ 29345 h 221160"/>
                  <a:gd name="connsiteX15" fmla="*/ 29117 w 340394"/>
                  <a:gd name="connsiteY15" fmla="*/ 25440 h 221160"/>
                  <a:gd name="connsiteX16" fmla="*/ 15973 w 340394"/>
                  <a:gd name="connsiteY16" fmla="*/ 31060 h 221160"/>
                  <a:gd name="connsiteX17" fmla="*/ 7495 w 340394"/>
                  <a:gd name="connsiteY17" fmla="*/ 36965 h 221160"/>
                  <a:gd name="connsiteX18" fmla="*/ 1495 w 340394"/>
                  <a:gd name="connsiteY18" fmla="*/ 38489 h 221160"/>
                  <a:gd name="connsiteX19" fmla="*/ 26069 w 340394"/>
                  <a:gd name="connsiteY19" fmla="*/ 52967 h 221160"/>
                  <a:gd name="connsiteX20" fmla="*/ 53120 w 340394"/>
                  <a:gd name="connsiteY20" fmla="*/ 59063 h 221160"/>
                  <a:gd name="connsiteX21" fmla="*/ 108270 w 340394"/>
                  <a:gd name="connsiteY21" fmla="*/ 88496 h 221160"/>
                  <a:gd name="connsiteX22" fmla="*/ 146275 w 340394"/>
                  <a:gd name="connsiteY22" fmla="*/ 120119 h 221160"/>
                  <a:gd name="connsiteX23" fmla="*/ 146751 w 340394"/>
                  <a:gd name="connsiteY23" fmla="*/ 132120 h 221160"/>
                  <a:gd name="connsiteX24" fmla="*/ 167706 w 340394"/>
                  <a:gd name="connsiteY24" fmla="*/ 146217 h 221160"/>
                  <a:gd name="connsiteX25" fmla="*/ 198376 w 340394"/>
                  <a:gd name="connsiteY25" fmla="*/ 187365 h 221160"/>
                  <a:gd name="connsiteX26" fmla="*/ 155704 w 340394"/>
                  <a:gd name="connsiteY26" fmla="*/ 157742 h 221160"/>
                  <a:gd name="connsiteX27" fmla="*/ 148084 w 340394"/>
                  <a:gd name="connsiteY27" fmla="*/ 152218 h 221160"/>
                  <a:gd name="connsiteX28" fmla="*/ 134654 w 340394"/>
                  <a:gd name="connsiteY28" fmla="*/ 136216 h 221160"/>
                  <a:gd name="connsiteX29" fmla="*/ 126558 w 340394"/>
                  <a:gd name="connsiteY29" fmla="*/ 136692 h 221160"/>
                  <a:gd name="connsiteX30" fmla="*/ 207235 w 340394"/>
                  <a:gd name="connsiteY30" fmla="*/ 218893 h 221160"/>
                  <a:gd name="connsiteX31" fmla="*/ 228190 w 340394"/>
                  <a:gd name="connsiteY31" fmla="*/ 206891 h 221160"/>
                  <a:gd name="connsiteX32" fmla="*/ 196186 w 340394"/>
                  <a:gd name="connsiteY32" fmla="*/ 154694 h 221160"/>
                  <a:gd name="connsiteX33" fmla="*/ 230095 w 340394"/>
                  <a:gd name="connsiteY33" fmla="*/ 150122 h 221160"/>
                  <a:gd name="connsiteX34" fmla="*/ 314772 w 340394"/>
                  <a:gd name="connsiteY34" fmla="*/ 163172 h 221160"/>
                  <a:gd name="connsiteX35" fmla="*/ 330393 w 340394"/>
                  <a:gd name="connsiteY35" fmla="*/ 142598 h 221160"/>
                  <a:gd name="connsiteX36" fmla="*/ 317249 w 340394"/>
                  <a:gd name="connsiteY36" fmla="*/ 121643 h 221160"/>
                  <a:gd name="connsiteX37" fmla="*/ 268766 w 340394"/>
                  <a:gd name="connsiteY37" fmla="*/ 78399 h 221160"/>
                  <a:gd name="connsiteX38" fmla="*/ 268195 w 340394"/>
                  <a:gd name="connsiteY38" fmla="*/ 71446 h 221160"/>
                  <a:gd name="connsiteX39" fmla="*/ 285721 w 340394"/>
                  <a:gd name="connsiteY39" fmla="*/ 78018 h 221160"/>
                  <a:gd name="connsiteX40" fmla="*/ 310391 w 340394"/>
                  <a:gd name="connsiteY40" fmla="*/ 79447 h 221160"/>
                  <a:gd name="connsiteX41" fmla="*/ 332393 w 340394"/>
                  <a:gd name="connsiteY41" fmla="*/ 75923 h 221160"/>
                  <a:gd name="connsiteX42" fmla="*/ 340394 w 340394"/>
                  <a:gd name="connsiteY42" fmla="*/ 67350 h 221160"/>
                  <a:gd name="connsiteX43" fmla="*/ 335441 w 340394"/>
                  <a:gd name="connsiteY43" fmla="*/ 54872 h 221160"/>
                  <a:gd name="connsiteX44" fmla="*/ 327917 w 340394"/>
                  <a:gd name="connsiteY44" fmla="*/ 55825 h 221160"/>
                  <a:gd name="connsiteX45" fmla="*/ 312867 w 340394"/>
                  <a:gd name="connsiteY45" fmla="*/ 62397 h 221160"/>
                  <a:gd name="connsiteX46" fmla="*/ 281720 w 340394"/>
                  <a:gd name="connsiteY46" fmla="*/ 58873 h 221160"/>
                  <a:gd name="connsiteX47" fmla="*/ 264766 w 340394"/>
                  <a:gd name="connsiteY47" fmla="*/ 55349 h 221160"/>
                  <a:gd name="connsiteX48" fmla="*/ 233047 w 340394"/>
                  <a:gd name="connsiteY48" fmla="*/ 44871 h 221160"/>
                  <a:gd name="connsiteX49" fmla="*/ 229142 w 340394"/>
                  <a:gd name="connsiteY49" fmla="*/ 52777 h 221160"/>
                  <a:gd name="connsiteX50" fmla="*/ 217045 w 340394"/>
                  <a:gd name="connsiteY50" fmla="*/ 63921 h 221160"/>
                  <a:gd name="connsiteX51" fmla="*/ 211140 w 340394"/>
                  <a:gd name="connsiteY51" fmla="*/ 66874 h 221160"/>
                  <a:gd name="connsiteX52" fmla="*/ 200567 w 340394"/>
                  <a:gd name="connsiteY52" fmla="*/ 62969 h 221160"/>
                  <a:gd name="connsiteX53" fmla="*/ 198567 w 340394"/>
                  <a:gd name="connsiteY53" fmla="*/ 55920 h 221160"/>
                  <a:gd name="connsiteX54" fmla="*/ 194947 w 340394"/>
                  <a:gd name="connsiteY54" fmla="*/ 52872 h 221160"/>
                  <a:gd name="connsiteX55" fmla="*/ 214950 w 340394"/>
                  <a:gd name="connsiteY55" fmla="*/ 37918 h 221160"/>
                  <a:gd name="connsiteX56" fmla="*/ 226570 w 340394"/>
                  <a:gd name="connsiteY56" fmla="*/ 27536 h 221160"/>
                  <a:gd name="connsiteX57" fmla="*/ 231047 w 340394"/>
                  <a:gd name="connsiteY57" fmla="*/ 10867 h 221160"/>
                  <a:gd name="connsiteX58" fmla="*/ 226094 w 340394"/>
                  <a:gd name="connsiteY58" fmla="*/ 294 h 221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340394" h="221160">
                    <a:moveTo>
                      <a:pt x="226094" y="294"/>
                    </a:moveTo>
                    <a:cubicBezTo>
                      <a:pt x="226094" y="294"/>
                      <a:pt x="223142" y="6866"/>
                      <a:pt x="214664" y="4771"/>
                    </a:cubicBezTo>
                    <a:cubicBezTo>
                      <a:pt x="214664" y="4771"/>
                      <a:pt x="199615" y="30965"/>
                      <a:pt x="187137" y="30488"/>
                    </a:cubicBezTo>
                    <a:cubicBezTo>
                      <a:pt x="187137" y="30488"/>
                      <a:pt x="179136" y="42014"/>
                      <a:pt x="173992" y="36965"/>
                    </a:cubicBezTo>
                    <a:cubicBezTo>
                      <a:pt x="173992" y="36965"/>
                      <a:pt x="167992" y="45538"/>
                      <a:pt x="173516" y="51062"/>
                    </a:cubicBezTo>
                    <a:cubicBezTo>
                      <a:pt x="173516" y="51062"/>
                      <a:pt x="184946" y="62016"/>
                      <a:pt x="168849" y="58016"/>
                    </a:cubicBezTo>
                    <a:cubicBezTo>
                      <a:pt x="168849" y="58016"/>
                      <a:pt x="150370" y="58968"/>
                      <a:pt x="143893" y="62492"/>
                    </a:cubicBezTo>
                    <a:cubicBezTo>
                      <a:pt x="143893" y="62492"/>
                      <a:pt x="146942" y="72494"/>
                      <a:pt x="163515" y="72113"/>
                    </a:cubicBezTo>
                    <a:cubicBezTo>
                      <a:pt x="163515" y="72113"/>
                      <a:pt x="181993" y="80590"/>
                      <a:pt x="168373" y="92591"/>
                    </a:cubicBezTo>
                    <a:cubicBezTo>
                      <a:pt x="168373" y="92591"/>
                      <a:pt x="161896" y="116118"/>
                      <a:pt x="148942" y="103736"/>
                    </a:cubicBezTo>
                    <a:cubicBezTo>
                      <a:pt x="148942" y="103736"/>
                      <a:pt x="126939" y="70017"/>
                      <a:pt x="61312" y="48014"/>
                    </a:cubicBezTo>
                    <a:cubicBezTo>
                      <a:pt x="61312" y="48014"/>
                      <a:pt x="47786" y="51539"/>
                      <a:pt x="49215" y="41442"/>
                    </a:cubicBezTo>
                    <a:lnTo>
                      <a:pt x="99793" y="41442"/>
                    </a:lnTo>
                    <a:cubicBezTo>
                      <a:pt x="99793" y="41442"/>
                      <a:pt x="125796" y="31917"/>
                      <a:pt x="75790" y="28869"/>
                    </a:cubicBezTo>
                    <a:lnTo>
                      <a:pt x="52168" y="29345"/>
                    </a:lnTo>
                    <a:cubicBezTo>
                      <a:pt x="52168" y="29345"/>
                      <a:pt x="39023" y="20392"/>
                      <a:pt x="29117" y="25440"/>
                    </a:cubicBezTo>
                    <a:cubicBezTo>
                      <a:pt x="29117" y="25440"/>
                      <a:pt x="20640" y="31917"/>
                      <a:pt x="15973" y="31060"/>
                    </a:cubicBezTo>
                    <a:cubicBezTo>
                      <a:pt x="11591" y="29917"/>
                      <a:pt x="10448" y="37442"/>
                      <a:pt x="7495" y="36965"/>
                    </a:cubicBezTo>
                    <a:cubicBezTo>
                      <a:pt x="4543" y="36489"/>
                      <a:pt x="3590" y="39442"/>
                      <a:pt x="1495" y="38489"/>
                    </a:cubicBezTo>
                    <a:cubicBezTo>
                      <a:pt x="-410" y="37442"/>
                      <a:pt x="-5459" y="54587"/>
                      <a:pt x="26069" y="52967"/>
                    </a:cubicBezTo>
                    <a:cubicBezTo>
                      <a:pt x="26069" y="52967"/>
                      <a:pt x="43595" y="62016"/>
                      <a:pt x="53120" y="59063"/>
                    </a:cubicBezTo>
                    <a:cubicBezTo>
                      <a:pt x="62550" y="56015"/>
                      <a:pt x="102269" y="82114"/>
                      <a:pt x="108270" y="88496"/>
                    </a:cubicBezTo>
                    <a:cubicBezTo>
                      <a:pt x="108270" y="88496"/>
                      <a:pt x="140750" y="102116"/>
                      <a:pt x="146275" y="120119"/>
                    </a:cubicBezTo>
                    <a:lnTo>
                      <a:pt x="146751" y="132120"/>
                    </a:lnTo>
                    <a:cubicBezTo>
                      <a:pt x="146751" y="132120"/>
                      <a:pt x="161324" y="147265"/>
                      <a:pt x="167706" y="146217"/>
                    </a:cubicBezTo>
                    <a:cubicBezTo>
                      <a:pt x="167706" y="146217"/>
                      <a:pt x="202758" y="176316"/>
                      <a:pt x="198376" y="187365"/>
                    </a:cubicBezTo>
                    <a:cubicBezTo>
                      <a:pt x="198376" y="187365"/>
                      <a:pt x="200853" y="203843"/>
                      <a:pt x="155704" y="157742"/>
                    </a:cubicBezTo>
                    <a:lnTo>
                      <a:pt x="148084" y="152218"/>
                    </a:lnTo>
                    <a:cubicBezTo>
                      <a:pt x="148084" y="152218"/>
                      <a:pt x="143132" y="136692"/>
                      <a:pt x="134654" y="136216"/>
                    </a:cubicBezTo>
                    <a:cubicBezTo>
                      <a:pt x="134654" y="136216"/>
                      <a:pt x="126558" y="134692"/>
                      <a:pt x="126558" y="136692"/>
                    </a:cubicBezTo>
                    <a:cubicBezTo>
                      <a:pt x="126558" y="138692"/>
                      <a:pt x="147608" y="191747"/>
                      <a:pt x="207235" y="218893"/>
                    </a:cubicBezTo>
                    <a:cubicBezTo>
                      <a:pt x="207235" y="218893"/>
                      <a:pt x="235238" y="228894"/>
                      <a:pt x="228190" y="206891"/>
                    </a:cubicBezTo>
                    <a:cubicBezTo>
                      <a:pt x="228190" y="206891"/>
                      <a:pt x="227142" y="187746"/>
                      <a:pt x="196186" y="154694"/>
                    </a:cubicBezTo>
                    <a:cubicBezTo>
                      <a:pt x="196186" y="154694"/>
                      <a:pt x="199138" y="132120"/>
                      <a:pt x="230095" y="150122"/>
                    </a:cubicBezTo>
                    <a:cubicBezTo>
                      <a:pt x="230095" y="150122"/>
                      <a:pt x="296770" y="157647"/>
                      <a:pt x="314772" y="163172"/>
                    </a:cubicBezTo>
                    <a:cubicBezTo>
                      <a:pt x="314772" y="163172"/>
                      <a:pt x="354967" y="168696"/>
                      <a:pt x="330393" y="142598"/>
                    </a:cubicBezTo>
                    <a:cubicBezTo>
                      <a:pt x="330393" y="142598"/>
                      <a:pt x="317249" y="129548"/>
                      <a:pt x="317249" y="121643"/>
                    </a:cubicBezTo>
                    <a:cubicBezTo>
                      <a:pt x="317249" y="121643"/>
                      <a:pt x="283816" y="84019"/>
                      <a:pt x="268766" y="78399"/>
                    </a:cubicBezTo>
                    <a:cubicBezTo>
                      <a:pt x="268766" y="78399"/>
                      <a:pt x="252669" y="71446"/>
                      <a:pt x="268195" y="71446"/>
                    </a:cubicBezTo>
                    <a:cubicBezTo>
                      <a:pt x="268195" y="71446"/>
                      <a:pt x="280863" y="70779"/>
                      <a:pt x="285721" y="78018"/>
                    </a:cubicBezTo>
                    <a:lnTo>
                      <a:pt x="310391" y="79447"/>
                    </a:lnTo>
                    <a:cubicBezTo>
                      <a:pt x="310391" y="79447"/>
                      <a:pt x="329917" y="84876"/>
                      <a:pt x="332393" y="75923"/>
                    </a:cubicBezTo>
                    <a:lnTo>
                      <a:pt x="340394" y="67350"/>
                    </a:lnTo>
                    <a:cubicBezTo>
                      <a:pt x="340394" y="67350"/>
                      <a:pt x="334870" y="58873"/>
                      <a:pt x="335441" y="54872"/>
                    </a:cubicBezTo>
                    <a:cubicBezTo>
                      <a:pt x="335917" y="50872"/>
                      <a:pt x="327917" y="55825"/>
                      <a:pt x="327917" y="55825"/>
                    </a:cubicBezTo>
                    <a:cubicBezTo>
                      <a:pt x="327917" y="55825"/>
                      <a:pt x="315439" y="58301"/>
                      <a:pt x="312867" y="62397"/>
                    </a:cubicBezTo>
                    <a:cubicBezTo>
                      <a:pt x="310391" y="66398"/>
                      <a:pt x="281720" y="65540"/>
                      <a:pt x="281720" y="58873"/>
                    </a:cubicBezTo>
                    <a:cubicBezTo>
                      <a:pt x="281720" y="58873"/>
                      <a:pt x="267718" y="54872"/>
                      <a:pt x="264766" y="55349"/>
                    </a:cubicBezTo>
                    <a:cubicBezTo>
                      <a:pt x="261718" y="55825"/>
                      <a:pt x="245239" y="34775"/>
                      <a:pt x="233047" y="44871"/>
                    </a:cubicBezTo>
                    <a:cubicBezTo>
                      <a:pt x="233047" y="44871"/>
                      <a:pt x="229142" y="48300"/>
                      <a:pt x="229142" y="52777"/>
                    </a:cubicBezTo>
                    <a:cubicBezTo>
                      <a:pt x="229142" y="57349"/>
                      <a:pt x="219141" y="64397"/>
                      <a:pt x="217045" y="63921"/>
                    </a:cubicBezTo>
                    <a:cubicBezTo>
                      <a:pt x="214950" y="63445"/>
                      <a:pt x="216093" y="70779"/>
                      <a:pt x="211140" y="66874"/>
                    </a:cubicBezTo>
                    <a:cubicBezTo>
                      <a:pt x="206092" y="62969"/>
                      <a:pt x="200567" y="62969"/>
                      <a:pt x="200567" y="62969"/>
                    </a:cubicBezTo>
                    <a:lnTo>
                      <a:pt x="198567" y="55920"/>
                    </a:lnTo>
                    <a:lnTo>
                      <a:pt x="194947" y="52872"/>
                    </a:lnTo>
                    <a:cubicBezTo>
                      <a:pt x="194947" y="52872"/>
                      <a:pt x="201615" y="34394"/>
                      <a:pt x="214950" y="37918"/>
                    </a:cubicBezTo>
                    <a:lnTo>
                      <a:pt x="226570" y="27536"/>
                    </a:lnTo>
                    <a:cubicBezTo>
                      <a:pt x="226570" y="27536"/>
                      <a:pt x="226570" y="13915"/>
                      <a:pt x="231047" y="10867"/>
                    </a:cubicBezTo>
                    <a:cubicBezTo>
                      <a:pt x="231619" y="10772"/>
                      <a:pt x="235619" y="-2087"/>
                      <a:pt x="226094" y="294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F76593AC-E9B0-42F7-A840-5AE37554E850}"/>
                  </a:ext>
                </a:extLst>
              </p:cNvPr>
              <p:cNvSpPr/>
              <p:nvPr/>
            </p:nvSpPr>
            <p:spPr>
              <a:xfrm>
                <a:off x="4572266" y="4539042"/>
                <a:ext cx="182528" cy="123883"/>
              </a:xfrm>
              <a:custGeom>
                <a:avLst/>
                <a:gdLst>
                  <a:gd name="connsiteX0" fmla="*/ 135433 w 182527"/>
                  <a:gd name="connsiteY0" fmla="*/ 3524 h 123883"/>
                  <a:gd name="connsiteX1" fmla="*/ 148864 w 182527"/>
                  <a:gd name="connsiteY1" fmla="*/ 20669 h 123883"/>
                  <a:gd name="connsiteX2" fmla="*/ 182487 w 182527"/>
                  <a:gd name="connsiteY2" fmla="*/ 51149 h 123883"/>
                  <a:gd name="connsiteX3" fmla="*/ 169819 w 182527"/>
                  <a:gd name="connsiteY3" fmla="*/ 67723 h 123883"/>
                  <a:gd name="connsiteX4" fmla="*/ 142291 w 182527"/>
                  <a:gd name="connsiteY4" fmla="*/ 67151 h 123883"/>
                  <a:gd name="connsiteX5" fmla="*/ 153912 w 182527"/>
                  <a:gd name="connsiteY5" fmla="*/ 84201 h 123883"/>
                  <a:gd name="connsiteX6" fmla="*/ 166389 w 182527"/>
                  <a:gd name="connsiteY6" fmla="*/ 119158 h 123883"/>
                  <a:gd name="connsiteX7" fmla="*/ 152197 w 182527"/>
                  <a:gd name="connsiteY7" fmla="*/ 121253 h 123883"/>
                  <a:gd name="connsiteX8" fmla="*/ 117241 w 182527"/>
                  <a:gd name="connsiteY8" fmla="*/ 72581 h 123883"/>
                  <a:gd name="connsiteX9" fmla="*/ 89237 w 182527"/>
                  <a:gd name="connsiteY9" fmla="*/ 86201 h 123883"/>
                  <a:gd name="connsiteX10" fmla="*/ 40564 w 182527"/>
                  <a:gd name="connsiteY10" fmla="*/ 114776 h 123883"/>
                  <a:gd name="connsiteX11" fmla="*/ 26563 w 182527"/>
                  <a:gd name="connsiteY11" fmla="*/ 121730 h 123883"/>
                  <a:gd name="connsiteX12" fmla="*/ 6846 w 182527"/>
                  <a:gd name="connsiteY12" fmla="*/ 112681 h 123883"/>
                  <a:gd name="connsiteX13" fmla="*/ 464 w 182527"/>
                  <a:gd name="connsiteY13" fmla="*/ 88202 h 123883"/>
                  <a:gd name="connsiteX14" fmla="*/ 2369 w 182527"/>
                  <a:gd name="connsiteY14" fmla="*/ 17526 h 123883"/>
                  <a:gd name="connsiteX15" fmla="*/ 14371 w 182527"/>
                  <a:gd name="connsiteY15" fmla="*/ 17526 h 123883"/>
                  <a:gd name="connsiteX16" fmla="*/ 35993 w 182527"/>
                  <a:gd name="connsiteY16" fmla="*/ 80200 h 123883"/>
                  <a:gd name="connsiteX17" fmla="*/ 59995 w 182527"/>
                  <a:gd name="connsiteY17" fmla="*/ 74200 h 123883"/>
                  <a:gd name="connsiteX18" fmla="*/ 72473 w 182527"/>
                  <a:gd name="connsiteY18" fmla="*/ 70580 h 123883"/>
                  <a:gd name="connsiteX19" fmla="*/ 84094 w 182527"/>
                  <a:gd name="connsiteY19" fmla="*/ 63532 h 123883"/>
                  <a:gd name="connsiteX20" fmla="*/ 101524 w 182527"/>
                  <a:gd name="connsiteY20" fmla="*/ 54102 h 123883"/>
                  <a:gd name="connsiteX21" fmla="*/ 87046 w 182527"/>
                  <a:gd name="connsiteY21" fmla="*/ 38576 h 123883"/>
                  <a:gd name="connsiteX22" fmla="*/ 69520 w 182527"/>
                  <a:gd name="connsiteY22" fmla="*/ 0 h 123883"/>
                  <a:gd name="connsiteX23" fmla="*/ 82189 w 182527"/>
                  <a:gd name="connsiteY23" fmla="*/ 476 h 123883"/>
                  <a:gd name="connsiteX24" fmla="*/ 105715 w 182527"/>
                  <a:gd name="connsiteY24" fmla="*/ 32956 h 123883"/>
                  <a:gd name="connsiteX25" fmla="*/ 115145 w 182527"/>
                  <a:gd name="connsiteY25" fmla="*/ 38957 h 123883"/>
                  <a:gd name="connsiteX26" fmla="*/ 131719 w 182527"/>
                  <a:gd name="connsiteY26" fmla="*/ 28956 h 123883"/>
                  <a:gd name="connsiteX27" fmla="*/ 123718 w 182527"/>
                  <a:gd name="connsiteY27" fmla="*/ 8573 h 123883"/>
                  <a:gd name="connsiteX28" fmla="*/ 135433 w 182527"/>
                  <a:gd name="connsiteY28" fmla="*/ 3524 h 123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82527" h="123883">
                    <a:moveTo>
                      <a:pt x="135433" y="3524"/>
                    </a:moveTo>
                    <a:cubicBezTo>
                      <a:pt x="135433" y="3524"/>
                      <a:pt x="144482" y="10954"/>
                      <a:pt x="148864" y="20669"/>
                    </a:cubicBezTo>
                    <a:cubicBezTo>
                      <a:pt x="153436" y="30099"/>
                      <a:pt x="172390" y="50673"/>
                      <a:pt x="182487" y="51149"/>
                    </a:cubicBezTo>
                    <a:cubicBezTo>
                      <a:pt x="182487" y="51149"/>
                      <a:pt x="183916" y="66675"/>
                      <a:pt x="169819" y="67723"/>
                    </a:cubicBezTo>
                    <a:cubicBezTo>
                      <a:pt x="169819" y="67723"/>
                      <a:pt x="152959" y="62198"/>
                      <a:pt x="142291" y="67151"/>
                    </a:cubicBezTo>
                    <a:cubicBezTo>
                      <a:pt x="142291" y="67151"/>
                      <a:pt x="138386" y="76676"/>
                      <a:pt x="153912" y="84201"/>
                    </a:cubicBezTo>
                    <a:cubicBezTo>
                      <a:pt x="153912" y="84201"/>
                      <a:pt x="180391" y="99346"/>
                      <a:pt x="166389" y="119158"/>
                    </a:cubicBezTo>
                    <a:cubicBezTo>
                      <a:pt x="166389" y="119158"/>
                      <a:pt x="160294" y="122777"/>
                      <a:pt x="152197" y="121253"/>
                    </a:cubicBezTo>
                    <a:lnTo>
                      <a:pt x="117241" y="72581"/>
                    </a:lnTo>
                    <a:cubicBezTo>
                      <a:pt x="117241" y="72581"/>
                      <a:pt x="117812" y="65246"/>
                      <a:pt x="89237" y="86201"/>
                    </a:cubicBezTo>
                    <a:cubicBezTo>
                      <a:pt x="89237" y="86201"/>
                      <a:pt x="54090" y="111823"/>
                      <a:pt x="40564" y="114776"/>
                    </a:cubicBezTo>
                    <a:cubicBezTo>
                      <a:pt x="40564" y="114776"/>
                      <a:pt x="28468" y="118681"/>
                      <a:pt x="26563" y="121730"/>
                    </a:cubicBezTo>
                    <a:cubicBezTo>
                      <a:pt x="24562" y="124682"/>
                      <a:pt x="7894" y="126778"/>
                      <a:pt x="6846" y="112681"/>
                    </a:cubicBezTo>
                    <a:cubicBezTo>
                      <a:pt x="6846" y="112681"/>
                      <a:pt x="-2108" y="99727"/>
                      <a:pt x="464" y="88202"/>
                    </a:cubicBezTo>
                    <a:lnTo>
                      <a:pt x="2369" y="17526"/>
                    </a:lnTo>
                    <a:cubicBezTo>
                      <a:pt x="2369" y="17526"/>
                      <a:pt x="11418" y="7429"/>
                      <a:pt x="14371" y="17526"/>
                    </a:cubicBezTo>
                    <a:cubicBezTo>
                      <a:pt x="17419" y="27527"/>
                      <a:pt x="12466" y="69056"/>
                      <a:pt x="35993" y="80200"/>
                    </a:cubicBezTo>
                    <a:cubicBezTo>
                      <a:pt x="35993" y="80200"/>
                      <a:pt x="59519" y="78105"/>
                      <a:pt x="59995" y="74200"/>
                    </a:cubicBezTo>
                    <a:cubicBezTo>
                      <a:pt x="60472" y="70199"/>
                      <a:pt x="69520" y="74200"/>
                      <a:pt x="72473" y="70580"/>
                    </a:cubicBezTo>
                    <a:cubicBezTo>
                      <a:pt x="75426" y="67056"/>
                      <a:pt x="76569" y="62579"/>
                      <a:pt x="84094" y="63532"/>
                    </a:cubicBezTo>
                    <a:cubicBezTo>
                      <a:pt x="91618" y="64579"/>
                      <a:pt x="99619" y="55626"/>
                      <a:pt x="101524" y="54102"/>
                    </a:cubicBezTo>
                    <a:cubicBezTo>
                      <a:pt x="103620" y="52578"/>
                      <a:pt x="102763" y="44958"/>
                      <a:pt x="87046" y="38576"/>
                    </a:cubicBezTo>
                    <a:cubicBezTo>
                      <a:pt x="87046" y="38576"/>
                      <a:pt x="44470" y="17526"/>
                      <a:pt x="69520" y="0"/>
                    </a:cubicBezTo>
                    <a:lnTo>
                      <a:pt x="82189" y="476"/>
                    </a:lnTo>
                    <a:cubicBezTo>
                      <a:pt x="82189" y="476"/>
                      <a:pt x="87142" y="28956"/>
                      <a:pt x="105715" y="32956"/>
                    </a:cubicBezTo>
                    <a:lnTo>
                      <a:pt x="115145" y="38957"/>
                    </a:lnTo>
                    <a:cubicBezTo>
                      <a:pt x="115145" y="38957"/>
                      <a:pt x="141720" y="47530"/>
                      <a:pt x="131719" y="28956"/>
                    </a:cubicBezTo>
                    <a:cubicBezTo>
                      <a:pt x="131719" y="28956"/>
                      <a:pt x="119717" y="15907"/>
                      <a:pt x="123718" y="8573"/>
                    </a:cubicBezTo>
                    <a:cubicBezTo>
                      <a:pt x="123908" y="8668"/>
                      <a:pt x="130385" y="-1048"/>
                      <a:pt x="135433" y="3524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8E011F89-C519-415E-BA2B-B3E46D757DEC}"/>
                  </a:ext>
                </a:extLst>
              </p:cNvPr>
              <p:cNvSpPr/>
              <p:nvPr/>
            </p:nvSpPr>
            <p:spPr>
              <a:xfrm>
                <a:off x="4844052" y="4525516"/>
                <a:ext cx="26342" cy="24528"/>
              </a:xfrm>
              <a:custGeom>
                <a:avLst/>
                <a:gdLst>
                  <a:gd name="connsiteX0" fmla="*/ 22999 w 26343"/>
                  <a:gd name="connsiteY0" fmla="*/ 0 h 24528"/>
                  <a:gd name="connsiteX1" fmla="*/ 4425 w 26343"/>
                  <a:gd name="connsiteY1" fmla="*/ 6001 h 24528"/>
                  <a:gd name="connsiteX2" fmla="*/ 7950 w 26343"/>
                  <a:gd name="connsiteY2" fmla="*/ 19526 h 24528"/>
                  <a:gd name="connsiteX3" fmla="*/ 22999 w 26343"/>
                  <a:gd name="connsiteY3" fmla="*/ 24384 h 24528"/>
                  <a:gd name="connsiteX4" fmla="*/ 22999 w 26343"/>
                  <a:gd name="connsiteY4" fmla="*/ 0 h 24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343" h="24528">
                    <a:moveTo>
                      <a:pt x="22999" y="0"/>
                    </a:moveTo>
                    <a:cubicBezTo>
                      <a:pt x="22999" y="0"/>
                      <a:pt x="20427" y="7620"/>
                      <a:pt x="4425" y="6001"/>
                    </a:cubicBezTo>
                    <a:cubicBezTo>
                      <a:pt x="4425" y="6001"/>
                      <a:pt x="-7576" y="12001"/>
                      <a:pt x="7950" y="19526"/>
                    </a:cubicBezTo>
                    <a:cubicBezTo>
                      <a:pt x="7950" y="19526"/>
                      <a:pt x="18332" y="25527"/>
                      <a:pt x="22999" y="24384"/>
                    </a:cubicBezTo>
                    <a:cubicBezTo>
                      <a:pt x="22999" y="24479"/>
                      <a:pt x="30524" y="11049"/>
                      <a:pt x="2299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0F20E8C9-D60A-455E-BFD0-0542F2F42BCB}"/>
                  </a:ext>
                </a:extLst>
              </p:cNvPr>
              <p:cNvSpPr/>
              <p:nvPr/>
            </p:nvSpPr>
            <p:spPr>
              <a:xfrm>
                <a:off x="4802089" y="4548567"/>
                <a:ext cx="139593" cy="38948"/>
              </a:xfrm>
              <a:custGeom>
                <a:avLst/>
                <a:gdLst>
                  <a:gd name="connsiteX0" fmla="*/ 15815 w 139592"/>
                  <a:gd name="connsiteY0" fmla="*/ 0 h 38947"/>
                  <a:gd name="connsiteX1" fmla="*/ 53438 w 139592"/>
                  <a:gd name="connsiteY1" fmla="*/ 22669 h 38947"/>
                  <a:gd name="connsiteX2" fmla="*/ 74012 w 139592"/>
                  <a:gd name="connsiteY2" fmla="*/ 15526 h 38947"/>
                  <a:gd name="connsiteX3" fmla="*/ 132115 w 139592"/>
                  <a:gd name="connsiteY3" fmla="*/ 23527 h 38947"/>
                  <a:gd name="connsiteX4" fmla="*/ 131162 w 139592"/>
                  <a:gd name="connsiteY4" fmla="*/ 37624 h 38947"/>
                  <a:gd name="connsiteX5" fmla="*/ 68964 w 139592"/>
                  <a:gd name="connsiteY5" fmla="*/ 31623 h 38947"/>
                  <a:gd name="connsiteX6" fmla="*/ 7909 w 139592"/>
                  <a:gd name="connsiteY6" fmla="*/ 24003 h 38947"/>
                  <a:gd name="connsiteX7" fmla="*/ 15815 w 139592"/>
                  <a:gd name="connsiteY7" fmla="*/ 0 h 38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592" h="38947">
                    <a:moveTo>
                      <a:pt x="15815" y="0"/>
                    </a:moveTo>
                    <a:cubicBezTo>
                      <a:pt x="15815" y="0"/>
                      <a:pt x="46961" y="12573"/>
                      <a:pt x="53438" y="22669"/>
                    </a:cubicBezTo>
                    <a:cubicBezTo>
                      <a:pt x="53438" y="22669"/>
                      <a:pt x="67535" y="26670"/>
                      <a:pt x="74012" y="15526"/>
                    </a:cubicBezTo>
                    <a:cubicBezTo>
                      <a:pt x="74012" y="15526"/>
                      <a:pt x="105635" y="-20955"/>
                      <a:pt x="132115" y="23527"/>
                    </a:cubicBezTo>
                    <a:cubicBezTo>
                      <a:pt x="134687" y="26575"/>
                      <a:pt x="148117" y="35528"/>
                      <a:pt x="131162" y="37624"/>
                    </a:cubicBezTo>
                    <a:cubicBezTo>
                      <a:pt x="131162" y="37624"/>
                      <a:pt x="111541" y="43148"/>
                      <a:pt x="68964" y="31623"/>
                    </a:cubicBezTo>
                    <a:cubicBezTo>
                      <a:pt x="68964" y="31623"/>
                      <a:pt x="17434" y="36576"/>
                      <a:pt x="7909" y="24003"/>
                    </a:cubicBezTo>
                    <a:cubicBezTo>
                      <a:pt x="7814" y="24003"/>
                      <a:pt x="-14284" y="12478"/>
                      <a:pt x="1581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00" name="图形 7">
                <a:extLst>
                  <a:ext uri="{FF2B5EF4-FFF2-40B4-BE49-F238E27FC236}">
                    <a16:creationId xmlns:a16="http://schemas.microsoft.com/office/drawing/2014/main" id="{F0E4C20A-4993-421C-8097-C7F55F3942E4}"/>
                  </a:ext>
                </a:extLst>
              </p:cNvPr>
              <p:cNvGrpSpPr/>
              <p:nvPr/>
            </p:nvGrpSpPr>
            <p:grpSpPr>
              <a:xfrm>
                <a:off x="2478512" y="4029861"/>
                <a:ext cx="2154471" cy="2155770"/>
                <a:chOff x="2478510" y="4029860"/>
                <a:chExt cx="2154470" cy="2155769"/>
              </a:xfrm>
              <a:solidFill>
                <a:srgbClr val="EA6000"/>
              </a:solidFill>
            </p:grpSpPr>
            <p:sp>
              <p:nvSpPr>
                <p:cNvPr id="147" name="任意多边形: 形状 146">
                  <a:extLst>
                    <a:ext uri="{FF2B5EF4-FFF2-40B4-BE49-F238E27FC236}">
                      <a16:creationId xmlns:a16="http://schemas.microsoft.com/office/drawing/2014/main" id="{19843F33-7607-465F-A3F3-A74C750304D1}"/>
                    </a:ext>
                  </a:extLst>
                </p:cNvPr>
                <p:cNvSpPr/>
                <p:nvPr/>
              </p:nvSpPr>
              <p:spPr>
                <a:xfrm>
                  <a:off x="2478658" y="4030012"/>
                  <a:ext cx="2154226" cy="2155617"/>
                </a:xfrm>
                <a:custGeom>
                  <a:avLst/>
                  <a:gdLst>
                    <a:gd name="connsiteX0" fmla="*/ 1077087 w 2154226"/>
                    <a:gd name="connsiteY0" fmla="*/ 2010171 h 2155617"/>
                    <a:gd name="connsiteX1" fmla="*/ 1116997 w 2154226"/>
                    <a:gd name="connsiteY1" fmla="*/ 2011314 h 2155617"/>
                    <a:gd name="connsiteX2" fmla="*/ 1345406 w 2154226"/>
                    <a:gd name="connsiteY2" fmla="*/ 1973690 h 2155617"/>
                    <a:gd name="connsiteX3" fmla="*/ 1943767 w 2154226"/>
                    <a:gd name="connsiteY3" fmla="*/ 1439909 h 2155617"/>
                    <a:gd name="connsiteX4" fmla="*/ 1943767 w 2154226"/>
                    <a:gd name="connsiteY4" fmla="*/ 711151 h 2155617"/>
                    <a:gd name="connsiteX5" fmla="*/ 1077087 w 2154226"/>
                    <a:gd name="connsiteY5" fmla="*/ 135937 h 2155617"/>
                    <a:gd name="connsiteX6" fmla="*/ 1077087 w 2154226"/>
                    <a:gd name="connsiteY6" fmla="*/ 15 h 2155617"/>
                    <a:gd name="connsiteX7" fmla="*/ 2077403 w 2154226"/>
                    <a:gd name="connsiteY7" fmla="*/ 673432 h 2155617"/>
                    <a:gd name="connsiteX8" fmla="*/ 2074450 w 2154226"/>
                    <a:gd name="connsiteY8" fmla="*/ 1494106 h 2155617"/>
                    <a:gd name="connsiteX9" fmla="*/ 1364837 w 2154226"/>
                    <a:gd name="connsiteY9" fmla="*/ 2117994 h 2155617"/>
                    <a:gd name="connsiteX10" fmla="*/ 1119950 w 2154226"/>
                    <a:gd name="connsiteY10" fmla="*/ 2155618 h 2155617"/>
                    <a:gd name="connsiteX11" fmla="*/ 1077087 w 2154226"/>
                    <a:gd name="connsiteY11" fmla="*/ 2154475 h 2155617"/>
                    <a:gd name="connsiteX12" fmla="*/ 1077087 w 2154226"/>
                    <a:gd name="connsiteY12" fmla="*/ 2010171 h 2155617"/>
                    <a:gd name="connsiteX13" fmla="*/ 1041749 w 2154226"/>
                    <a:gd name="connsiteY13" fmla="*/ 135365 h 2155617"/>
                    <a:gd name="connsiteX14" fmla="*/ 933545 w 2154226"/>
                    <a:gd name="connsiteY14" fmla="*/ 146033 h 2155617"/>
                    <a:gd name="connsiteX15" fmla="*/ 750189 w 2154226"/>
                    <a:gd name="connsiteY15" fmla="*/ 194039 h 2155617"/>
                    <a:gd name="connsiteX16" fmla="*/ 192596 w 2154226"/>
                    <a:gd name="connsiteY16" fmla="*/ 765253 h 2155617"/>
                    <a:gd name="connsiteX17" fmla="*/ 150495 w 2154226"/>
                    <a:gd name="connsiteY17" fmla="*/ 938132 h 2155617"/>
                    <a:gd name="connsiteX18" fmla="*/ 179165 w 2154226"/>
                    <a:gd name="connsiteY18" fmla="*/ 1333324 h 2155617"/>
                    <a:gd name="connsiteX19" fmla="*/ 706755 w 2154226"/>
                    <a:gd name="connsiteY19" fmla="*/ 1933209 h 2155617"/>
                    <a:gd name="connsiteX20" fmla="*/ 915543 w 2154226"/>
                    <a:gd name="connsiteY20" fmla="*/ 1997884 h 2155617"/>
                    <a:gd name="connsiteX21" fmla="*/ 1014698 w 2154226"/>
                    <a:gd name="connsiteY21" fmla="*/ 2008266 h 2155617"/>
                    <a:gd name="connsiteX22" fmla="*/ 1077087 w 2154226"/>
                    <a:gd name="connsiteY22" fmla="*/ 2010266 h 2155617"/>
                    <a:gd name="connsiteX23" fmla="*/ 1077087 w 2154226"/>
                    <a:gd name="connsiteY23" fmla="*/ 2154570 h 2155617"/>
                    <a:gd name="connsiteX24" fmla="*/ 1008698 w 2154226"/>
                    <a:gd name="connsiteY24" fmla="*/ 2152760 h 2155617"/>
                    <a:gd name="connsiteX25" fmla="*/ 886873 w 2154226"/>
                    <a:gd name="connsiteY25" fmla="*/ 2139044 h 2155617"/>
                    <a:gd name="connsiteX26" fmla="*/ 657034 w 2154226"/>
                    <a:gd name="connsiteY26" fmla="*/ 2068464 h 2155617"/>
                    <a:gd name="connsiteX27" fmla="*/ 51245 w 2154226"/>
                    <a:gd name="connsiteY27" fmla="*/ 1397999 h 2155617"/>
                    <a:gd name="connsiteX28" fmla="*/ 0 w 2154226"/>
                    <a:gd name="connsiteY28" fmla="*/ 1082531 h 2155617"/>
                    <a:gd name="connsiteX29" fmla="*/ 0 w 2154226"/>
                    <a:gd name="connsiteY29" fmla="*/ 1048908 h 2155617"/>
                    <a:gd name="connsiteX30" fmla="*/ 12192 w 2154226"/>
                    <a:gd name="connsiteY30" fmla="*/ 923178 h 2155617"/>
                    <a:gd name="connsiteX31" fmla="*/ 61817 w 2154226"/>
                    <a:gd name="connsiteY31" fmla="*/ 720295 h 2155617"/>
                    <a:gd name="connsiteX32" fmla="*/ 705136 w 2154226"/>
                    <a:gd name="connsiteY32" fmla="*/ 66404 h 2155617"/>
                    <a:gd name="connsiteX33" fmla="*/ 913829 w 2154226"/>
                    <a:gd name="connsiteY33" fmla="*/ 12207 h 2155617"/>
                    <a:gd name="connsiteX34" fmla="*/ 1038701 w 2154226"/>
                    <a:gd name="connsiteY34" fmla="*/ 110 h 2155617"/>
                    <a:gd name="connsiteX35" fmla="*/ 1076992 w 2154226"/>
                    <a:gd name="connsiteY35" fmla="*/ 110 h 2155617"/>
                    <a:gd name="connsiteX36" fmla="*/ 1076992 w 2154226"/>
                    <a:gd name="connsiteY36" fmla="*/ 135937 h 2155617"/>
                    <a:gd name="connsiteX37" fmla="*/ 1041749 w 2154226"/>
                    <a:gd name="connsiteY37" fmla="*/ 135365 h 21556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2154226" h="2155617">
                      <a:moveTo>
                        <a:pt x="1077087" y="2010171"/>
                      </a:moveTo>
                      <a:cubicBezTo>
                        <a:pt x="1090232" y="2010552"/>
                        <a:pt x="1103662" y="2010933"/>
                        <a:pt x="1116997" y="2011314"/>
                      </a:cubicBezTo>
                      <a:cubicBezTo>
                        <a:pt x="1200341" y="1997312"/>
                        <a:pt x="1275017" y="1995788"/>
                        <a:pt x="1345406" y="1973690"/>
                      </a:cubicBezTo>
                      <a:cubicBezTo>
                        <a:pt x="1627156" y="1885393"/>
                        <a:pt x="1833277" y="1699370"/>
                        <a:pt x="1943767" y="1439909"/>
                      </a:cubicBezTo>
                      <a:cubicBezTo>
                        <a:pt x="2039493" y="1215214"/>
                        <a:pt x="2037493" y="935274"/>
                        <a:pt x="1943767" y="711151"/>
                      </a:cubicBezTo>
                      <a:cubicBezTo>
                        <a:pt x="1810798" y="393207"/>
                        <a:pt x="1521809" y="147271"/>
                        <a:pt x="1077087" y="135937"/>
                      </a:cubicBezTo>
                      <a:lnTo>
                        <a:pt x="1077087" y="15"/>
                      </a:lnTo>
                      <a:cubicBezTo>
                        <a:pt x="1589913" y="6682"/>
                        <a:pt x="1928241" y="308815"/>
                        <a:pt x="2077403" y="673432"/>
                      </a:cubicBezTo>
                      <a:cubicBezTo>
                        <a:pt x="2180558" y="925654"/>
                        <a:pt x="2180082" y="1243789"/>
                        <a:pt x="2074450" y="1494106"/>
                      </a:cubicBezTo>
                      <a:cubicBezTo>
                        <a:pt x="1944814" y="1800907"/>
                        <a:pt x="1702213" y="2018553"/>
                        <a:pt x="1364837" y="2117994"/>
                      </a:cubicBezTo>
                      <a:cubicBezTo>
                        <a:pt x="1289114" y="2140282"/>
                        <a:pt x="1208818" y="2142092"/>
                        <a:pt x="1119950" y="2155618"/>
                      </a:cubicBezTo>
                      <a:lnTo>
                        <a:pt x="1077087" y="2154475"/>
                      </a:lnTo>
                      <a:lnTo>
                        <a:pt x="1077087" y="2010171"/>
                      </a:lnTo>
                      <a:close/>
                      <a:moveTo>
                        <a:pt x="1041749" y="135365"/>
                      </a:moveTo>
                      <a:cubicBezTo>
                        <a:pt x="1005745" y="138889"/>
                        <a:pt x="969550" y="142509"/>
                        <a:pt x="933545" y="146033"/>
                      </a:cubicBezTo>
                      <a:cubicBezTo>
                        <a:pt x="868775" y="159082"/>
                        <a:pt x="806482" y="171941"/>
                        <a:pt x="750189" y="194039"/>
                      </a:cubicBezTo>
                      <a:cubicBezTo>
                        <a:pt x="478155" y="301386"/>
                        <a:pt x="299276" y="491981"/>
                        <a:pt x="192596" y="765253"/>
                      </a:cubicBezTo>
                      <a:cubicBezTo>
                        <a:pt x="172022" y="818117"/>
                        <a:pt x="162497" y="877744"/>
                        <a:pt x="150495" y="938132"/>
                      </a:cubicBezTo>
                      <a:cubicBezTo>
                        <a:pt x="124587" y="1068529"/>
                        <a:pt x="146971" y="1229883"/>
                        <a:pt x="179165" y="1333324"/>
                      </a:cubicBezTo>
                      <a:cubicBezTo>
                        <a:pt x="267557" y="1618884"/>
                        <a:pt x="445770" y="1820719"/>
                        <a:pt x="706755" y="1933209"/>
                      </a:cubicBezTo>
                      <a:cubicBezTo>
                        <a:pt x="770287" y="1960545"/>
                        <a:pt x="839534" y="1980738"/>
                        <a:pt x="915543" y="1997884"/>
                      </a:cubicBezTo>
                      <a:cubicBezTo>
                        <a:pt x="948595" y="2001408"/>
                        <a:pt x="981647" y="2004837"/>
                        <a:pt x="1014698" y="2008266"/>
                      </a:cubicBezTo>
                      <a:lnTo>
                        <a:pt x="1077087" y="2010266"/>
                      </a:lnTo>
                      <a:lnTo>
                        <a:pt x="1077087" y="2154570"/>
                      </a:lnTo>
                      <a:lnTo>
                        <a:pt x="1008698" y="2152760"/>
                      </a:lnTo>
                      <a:cubicBezTo>
                        <a:pt x="965073" y="2145997"/>
                        <a:pt x="926783" y="2147617"/>
                        <a:pt x="886873" y="2139044"/>
                      </a:cubicBezTo>
                      <a:cubicBezTo>
                        <a:pt x="803434" y="2121137"/>
                        <a:pt x="726948" y="2098372"/>
                        <a:pt x="657034" y="2068464"/>
                      </a:cubicBezTo>
                      <a:cubicBezTo>
                        <a:pt x="364331" y="1943115"/>
                        <a:pt x="150400" y="1716420"/>
                        <a:pt x="51245" y="1397999"/>
                      </a:cubicBezTo>
                      <a:cubicBezTo>
                        <a:pt x="24575" y="1312274"/>
                        <a:pt x="2000" y="1197784"/>
                        <a:pt x="0" y="1082531"/>
                      </a:cubicBezTo>
                      <a:lnTo>
                        <a:pt x="0" y="1048908"/>
                      </a:lnTo>
                      <a:cubicBezTo>
                        <a:pt x="667" y="1006236"/>
                        <a:pt x="4572" y="963849"/>
                        <a:pt x="12192" y="923178"/>
                      </a:cubicBezTo>
                      <a:cubicBezTo>
                        <a:pt x="25622" y="851550"/>
                        <a:pt x="37814" y="782303"/>
                        <a:pt x="61817" y="720295"/>
                      </a:cubicBezTo>
                      <a:cubicBezTo>
                        <a:pt x="182499" y="407018"/>
                        <a:pt x="392811" y="187467"/>
                        <a:pt x="705136" y="66404"/>
                      </a:cubicBezTo>
                      <a:cubicBezTo>
                        <a:pt x="769239" y="41448"/>
                        <a:pt x="839915" y="26589"/>
                        <a:pt x="913829" y="12207"/>
                      </a:cubicBezTo>
                      <a:cubicBezTo>
                        <a:pt x="955453" y="8206"/>
                        <a:pt x="997077" y="4206"/>
                        <a:pt x="1038701" y="110"/>
                      </a:cubicBezTo>
                      <a:cubicBezTo>
                        <a:pt x="1051560" y="-81"/>
                        <a:pt x="1064324" y="15"/>
                        <a:pt x="1076992" y="110"/>
                      </a:cubicBezTo>
                      <a:lnTo>
                        <a:pt x="1076992" y="135937"/>
                      </a:lnTo>
                      <a:cubicBezTo>
                        <a:pt x="1065371" y="135556"/>
                        <a:pt x="1053656" y="135365"/>
                        <a:pt x="1041749" y="135365"/>
                      </a:cubicBezTo>
                      <a:close/>
                    </a:path>
                  </a:pathLst>
                </a:custGeom>
                <a:solidFill>
                  <a:srgbClr val="EA6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8" name="任意多边形: 形状 147">
                  <a:extLst>
                    <a:ext uri="{FF2B5EF4-FFF2-40B4-BE49-F238E27FC236}">
                      <a16:creationId xmlns:a16="http://schemas.microsoft.com/office/drawing/2014/main" id="{3F74D49C-9F7B-49DB-A659-97AABE9B3353}"/>
                    </a:ext>
                  </a:extLst>
                </p:cNvPr>
                <p:cNvSpPr/>
                <p:nvPr/>
              </p:nvSpPr>
              <p:spPr>
                <a:xfrm>
                  <a:off x="2478510" y="4029860"/>
                  <a:ext cx="2154470" cy="2155769"/>
                </a:xfrm>
                <a:custGeom>
                  <a:avLst/>
                  <a:gdLst>
                    <a:gd name="connsiteX0" fmla="*/ 1041897 w 2154470"/>
                    <a:gd name="connsiteY0" fmla="*/ 135517 h 2155769"/>
                    <a:gd name="connsiteX1" fmla="*/ 933693 w 2154470"/>
                    <a:gd name="connsiteY1" fmla="*/ 146185 h 2155769"/>
                    <a:gd name="connsiteX2" fmla="*/ 750337 w 2154470"/>
                    <a:gd name="connsiteY2" fmla="*/ 194191 h 2155769"/>
                    <a:gd name="connsiteX3" fmla="*/ 192744 w 2154470"/>
                    <a:gd name="connsiteY3" fmla="*/ 765406 h 2155769"/>
                    <a:gd name="connsiteX4" fmla="*/ 150643 w 2154470"/>
                    <a:gd name="connsiteY4" fmla="*/ 938284 h 2155769"/>
                    <a:gd name="connsiteX5" fmla="*/ 179313 w 2154470"/>
                    <a:gd name="connsiteY5" fmla="*/ 1333477 h 2155769"/>
                    <a:gd name="connsiteX6" fmla="*/ 706903 w 2154470"/>
                    <a:gd name="connsiteY6" fmla="*/ 1933361 h 2155769"/>
                    <a:gd name="connsiteX7" fmla="*/ 915691 w 2154470"/>
                    <a:gd name="connsiteY7" fmla="*/ 1998036 h 2155769"/>
                    <a:gd name="connsiteX8" fmla="*/ 1014846 w 2154470"/>
                    <a:gd name="connsiteY8" fmla="*/ 2008418 h 2155769"/>
                    <a:gd name="connsiteX9" fmla="*/ 1117050 w 2154470"/>
                    <a:gd name="connsiteY9" fmla="*/ 2011466 h 2155769"/>
                    <a:gd name="connsiteX10" fmla="*/ 1345459 w 2154470"/>
                    <a:gd name="connsiteY10" fmla="*/ 1973842 h 2155769"/>
                    <a:gd name="connsiteX11" fmla="*/ 1943820 w 2154470"/>
                    <a:gd name="connsiteY11" fmla="*/ 1440062 h 2155769"/>
                    <a:gd name="connsiteX12" fmla="*/ 1943820 w 2154470"/>
                    <a:gd name="connsiteY12" fmla="*/ 711304 h 2155769"/>
                    <a:gd name="connsiteX13" fmla="*/ 1041897 w 2154470"/>
                    <a:gd name="connsiteY13" fmla="*/ 135517 h 2155769"/>
                    <a:gd name="connsiteX14" fmla="*/ 1041897 w 2154470"/>
                    <a:gd name="connsiteY14" fmla="*/ 135517 h 2155769"/>
                    <a:gd name="connsiteX15" fmla="*/ 1038945 w 2154470"/>
                    <a:gd name="connsiteY15" fmla="*/ 167 h 2155769"/>
                    <a:gd name="connsiteX16" fmla="*/ 2077646 w 2154470"/>
                    <a:gd name="connsiteY16" fmla="*/ 673585 h 2155769"/>
                    <a:gd name="connsiteX17" fmla="*/ 2074693 w 2154470"/>
                    <a:gd name="connsiteY17" fmla="*/ 1494259 h 2155769"/>
                    <a:gd name="connsiteX18" fmla="*/ 1365081 w 2154470"/>
                    <a:gd name="connsiteY18" fmla="*/ 2118146 h 2155769"/>
                    <a:gd name="connsiteX19" fmla="*/ 1120193 w 2154470"/>
                    <a:gd name="connsiteY19" fmla="*/ 2155770 h 2155769"/>
                    <a:gd name="connsiteX20" fmla="*/ 1008941 w 2154470"/>
                    <a:gd name="connsiteY20" fmla="*/ 2152817 h 2155769"/>
                    <a:gd name="connsiteX21" fmla="*/ 887116 w 2154470"/>
                    <a:gd name="connsiteY21" fmla="*/ 2139101 h 2155769"/>
                    <a:gd name="connsiteX22" fmla="*/ 657278 w 2154470"/>
                    <a:gd name="connsiteY22" fmla="*/ 2068521 h 2155769"/>
                    <a:gd name="connsiteX23" fmla="*/ 51488 w 2154470"/>
                    <a:gd name="connsiteY23" fmla="*/ 1398056 h 2155769"/>
                    <a:gd name="connsiteX24" fmla="*/ 12435 w 2154470"/>
                    <a:gd name="connsiteY24" fmla="*/ 923235 h 2155769"/>
                    <a:gd name="connsiteX25" fmla="*/ 62061 w 2154470"/>
                    <a:gd name="connsiteY25" fmla="*/ 720353 h 2155769"/>
                    <a:gd name="connsiteX26" fmla="*/ 705379 w 2154470"/>
                    <a:gd name="connsiteY26" fmla="*/ 66461 h 2155769"/>
                    <a:gd name="connsiteX27" fmla="*/ 914072 w 2154470"/>
                    <a:gd name="connsiteY27" fmla="*/ 12264 h 2155769"/>
                    <a:gd name="connsiteX28" fmla="*/ 1038945 w 2154470"/>
                    <a:gd name="connsiteY28" fmla="*/ 167 h 21557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2154470" h="2155769">
                      <a:moveTo>
                        <a:pt x="1041897" y="135517"/>
                      </a:moveTo>
                      <a:cubicBezTo>
                        <a:pt x="1005893" y="139042"/>
                        <a:pt x="969698" y="142661"/>
                        <a:pt x="933693" y="146185"/>
                      </a:cubicBezTo>
                      <a:cubicBezTo>
                        <a:pt x="868923" y="159235"/>
                        <a:pt x="806630" y="172093"/>
                        <a:pt x="750337" y="194191"/>
                      </a:cubicBezTo>
                      <a:cubicBezTo>
                        <a:pt x="478303" y="301538"/>
                        <a:pt x="299424" y="492133"/>
                        <a:pt x="192744" y="765406"/>
                      </a:cubicBezTo>
                      <a:cubicBezTo>
                        <a:pt x="172170" y="818270"/>
                        <a:pt x="162645" y="877896"/>
                        <a:pt x="150643" y="938284"/>
                      </a:cubicBezTo>
                      <a:cubicBezTo>
                        <a:pt x="124735" y="1068682"/>
                        <a:pt x="147119" y="1230035"/>
                        <a:pt x="179313" y="1333477"/>
                      </a:cubicBezTo>
                      <a:cubicBezTo>
                        <a:pt x="267705" y="1619036"/>
                        <a:pt x="445918" y="1820871"/>
                        <a:pt x="706903" y="1933361"/>
                      </a:cubicBezTo>
                      <a:cubicBezTo>
                        <a:pt x="770435" y="1960698"/>
                        <a:pt x="839682" y="1980891"/>
                        <a:pt x="915691" y="1998036"/>
                      </a:cubicBezTo>
                      <a:cubicBezTo>
                        <a:pt x="948743" y="2001560"/>
                        <a:pt x="981795" y="2004989"/>
                        <a:pt x="1014846" y="2008418"/>
                      </a:cubicBezTo>
                      <a:cubicBezTo>
                        <a:pt x="1048851" y="2009466"/>
                        <a:pt x="1082950" y="2010418"/>
                        <a:pt x="1117050" y="2011466"/>
                      </a:cubicBezTo>
                      <a:cubicBezTo>
                        <a:pt x="1200393" y="1997465"/>
                        <a:pt x="1275069" y="1995941"/>
                        <a:pt x="1345459" y="1973842"/>
                      </a:cubicBezTo>
                      <a:cubicBezTo>
                        <a:pt x="1627209" y="1885546"/>
                        <a:pt x="1833330" y="1699522"/>
                        <a:pt x="1943820" y="1440062"/>
                      </a:cubicBezTo>
                      <a:cubicBezTo>
                        <a:pt x="2039546" y="1215367"/>
                        <a:pt x="2037546" y="935427"/>
                        <a:pt x="1943820" y="711304"/>
                      </a:cubicBezTo>
                      <a:cubicBezTo>
                        <a:pt x="1807326" y="384977"/>
                        <a:pt x="1506717" y="134565"/>
                        <a:pt x="1041897" y="135517"/>
                      </a:cubicBezTo>
                      <a:lnTo>
                        <a:pt x="1041897" y="135517"/>
                      </a:lnTo>
                      <a:close/>
                      <a:moveTo>
                        <a:pt x="1038945" y="167"/>
                      </a:moveTo>
                      <a:cubicBezTo>
                        <a:pt x="1573297" y="-8215"/>
                        <a:pt x="1924770" y="299728"/>
                        <a:pt x="2077646" y="673585"/>
                      </a:cubicBezTo>
                      <a:cubicBezTo>
                        <a:pt x="2180802" y="925807"/>
                        <a:pt x="2180326" y="1243942"/>
                        <a:pt x="2074693" y="1494259"/>
                      </a:cubicBezTo>
                      <a:cubicBezTo>
                        <a:pt x="1945058" y="1801059"/>
                        <a:pt x="1702456" y="2018705"/>
                        <a:pt x="1365081" y="2118146"/>
                      </a:cubicBezTo>
                      <a:cubicBezTo>
                        <a:pt x="1289357" y="2140435"/>
                        <a:pt x="1209061" y="2142244"/>
                        <a:pt x="1120193" y="2155770"/>
                      </a:cubicBezTo>
                      <a:cubicBezTo>
                        <a:pt x="1083045" y="2154722"/>
                        <a:pt x="1045993" y="2153675"/>
                        <a:pt x="1008941" y="2152817"/>
                      </a:cubicBezTo>
                      <a:cubicBezTo>
                        <a:pt x="965316" y="2146055"/>
                        <a:pt x="927026" y="2147674"/>
                        <a:pt x="887116" y="2139101"/>
                      </a:cubicBezTo>
                      <a:cubicBezTo>
                        <a:pt x="803677" y="2121194"/>
                        <a:pt x="727191" y="2098430"/>
                        <a:pt x="657278" y="2068521"/>
                      </a:cubicBezTo>
                      <a:cubicBezTo>
                        <a:pt x="364575" y="1943172"/>
                        <a:pt x="150643" y="1716477"/>
                        <a:pt x="51488" y="1398056"/>
                      </a:cubicBezTo>
                      <a:cubicBezTo>
                        <a:pt x="12340" y="1272326"/>
                        <a:pt x="-18045" y="1084779"/>
                        <a:pt x="12435" y="923235"/>
                      </a:cubicBezTo>
                      <a:cubicBezTo>
                        <a:pt x="25866" y="851607"/>
                        <a:pt x="38058" y="782360"/>
                        <a:pt x="62061" y="720353"/>
                      </a:cubicBezTo>
                      <a:cubicBezTo>
                        <a:pt x="182742" y="407075"/>
                        <a:pt x="393054" y="187524"/>
                        <a:pt x="705379" y="66461"/>
                      </a:cubicBezTo>
                      <a:cubicBezTo>
                        <a:pt x="769482" y="41506"/>
                        <a:pt x="840158" y="26647"/>
                        <a:pt x="914072" y="12264"/>
                      </a:cubicBezTo>
                      <a:cubicBezTo>
                        <a:pt x="955601" y="8263"/>
                        <a:pt x="997320" y="4263"/>
                        <a:pt x="1038945" y="167"/>
                      </a:cubicBezTo>
                      <a:close/>
                    </a:path>
                  </a:pathLst>
                </a:custGeom>
                <a:solidFill>
                  <a:srgbClr val="EA6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074AC9BE-1F85-4FC6-B4CE-8567704354D9}"/>
                  </a:ext>
                </a:extLst>
              </p:cNvPr>
              <p:cNvSpPr/>
              <p:nvPr/>
            </p:nvSpPr>
            <p:spPr>
              <a:xfrm>
                <a:off x="2608509" y="4170456"/>
                <a:ext cx="1892098" cy="1874538"/>
              </a:xfrm>
              <a:custGeom>
                <a:avLst/>
                <a:gdLst>
                  <a:gd name="connsiteX0" fmla="*/ 959239 w 1892098"/>
                  <a:gd name="connsiteY0" fmla="*/ 446 h 1874538"/>
                  <a:gd name="connsiteX1" fmla="*/ 87892 w 1892098"/>
                  <a:gd name="connsiteY1" fmla="*/ 541561 h 1874538"/>
                  <a:gd name="connsiteX2" fmla="*/ 199049 w 1892098"/>
                  <a:gd name="connsiteY2" fmla="*/ 1512254 h 1874538"/>
                  <a:gd name="connsiteX3" fmla="*/ 1280898 w 1892098"/>
                  <a:gd name="connsiteY3" fmla="*/ 1806863 h 1874538"/>
                  <a:gd name="connsiteX4" fmla="*/ 1891070 w 1892098"/>
                  <a:gd name="connsiteY4" fmla="*/ 884176 h 1874538"/>
                  <a:gd name="connsiteX5" fmla="*/ 1887926 w 1892098"/>
                  <a:gd name="connsiteY5" fmla="*/ 868269 h 1874538"/>
                  <a:gd name="connsiteX6" fmla="*/ 1701617 w 1892098"/>
                  <a:gd name="connsiteY6" fmla="*/ 1183165 h 1874538"/>
                  <a:gd name="connsiteX7" fmla="*/ 1190125 w 1892098"/>
                  <a:gd name="connsiteY7" fmla="*/ 1648843 h 1874538"/>
                  <a:gd name="connsiteX8" fmla="*/ 394406 w 1892098"/>
                  <a:gd name="connsiteY8" fmla="*/ 1620173 h 1874538"/>
                  <a:gd name="connsiteX9" fmla="*/ 290965 w 1892098"/>
                  <a:gd name="connsiteY9" fmla="*/ 841313 h 1874538"/>
                  <a:gd name="connsiteX10" fmla="*/ 768263 w 1892098"/>
                  <a:gd name="connsiteY10" fmla="*/ 788926 h 1874538"/>
                  <a:gd name="connsiteX11" fmla="*/ 738449 w 1892098"/>
                  <a:gd name="connsiteY11" fmla="*/ 820549 h 1874538"/>
                  <a:gd name="connsiteX12" fmla="*/ 532519 w 1892098"/>
                  <a:gd name="connsiteY12" fmla="*/ 1092964 h 1874538"/>
                  <a:gd name="connsiteX13" fmla="*/ 897707 w 1892098"/>
                  <a:gd name="connsiteY13" fmla="*/ 1342043 h 1874538"/>
                  <a:gd name="connsiteX14" fmla="*/ 1417582 w 1892098"/>
                  <a:gd name="connsiteY14" fmla="*/ 953518 h 1874538"/>
                  <a:gd name="connsiteX15" fmla="*/ 1628656 w 1892098"/>
                  <a:gd name="connsiteY15" fmla="*/ 516606 h 1874538"/>
                  <a:gd name="connsiteX16" fmla="*/ 1679996 w 1892098"/>
                  <a:gd name="connsiteY16" fmla="*/ 368778 h 1874538"/>
                  <a:gd name="connsiteX17" fmla="*/ 1618655 w 1892098"/>
                  <a:gd name="connsiteY17" fmla="*/ 290768 h 1874538"/>
                  <a:gd name="connsiteX18" fmla="*/ 1428155 w 1892098"/>
                  <a:gd name="connsiteY18" fmla="*/ 849028 h 1874538"/>
                  <a:gd name="connsiteX19" fmla="*/ 986004 w 1892098"/>
                  <a:gd name="connsiteY19" fmla="*/ 1240030 h 1874538"/>
                  <a:gd name="connsiteX20" fmla="*/ 653677 w 1892098"/>
                  <a:gd name="connsiteY20" fmla="*/ 1029908 h 1874538"/>
                  <a:gd name="connsiteX21" fmla="*/ 703016 w 1892098"/>
                  <a:gd name="connsiteY21" fmla="*/ 1022574 h 1874538"/>
                  <a:gd name="connsiteX22" fmla="*/ 1112115 w 1892098"/>
                  <a:gd name="connsiteY22" fmla="*/ 860077 h 1874538"/>
                  <a:gd name="connsiteX23" fmla="*/ 1282041 w 1892098"/>
                  <a:gd name="connsiteY23" fmla="*/ 317343 h 1874538"/>
                  <a:gd name="connsiteX24" fmla="*/ 1300329 w 1892098"/>
                  <a:gd name="connsiteY24" fmla="*/ 79694 h 1874538"/>
                  <a:gd name="connsiteX25" fmla="*/ 989719 w 1892098"/>
                  <a:gd name="connsiteY25" fmla="*/ 2923 h 1874538"/>
                  <a:gd name="connsiteX26" fmla="*/ 1018865 w 1892098"/>
                  <a:gd name="connsiteY26" fmla="*/ 437929 h 1874538"/>
                  <a:gd name="connsiteX27" fmla="*/ 938570 w 1892098"/>
                  <a:gd name="connsiteY27" fmla="*/ 624429 h 1874538"/>
                  <a:gd name="connsiteX28" fmla="*/ 911138 w 1892098"/>
                  <a:gd name="connsiteY28" fmla="*/ 617095 h 1874538"/>
                  <a:gd name="connsiteX29" fmla="*/ 896564 w 1892098"/>
                  <a:gd name="connsiteY29" fmla="*/ 262479 h 1874538"/>
                  <a:gd name="connsiteX30" fmla="*/ 959239 w 1892098"/>
                  <a:gd name="connsiteY30" fmla="*/ 446 h 1874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892098" h="1874538">
                    <a:moveTo>
                      <a:pt x="959239" y="446"/>
                    </a:moveTo>
                    <a:cubicBezTo>
                      <a:pt x="959239" y="446"/>
                      <a:pt x="376404" y="-35654"/>
                      <a:pt x="87892" y="541561"/>
                    </a:cubicBezTo>
                    <a:cubicBezTo>
                      <a:pt x="87892" y="541561"/>
                      <a:pt x="-170617" y="1016287"/>
                      <a:pt x="199049" y="1512254"/>
                    </a:cubicBezTo>
                    <a:cubicBezTo>
                      <a:pt x="199049" y="1512254"/>
                      <a:pt x="613862" y="2062323"/>
                      <a:pt x="1280898" y="1806863"/>
                    </a:cubicBezTo>
                    <a:cubicBezTo>
                      <a:pt x="1280898" y="1806863"/>
                      <a:pt x="1921169" y="1608552"/>
                      <a:pt x="1891070" y="884176"/>
                    </a:cubicBezTo>
                    <a:lnTo>
                      <a:pt x="1887926" y="868269"/>
                    </a:lnTo>
                    <a:cubicBezTo>
                      <a:pt x="1887926" y="868269"/>
                      <a:pt x="1736098" y="1137065"/>
                      <a:pt x="1701617" y="1183165"/>
                    </a:cubicBezTo>
                    <a:cubicBezTo>
                      <a:pt x="1701617" y="1183165"/>
                      <a:pt x="1537787" y="1513683"/>
                      <a:pt x="1190125" y="1648843"/>
                    </a:cubicBezTo>
                    <a:cubicBezTo>
                      <a:pt x="1190125" y="1648843"/>
                      <a:pt x="796552" y="1887444"/>
                      <a:pt x="394406" y="1620173"/>
                    </a:cubicBezTo>
                    <a:cubicBezTo>
                      <a:pt x="394406" y="1620173"/>
                      <a:pt x="-62508" y="1347186"/>
                      <a:pt x="290965" y="841313"/>
                    </a:cubicBezTo>
                    <a:cubicBezTo>
                      <a:pt x="290965" y="841313"/>
                      <a:pt x="582239" y="521559"/>
                      <a:pt x="768263" y="788926"/>
                    </a:cubicBezTo>
                    <a:cubicBezTo>
                      <a:pt x="768263" y="788926"/>
                      <a:pt x="771501" y="813977"/>
                      <a:pt x="738449" y="820549"/>
                    </a:cubicBezTo>
                    <a:cubicBezTo>
                      <a:pt x="738449" y="820549"/>
                      <a:pt x="552521" y="905321"/>
                      <a:pt x="532519" y="1092964"/>
                    </a:cubicBezTo>
                    <a:cubicBezTo>
                      <a:pt x="532519" y="1092964"/>
                      <a:pt x="559094" y="1428434"/>
                      <a:pt x="897707" y="1342043"/>
                    </a:cubicBezTo>
                    <a:cubicBezTo>
                      <a:pt x="897707" y="1342043"/>
                      <a:pt x="1191649" y="1337090"/>
                      <a:pt x="1417582" y="953518"/>
                    </a:cubicBezTo>
                    <a:cubicBezTo>
                      <a:pt x="1417582" y="953518"/>
                      <a:pt x="1575316" y="730919"/>
                      <a:pt x="1628656" y="516606"/>
                    </a:cubicBezTo>
                    <a:lnTo>
                      <a:pt x="1679996" y="368778"/>
                    </a:lnTo>
                    <a:cubicBezTo>
                      <a:pt x="1679996" y="368778"/>
                      <a:pt x="1679996" y="323915"/>
                      <a:pt x="1618655" y="290768"/>
                    </a:cubicBezTo>
                    <a:cubicBezTo>
                      <a:pt x="1618655" y="290768"/>
                      <a:pt x="1583507" y="532894"/>
                      <a:pt x="1428155" y="849028"/>
                    </a:cubicBezTo>
                    <a:cubicBezTo>
                      <a:pt x="1428155" y="849028"/>
                      <a:pt x="1221748" y="1232600"/>
                      <a:pt x="986004" y="1240030"/>
                    </a:cubicBezTo>
                    <a:cubicBezTo>
                      <a:pt x="986004" y="1240030"/>
                      <a:pt x="772263" y="1316706"/>
                      <a:pt x="653677" y="1029908"/>
                    </a:cubicBezTo>
                    <a:cubicBezTo>
                      <a:pt x="653677" y="1029908"/>
                      <a:pt x="650057" y="989808"/>
                      <a:pt x="703016" y="1022574"/>
                    </a:cubicBezTo>
                    <a:cubicBezTo>
                      <a:pt x="703016" y="1022574"/>
                      <a:pt x="936665" y="1152400"/>
                      <a:pt x="1112115" y="860077"/>
                    </a:cubicBezTo>
                    <a:cubicBezTo>
                      <a:pt x="1112115" y="860077"/>
                      <a:pt x="1282041" y="498318"/>
                      <a:pt x="1282041" y="317343"/>
                    </a:cubicBezTo>
                    <a:cubicBezTo>
                      <a:pt x="1282041" y="317343"/>
                      <a:pt x="1302139" y="151132"/>
                      <a:pt x="1300329" y="79694"/>
                    </a:cubicBezTo>
                    <a:cubicBezTo>
                      <a:pt x="1300329" y="79694"/>
                      <a:pt x="1165074" y="6637"/>
                      <a:pt x="989719" y="2923"/>
                    </a:cubicBezTo>
                    <a:cubicBezTo>
                      <a:pt x="989719" y="2923"/>
                      <a:pt x="1168789" y="282577"/>
                      <a:pt x="1018865" y="437929"/>
                    </a:cubicBezTo>
                    <a:cubicBezTo>
                      <a:pt x="1018865" y="437929"/>
                      <a:pt x="945809" y="518320"/>
                      <a:pt x="938570" y="624429"/>
                    </a:cubicBezTo>
                    <a:lnTo>
                      <a:pt x="911138" y="617095"/>
                    </a:lnTo>
                    <a:cubicBezTo>
                      <a:pt x="911138" y="617095"/>
                      <a:pt x="830651" y="399544"/>
                      <a:pt x="896564" y="262479"/>
                    </a:cubicBezTo>
                    <a:cubicBezTo>
                      <a:pt x="896564" y="262003"/>
                      <a:pt x="981242" y="121128"/>
                      <a:pt x="959239" y="446"/>
                    </a:cubicBezTo>
                    <a:close/>
                  </a:path>
                </a:pathLst>
              </a:custGeom>
              <a:solidFill>
                <a:srgbClr val="00993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30DF2C82-FA4F-4B4D-9951-D1835E1E5B31}"/>
                  </a:ext>
                </a:extLst>
              </p:cNvPr>
              <p:cNvSpPr/>
              <p:nvPr/>
            </p:nvSpPr>
            <p:spPr>
              <a:xfrm>
                <a:off x="3560007" y="4419530"/>
                <a:ext cx="248663" cy="529147"/>
              </a:xfrm>
              <a:custGeom>
                <a:avLst/>
                <a:gdLst>
                  <a:gd name="connsiteX0" fmla="*/ 154329 w 248663"/>
                  <a:gd name="connsiteY0" fmla="*/ 16449 h 529147"/>
                  <a:gd name="connsiteX1" fmla="*/ 70128 w 248663"/>
                  <a:gd name="connsiteY1" fmla="*/ 229809 h 529147"/>
                  <a:gd name="connsiteX2" fmla="*/ 19074 w 248663"/>
                  <a:gd name="connsiteY2" fmla="*/ 524513 h 529147"/>
                  <a:gd name="connsiteX3" fmla="*/ 73081 w 248663"/>
                  <a:gd name="connsiteY3" fmla="*/ 480888 h 529147"/>
                  <a:gd name="connsiteX4" fmla="*/ 182904 w 248663"/>
                  <a:gd name="connsiteY4" fmla="*/ 359254 h 529147"/>
                  <a:gd name="connsiteX5" fmla="*/ 190334 w 248663"/>
                  <a:gd name="connsiteY5" fmla="*/ 14925 h 529147"/>
                  <a:gd name="connsiteX6" fmla="*/ 154329 w 248663"/>
                  <a:gd name="connsiteY6" fmla="*/ 16449 h 529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8663" h="529147">
                    <a:moveTo>
                      <a:pt x="154329" y="16449"/>
                    </a:moveTo>
                    <a:cubicBezTo>
                      <a:pt x="154329" y="16449"/>
                      <a:pt x="176903" y="154752"/>
                      <a:pt x="70128" y="229809"/>
                    </a:cubicBezTo>
                    <a:cubicBezTo>
                      <a:pt x="70128" y="229809"/>
                      <a:pt x="-44172" y="350015"/>
                      <a:pt x="19074" y="524513"/>
                    </a:cubicBezTo>
                    <a:cubicBezTo>
                      <a:pt x="19074" y="524513"/>
                      <a:pt x="29647" y="550135"/>
                      <a:pt x="73081" y="480888"/>
                    </a:cubicBezTo>
                    <a:cubicBezTo>
                      <a:pt x="73081" y="480888"/>
                      <a:pt x="154329" y="375637"/>
                      <a:pt x="182904" y="359254"/>
                    </a:cubicBezTo>
                    <a:cubicBezTo>
                      <a:pt x="182904" y="359254"/>
                      <a:pt x="325779" y="232857"/>
                      <a:pt x="190334" y="14925"/>
                    </a:cubicBezTo>
                    <a:cubicBezTo>
                      <a:pt x="190334" y="14925"/>
                      <a:pt x="175284" y="-19651"/>
                      <a:pt x="154329" y="16449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7B560651-84EE-4631-A656-5CC2909F7BBC}"/>
                  </a:ext>
                </a:extLst>
              </p:cNvPr>
              <p:cNvSpPr/>
              <p:nvPr/>
            </p:nvSpPr>
            <p:spPr>
              <a:xfrm>
                <a:off x="3297679" y="4405383"/>
                <a:ext cx="250974" cy="717633"/>
              </a:xfrm>
              <a:custGeom>
                <a:avLst/>
                <a:gdLst>
                  <a:gd name="connsiteX0" fmla="*/ 152149 w 250975"/>
                  <a:gd name="connsiteY0" fmla="*/ 500 h 717632"/>
                  <a:gd name="connsiteX1" fmla="*/ 2035 w 250975"/>
                  <a:gd name="connsiteY1" fmla="*/ 313206 h 717632"/>
                  <a:gd name="connsiteX2" fmla="*/ 94904 w 250975"/>
                  <a:gd name="connsiteY2" fmla="*/ 496657 h 717632"/>
                  <a:gd name="connsiteX3" fmla="*/ 219776 w 250975"/>
                  <a:gd name="connsiteY3" fmla="*/ 712970 h 717632"/>
                  <a:gd name="connsiteX4" fmla="*/ 248351 w 250975"/>
                  <a:gd name="connsiteY4" fmla="*/ 686014 h 717632"/>
                  <a:gd name="connsiteX5" fmla="*/ 215205 w 250975"/>
                  <a:gd name="connsiteY5" fmla="*/ 410837 h 717632"/>
                  <a:gd name="connsiteX6" fmla="*/ 149196 w 250975"/>
                  <a:gd name="connsiteY6" fmla="*/ 140327 h 717632"/>
                  <a:gd name="connsiteX7" fmla="*/ 170246 w 250975"/>
                  <a:gd name="connsiteY7" fmla="*/ 23074 h 717632"/>
                  <a:gd name="connsiteX8" fmla="*/ 152149 w 250975"/>
                  <a:gd name="connsiteY8" fmla="*/ 500 h 717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0975" h="717632">
                    <a:moveTo>
                      <a:pt x="152149" y="500"/>
                    </a:moveTo>
                    <a:cubicBezTo>
                      <a:pt x="152149" y="500"/>
                      <a:pt x="-20539" y="92226"/>
                      <a:pt x="2035" y="313206"/>
                    </a:cubicBezTo>
                    <a:cubicBezTo>
                      <a:pt x="2035" y="313206"/>
                      <a:pt x="2035" y="422839"/>
                      <a:pt x="94904" y="496657"/>
                    </a:cubicBezTo>
                    <a:cubicBezTo>
                      <a:pt x="94904" y="496657"/>
                      <a:pt x="197107" y="628960"/>
                      <a:pt x="219776" y="712970"/>
                    </a:cubicBezTo>
                    <a:cubicBezTo>
                      <a:pt x="219776" y="712970"/>
                      <a:pt x="249780" y="734211"/>
                      <a:pt x="248351" y="686014"/>
                    </a:cubicBezTo>
                    <a:cubicBezTo>
                      <a:pt x="248351" y="686014"/>
                      <a:pt x="264830" y="538663"/>
                      <a:pt x="215205" y="410837"/>
                    </a:cubicBezTo>
                    <a:cubicBezTo>
                      <a:pt x="215205" y="410837"/>
                      <a:pt x="141576" y="257580"/>
                      <a:pt x="149196" y="140327"/>
                    </a:cubicBezTo>
                    <a:cubicBezTo>
                      <a:pt x="149196" y="140327"/>
                      <a:pt x="155197" y="50125"/>
                      <a:pt x="170246" y="23074"/>
                    </a:cubicBezTo>
                    <a:cubicBezTo>
                      <a:pt x="170151" y="23074"/>
                      <a:pt x="176152" y="-3977"/>
                      <a:pt x="152149" y="5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60505730-9423-4A13-AEF2-5B19746DF86C}"/>
                  </a:ext>
                </a:extLst>
              </p:cNvPr>
              <p:cNvSpPr/>
              <p:nvPr/>
            </p:nvSpPr>
            <p:spPr>
              <a:xfrm>
                <a:off x="3264475" y="4248816"/>
                <a:ext cx="959736" cy="1170835"/>
              </a:xfrm>
              <a:custGeom>
                <a:avLst/>
                <a:gdLst>
                  <a:gd name="connsiteX0" fmla="*/ 639505 w 959735"/>
                  <a:gd name="connsiteY0" fmla="*/ 0 h 1170834"/>
                  <a:gd name="connsiteX1" fmla="*/ 558447 w 959735"/>
                  <a:gd name="connsiteY1" fmla="*/ 520732 h 1170834"/>
                  <a:gd name="connsiteX2" fmla="*/ 416429 w 959735"/>
                  <a:gd name="connsiteY2" fmla="*/ 834199 h 1170834"/>
                  <a:gd name="connsiteX3" fmla="*/ 21999 w 959735"/>
                  <a:gd name="connsiteY3" fmla="*/ 933260 h 1170834"/>
                  <a:gd name="connsiteX4" fmla="*/ 6188 w 959735"/>
                  <a:gd name="connsiteY4" fmla="*/ 978503 h 1170834"/>
                  <a:gd name="connsiteX5" fmla="*/ 488534 w 959735"/>
                  <a:gd name="connsiteY5" fmla="*/ 1102519 h 1170834"/>
                  <a:gd name="connsiteX6" fmla="*/ 824480 w 959735"/>
                  <a:gd name="connsiteY6" fmla="*/ 638080 h 1170834"/>
                  <a:gd name="connsiteX7" fmla="*/ 959735 w 959735"/>
                  <a:gd name="connsiteY7" fmla="*/ 209645 h 1170834"/>
                  <a:gd name="connsiteX8" fmla="*/ 639505 w 959735"/>
                  <a:gd name="connsiteY8" fmla="*/ 0 h 1170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59735" h="1170834">
                    <a:moveTo>
                      <a:pt x="639505" y="0"/>
                    </a:moveTo>
                    <a:cubicBezTo>
                      <a:pt x="639505" y="0"/>
                      <a:pt x="630551" y="362998"/>
                      <a:pt x="558447" y="520732"/>
                    </a:cubicBezTo>
                    <a:cubicBezTo>
                      <a:pt x="558447" y="520732"/>
                      <a:pt x="511108" y="721519"/>
                      <a:pt x="416429" y="834199"/>
                    </a:cubicBezTo>
                    <a:cubicBezTo>
                      <a:pt x="416429" y="834199"/>
                      <a:pt x="267649" y="1077563"/>
                      <a:pt x="21999" y="933260"/>
                    </a:cubicBezTo>
                    <a:cubicBezTo>
                      <a:pt x="21999" y="933260"/>
                      <a:pt x="-14101" y="926592"/>
                      <a:pt x="6188" y="978503"/>
                    </a:cubicBezTo>
                    <a:cubicBezTo>
                      <a:pt x="6188" y="978503"/>
                      <a:pt x="139061" y="1310069"/>
                      <a:pt x="488534" y="1102519"/>
                    </a:cubicBezTo>
                    <a:cubicBezTo>
                      <a:pt x="488534" y="1102519"/>
                      <a:pt x="734183" y="917734"/>
                      <a:pt x="824480" y="638080"/>
                    </a:cubicBezTo>
                    <a:cubicBezTo>
                      <a:pt x="824480" y="638080"/>
                      <a:pt x="959735" y="331565"/>
                      <a:pt x="959735" y="209645"/>
                    </a:cubicBezTo>
                    <a:cubicBezTo>
                      <a:pt x="959735" y="209645"/>
                      <a:pt x="783809" y="40672"/>
                      <a:pt x="63950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8E4CF185-993F-42CA-92CD-265BA03FF014}"/>
                  </a:ext>
                </a:extLst>
              </p:cNvPr>
              <p:cNvSpPr/>
              <p:nvPr/>
            </p:nvSpPr>
            <p:spPr>
              <a:xfrm>
                <a:off x="2770589" y="4542090"/>
                <a:ext cx="1726515" cy="1374600"/>
              </a:xfrm>
              <a:custGeom>
                <a:avLst/>
                <a:gdLst>
                  <a:gd name="connsiteX0" fmla="*/ 605898 w 1726514"/>
                  <a:gd name="connsiteY0" fmla="*/ 421481 h 1374599"/>
                  <a:gd name="connsiteX1" fmla="*/ 98882 w 1726514"/>
                  <a:gd name="connsiteY1" fmla="*/ 500539 h 1374599"/>
                  <a:gd name="connsiteX2" fmla="*/ 290525 w 1726514"/>
                  <a:gd name="connsiteY2" fmla="*/ 1282732 h 1374599"/>
                  <a:gd name="connsiteX3" fmla="*/ 1230452 w 1726514"/>
                  <a:gd name="connsiteY3" fmla="*/ 1165479 h 1374599"/>
                  <a:gd name="connsiteX4" fmla="*/ 1670126 w 1726514"/>
                  <a:gd name="connsiteY4" fmla="*/ 579501 h 1374599"/>
                  <a:gd name="connsiteX5" fmla="*/ 1726514 w 1726514"/>
                  <a:gd name="connsiteY5" fmla="*/ 500634 h 1374599"/>
                  <a:gd name="connsiteX6" fmla="*/ 1518965 w 1726514"/>
                  <a:gd name="connsiteY6" fmla="*/ 0 h 1374599"/>
                  <a:gd name="connsiteX7" fmla="*/ 1343228 w 1726514"/>
                  <a:gd name="connsiteY7" fmla="*/ 450913 h 1374599"/>
                  <a:gd name="connsiteX8" fmla="*/ 894506 w 1726514"/>
                  <a:gd name="connsiteY8" fmla="*/ 926592 h 1374599"/>
                  <a:gd name="connsiteX9" fmla="*/ 376155 w 1726514"/>
                  <a:gd name="connsiteY9" fmla="*/ 687514 h 1374599"/>
                  <a:gd name="connsiteX10" fmla="*/ 594659 w 1726514"/>
                  <a:gd name="connsiteY10" fmla="*/ 439674 h 1374599"/>
                  <a:gd name="connsiteX11" fmla="*/ 605898 w 1726514"/>
                  <a:gd name="connsiteY11" fmla="*/ 421481 h 1374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726514" h="1374599">
                    <a:moveTo>
                      <a:pt x="605898" y="421481"/>
                    </a:moveTo>
                    <a:cubicBezTo>
                      <a:pt x="605898" y="421481"/>
                      <a:pt x="457403" y="123825"/>
                      <a:pt x="98882" y="500539"/>
                    </a:cubicBezTo>
                    <a:cubicBezTo>
                      <a:pt x="98882" y="500539"/>
                      <a:pt x="-221253" y="978408"/>
                      <a:pt x="290525" y="1282732"/>
                    </a:cubicBezTo>
                    <a:cubicBezTo>
                      <a:pt x="290525" y="1282732"/>
                      <a:pt x="680384" y="1553432"/>
                      <a:pt x="1230452" y="1165479"/>
                    </a:cubicBezTo>
                    <a:cubicBezTo>
                      <a:pt x="1230452" y="1165479"/>
                      <a:pt x="1516774" y="960215"/>
                      <a:pt x="1670126" y="579501"/>
                    </a:cubicBezTo>
                    <a:lnTo>
                      <a:pt x="1726514" y="500634"/>
                    </a:lnTo>
                    <a:cubicBezTo>
                      <a:pt x="1726514" y="500634"/>
                      <a:pt x="1699463" y="162306"/>
                      <a:pt x="1518965" y="0"/>
                    </a:cubicBezTo>
                    <a:cubicBezTo>
                      <a:pt x="1518965" y="0"/>
                      <a:pt x="1395044" y="360712"/>
                      <a:pt x="1343228" y="450913"/>
                    </a:cubicBezTo>
                    <a:cubicBezTo>
                      <a:pt x="1343228" y="450913"/>
                      <a:pt x="1158348" y="811530"/>
                      <a:pt x="894506" y="926592"/>
                    </a:cubicBezTo>
                    <a:cubicBezTo>
                      <a:pt x="894506" y="926592"/>
                      <a:pt x="362630" y="1149763"/>
                      <a:pt x="376155" y="687514"/>
                    </a:cubicBezTo>
                    <a:cubicBezTo>
                      <a:pt x="387490" y="687514"/>
                      <a:pt x="389681" y="516350"/>
                      <a:pt x="594659" y="439674"/>
                    </a:cubicBezTo>
                    <a:cubicBezTo>
                      <a:pt x="594563" y="439484"/>
                      <a:pt x="603707" y="443960"/>
                      <a:pt x="605898" y="42148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06" name="图形 7">
                <a:extLst>
                  <a:ext uri="{FF2B5EF4-FFF2-40B4-BE49-F238E27FC236}">
                    <a16:creationId xmlns:a16="http://schemas.microsoft.com/office/drawing/2014/main" id="{D7E0D396-6E97-4257-879B-D82B947E7653}"/>
                  </a:ext>
                </a:extLst>
              </p:cNvPr>
              <p:cNvGrpSpPr/>
              <p:nvPr/>
            </p:nvGrpSpPr>
            <p:grpSpPr>
              <a:xfrm>
                <a:off x="2202912" y="5095777"/>
                <a:ext cx="2740057" cy="1362469"/>
                <a:chOff x="2202910" y="5095779"/>
                <a:chExt cx="2740056" cy="1362468"/>
              </a:xfrm>
            </p:grpSpPr>
            <p:sp>
              <p:nvSpPr>
                <p:cNvPr id="107" name="任意多边形: 形状 106">
                  <a:extLst>
                    <a:ext uri="{FF2B5EF4-FFF2-40B4-BE49-F238E27FC236}">
                      <a16:creationId xmlns:a16="http://schemas.microsoft.com/office/drawing/2014/main" id="{90FA37CE-8C57-4F97-83D6-91F82D620279}"/>
                    </a:ext>
                  </a:extLst>
                </p:cNvPr>
                <p:cNvSpPr/>
                <p:nvPr/>
              </p:nvSpPr>
              <p:spPr>
                <a:xfrm>
                  <a:off x="2202910" y="5095779"/>
                  <a:ext cx="201871" cy="195891"/>
                </a:xfrm>
                <a:custGeom>
                  <a:avLst/>
                  <a:gdLst>
                    <a:gd name="connsiteX0" fmla="*/ 169736 w 201871"/>
                    <a:gd name="connsiteY0" fmla="*/ 0 h 195891"/>
                    <a:gd name="connsiteX1" fmla="*/ 192405 w 201871"/>
                    <a:gd name="connsiteY1" fmla="*/ 126016 h 195891"/>
                    <a:gd name="connsiteX2" fmla="*/ 184785 w 201871"/>
                    <a:gd name="connsiteY2" fmla="*/ 126016 h 195891"/>
                    <a:gd name="connsiteX3" fmla="*/ 31528 w 201871"/>
                    <a:gd name="connsiteY3" fmla="*/ 162115 h 195891"/>
                    <a:gd name="connsiteX4" fmla="*/ 28575 w 201871"/>
                    <a:gd name="connsiteY4" fmla="*/ 175641 h 195891"/>
                    <a:gd name="connsiteX5" fmla="*/ 36195 w 201871"/>
                    <a:gd name="connsiteY5" fmla="*/ 184594 h 195891"/>
                    <a:gd name="connsiteX6" fmla="*/ 193929 w 201871"/>
                    <a:gd name="connsiteY6" fmla="*/ 156019 h 195891"/>
                    <a:gd name="connsiteX7" fmla="*/ 198406 w 201871"/>
                    <a:gd name="connsiteY7" fmla="*/ 158972 h 195891"/>
                    <a:gd name="connsiteX8" fmla="*/ 201454 w 201871"/>
                    <a:gd name="connsiteY8" fmla="*/ 181546 h 195891"/>
                    <a:gd name="connsiteX9" fmla="*/ 195453 w 201871"/>
                    <a:gd name="connsiteY9" fmla="*/ 181546 h 195891"/>
                    <a:gd name="connsiteX10" fmla="*/ 16669 w 201871"/>
                    <a:gd name="connsiteY10" fmla="*/ 181546 h 195891"/>
                    <a:gd name="connsiteX11" fmla="*/ 12097 w 201871"/>
                    <a:gd name="connsiteY11" fmla="*/ 157543 h 195891"/>
                    <a:gd name="connsiteX12" fmla="*/ 174498 w 201871"/>
                    <a:gd name="connsiteY12" fmla="*/ 88297 h 195891"/>
                    <a:gd name="connsiteX13" fmla="*/ 172974 w 201871"/>
                    <a:gd name="connsiteY13" fmla="*/ 85249 h 195891"/>
                    <a:gd name="connsiteX14" fmla="*/ 141351 w 201871"/>
                    <a:gd name="connsiteY14" fmla="*/ 83820 h 195891"/>
                    <a:gd name="connsiteX15" fmla="*/ 141351 w 201871"/>
                    <a:gd name="connsiteY15" fmla="*/ 82296 h 195891"/>
                    <a:gd name="connsiteX16" fmla="*/ 141351 w 201871"/>
                    <a:gd name="connsiteY16" fmla="*/ 77724 h 195891"/>
                    <a:gd name="connsiteX17" fmla="*/ 171545 w 201871"/>
                    <a:gd name="connsiteY17" fmla="*/ 44767 h 195891"/>
                    <a:gd name="connsiteX18" fmla="*/ 163925 w 201871"/>
                    <a:gd name="connsiteY18" fmla="*/ 34290 h 195891"/>
                    <a:gd name="connsiteX19" fmla="*/ 100774 w 201871"/>
                    <a:gd name="connsiteY19" fmla="*/ 44767 h 195891"/>
                    <a:gd name="connsiteX20" fmla="*/ 102298 w 201871"/>
                    <a:gd name="connsiteY20" fmla="*/ 52292 h 195891"/>
                    <a:gd name="connsiteX21" fmla="*/ 135350 w 201871"/>
                    <a:gd name="connsiteY21" fmla="*/ 59817 h 195891"/>
                    <a:gd name="connsiteX22" fmla="*/ 58674 w 201871"/>
                    <a:gd name="connsiteY22" fmla="*/ 74771 h 195891"/>
                    <a:gd name="connsiteX23" fmla="*/ 57150 w 201871"/>
                    <a:gd name="connsiteY23" fmla="*/ 68771 h 195891"/>
                    <a:gd name="connsiteX24" fmla="*/ 85630 w 201871"/>
                    <a:gd name="connsiteY24" fmla="*/ 47815 h 195891"/>
                    <a:gd name="connsiteX25" fmla="*/ 82582 w 201871"/>
                    <a:gd name="connsiteY25" fmla="*/ 43339 h 195891"/>
                    <a:gd name="connsiteX26" fmla="*/ 8953 w 201871"/>
                    <a:gd name="connsiteY26" fmla="*/ 62770 h 195891"/>
                    <a:gd name="connsiteX27" fmla="*/ 2953 w 201871"/>
                    <a:gd name="connsiteY27" fmla="*/ 61341 h 195891"/>
                    <a:gd name="connsiteX28" fmla="*/ 0 w 201871"/>
                    <a:gd name="connsiteY28" fmla="*/ 20669 h 195891"/>
                    <a:gd name="connsiteX29" fmla="*/ 1619 w 201871"/>
                    <a:gd name="connsiteY29" fmla="*/ 19145 h 195891"/>
                    <a:gd name="connsiteX30" fmla="*/ 169736 w 201871"/>
                    <a:gd name="connsiteY30" fmla="*/ 0 h 1958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201871" h="195891">
                      <a:moveTo>
                        <a:pt x="169736" y="0"/>
                      </a:moveTo>
                      <a:cubicBezTo>
                        <a:pt x="179546" y="8287"/>
                        <a:pt x="189833" y="106299"/>
                        <a:pt x="192405" y="126016"/>
                      </a:cubicBezTo>
                      <a:lnTo>
                        <a:pt x="184785" y="126016"/>
                      </a:lnTo>
                      <a:cubicBezTo>
                        <a:pt x="157829" y="115633"/>
                        <a:pt x="40481" y="146018"/>
                        <a:pt x="31528" y="162115"/>
                      </a:cubicBezTo>
                      <a:cubicBezTo>
                        <a:pt x="30671" y="166783"/>
                        <a:pt x="29527" y="171259"/>
                        <a:pt x="28575" y="175641"/>
                      </a:cubicBezTo>
                      <a:cubicBezTo>
                        <a:pt x="31147" y="178689"/>
                        <a:pt x="33623" y="181642"/>
                        <a:pt x="36195" y="184594"/>
                      </a:cubicBezTo>
                      <a:cubicBezTo>
                        <a:pt x="80296" y="194405"/>
                        <a:pt x="164783" y="179451"/>
                        <a:pt x="193929" y="156019"/>
                      </a:cubicBezTo>
                      <a:cubicBezTo>
                        <a:pt x="198406" y="157829"/>
                        <a:pt x="195739" y="156019"/>
                        <a:pt x="198406" y="158972"/>
                      </a:cubicBezTo>
                      <a:cubicBezTo>
                        <a:pt x="202311" y="166211"/>
                        <a:pt x="202216" y="173069"/>
                        <a:pt x="201454" y="181546"/>
                      </a:cubicBezTo>
                      <a:lnTo>
                        <a:pt x="195453" y="181546"/>
                      </a:lnTo>
                      <a:cubicBezTo>
                        <a:pt x="159829" y="161639"/>
                        <a:pt x="70771" y="222123"/>
                        <a:pt x="16669" y="181546"/>
                      </a:cubicBezTo>
                      <a:cubicBezTo>
                        <a:pt x="15145" y="173450"/>
                        <a:pt x="13716" y="165449"/>
                        <a:pt x="12097" y="157543"/>
                      </a:cubicBezTo>
                      <a:cubicBezTo>
                        <a:pt x="21812" y="99822"/>
                        <a:pt x="128588" y="110776"/>
                        <a:pt x="174498" y="88297"/>
                      </a:cubicBezTo>
                      <a:cubicBezTo>
                        <a:pt x="174022" y="87344"/>
                        <a:pt x="173450" y="86201"/>
                        <a:pt x="172974" y="85249"/>
                      </a:cubicBezTo>
                      <a:cubicBezTo>
                        <a:pt x="160687" y="86677"/>
                        <a:pt x="150400" y="88106"/>
                        <a:pt x="141351" y="83820"/>
                      </a:cubicBezTo>
                      <a:lnTo>
                        <a:pt x="141351" y="82296"/>
                      </a:lnTo>
                      <a:lnTo>
                        <a:pt x="141351" y="77724"/>
                      </a:lnTo>
                      <a:cubicBezTo>
                        <a:pt x="158115" y="70675"/>
                        <a:pt x="167830" y="65246"/>
                        <a:pt x="171545" y="44767"/>
                      </a:cubicBezTo>
                      <a:cubicBezTo>
                        <a:pt x="169069" y="41338"/>
                        <a:pt x="166497" y="37909"/>
                        <a:pt x="163925" y="34290"/>
                      </a:cubicBezTo>
                      <a:cubicBezTo>
                        <a:pt x="144018" y="35528"/>
                        <a:pt x="116491" y="35623"/>
                        <a:pt x="100774" y="44767"/>
                      </a:cubicBezTo>
                      <a:cubicBezTo>
                        <a:pt x="101346" y="47339"/>
                        <a:pt x="101822" y="49911"/>
                        <a:pt x="102298" y="52292"/>
                      </a:cubicBezTo>
                      <a:cubicBezTo>
                        <a:pt x="113062" y="55912"/>
                        <a:pt x="119253" y="59817"/>
                        <a:pt x="135350" y="59817"/>
                      </a:cubicBezTo>
                      <a:cubicBezTo>
                        <a:pt x="130302" y="70961"/>
                        <a:pt x="72580" y="73628"/>
                        <a:pt x="58674" y="74771"/>
                      </a:cubicBezTo>
                      <a:cubicBezTo>
                        <a:pt x="58198" y="72961"/>
                        <a:pt x="57626" y="70771"/>
                        <a:pt x="57150" y="68771"/>
                      </a:cubicBezTo>
                      <a:cubicBezTo>
                        <a:pt x="72295" y="66008"/>
                        <a:pt x="80391" y="60579"/>
                        <a:pt x="85630" y="47815"/>
                      </a:cubicBezTo>
                      <a:cubicBezTo>
                        <a:pt x="84677" y="46292"/>
                        <a:pt x="83725" y="44672"/>
                        <a:pt x="82582" y="43339"/>
                      </a:cubicBezTo>
                      <a:cubicBezTo>
                        <a:pt x="59246" y="42672"/>
                        <a:pt x="16383" y="46387"/>
                        <a:pt x="8953" y="62770"/>
                      </a:cubicBezTo>
                      <a:cubicBezTo>
                        <a:pt x="7048" y="62293"/>
                        <a:pt x="5048" y="61722"/>
                        <a:pt x="2953" y="61341"/>
                      </a:cubicBezTo>
                      <a:cubicBezTo>
                        <a:pt x="2096" y="47815"/>
                        <a:pt x="1048" y="34195"/>
                        <a:pt x="0" y="20669"/>
                      </a:cubicBezTo>
                      <a:lnTo>
                        <a:pt x="1619" y="19145"/>
                      </a:lnTo>
                      <a:cubicBezTo>
                        <a:pt x="34576" y="25146"/>
                        <a:pt x="152019" y="19145"/>
                        <a:pt x="169736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8" name="任意多边形: 形状 107">
                  <a:extLst>
                    <a:ext uri="{FF2B5EF4-FFF2-40B4-BE49-F238E27FC236}">
                      <a16:creationId xmlns:a16="http://schemas.microsoft.com/office/drawing/2014/main" id="{675688F9-8329-4936-8397-9CA896F4E665}"/>
                    </a:ext>
                  </a:extLst>
                </p:cNvPr>
                <p:cNvSpPr/>
                <p:nvPr/>
              </p:nvSpPr>
              <p:spPr>
                <a:xfrm>
                  <a:off x="4732464" y="5115210"/>
                  <a:ext cx="210502" cy="205740"/>
                </a:xfrm>
                <a:custGeom>
                  <a:avLst/>
                  <a:gdLst>
                    <a:gd name="connsiteX0" fmla="*/ 28766 w 210502"/>
                    <a:gd name="connsiteY0" fmla="*/ 0 h 205740"/>
                    <a:gd name="connsiteX1" fmla="*/ 127921 w 210502"/>
                    <a:gd name="connsiteY1" fmla="*/ 49530 h 205740"/>
                    <a:gd name="connsiteX2" fmla="*/ 192596 w 210502"/>
                    <a:gd name="connsiteY2" fmla="*/ 57150 h 205740"/>
                    <a:gd name="connsiteX3" fmla="*/ 202978 w 210502"/>
                    <a:gd name="connsiteY3" fmla="*/ 46577 h 205740"/>
                    <a:gd name="connsiteX4" fmla="*/ 210503 w 210502"/>
                    <a:gd name="connsiteY4" fmla="*/ 52578 h 205740"/>
                    <a:gd name="connsiteX5" fmla="*/ 204502 w 210502"/>
                    <a:gd name="connsiteY5" fmla="*/ 96012 h 205740"/>
                    <a:gd name="connsiteX6" fmla="*/ 202978 w 210502"/>
                    <a:gd name="connsiteY6" fmla="*/ 96012 h 205740"/>
                    <a:gd name="connsiteX7" fmla="*/ 184976 w 210502"/>
                    <a:gd name="connsiteY7" fmla="*/ 82582 h 205740"/>
                    <a:gd name="connsiteX8" fmla="*/ 36195 w 210502"/>
                    <a:gd name="connsiteY8" fmla="*/ 100584 h 205740"/>
                    <a:gd name="connsiteX9" fmla="*/ 36195 w 210502"/>
                    <a:gd name="connsiteY9" fmla="*/ 102013 h 205740"/>
                    <a:gd name="connsiteX10" fmla="*/ 39243 w 210502"/>
                    <a:gd name="connsiteY10" fmla="*/ 102013 h 205740"/>
                    <a:gd name="connsiteX11" fmla="*/ 69342 w 210502"/>
                    <a:gd name="connsiteY11" fmla="*/ 114109 h 205740"/>
                    <a:gd name="connsiteX12" fmla="*/ 66294 w 210502"/>
                    <a:gd name="connsiteY12" fmla="*/ 114109 h 205740"/>
                    <a:gd name="connsiteX13" fmla="*/ 22670 w 210502"/>
                    <a:gd name="connsiteY13" fmla="*/ 130588 h 205740"/>
                    <a:gd name="connsiteX14" fmla="*/ 27051 w 210502"/>
                    <a:gd name="connsiteY14" fmla="*/ 135160 h 205740"/>
                    <a:gd name="connsiteX15" fmla="*/ 193929 w 210502"/>
                    <a:gd name="connsiteY15" fmla="*/ 156210 h 205740"/>
                    <a:gd name="connsiteX16" fmla="*/ 198501 w 210502"/>
                    <a:gd name="connsiteY16" fmla="*/ 162211 h 205740"/>
                    <a:gd name="connsiteX17" fmla="*/ 186500 w 210502"/>
                    <a:gd name="connsiteY17" fmla="*/ 205740 h 205740"/>
                    <a:gd name="connsiteX18" fmla="*/ 183547 w 210502"/>
                    <a:gd name="connsiteY18" fmla="*/ 205740 h 205740"/>
                    <a:gd name="connsiteX19" fmla="*/ 16669 w 210502"/>
                    <a:gd name="connsiteY19" fmla="*/ 162211 h 205740"/>
                    <a:gd name="connsiteX20" fmla="*/ 16669 w 210502"/>
                    <a:gd name="connsiteY20" fmla="*/ 171259 h 205740"/>
                    <a:gd name="connsiteX21" fmla="*/ 46672 w 210502"/>
                    <a:gd name="connsiteY21" fmla="*/ 198311 h 205740"/>
                    <a:gd name="connsiteX22" fmla="*/ 40577 w 210502"/>
                    <a:gd name="connsiteY22" fmla="*/ 198311 h 205740"/>
                    <a:gd name="connsiteX23" fmla="*/ 0 w 210502"/>
                    <a:gd name="connsiteY23" fmla="*/ 184975 h 205740"/>
                    <a:gd name="connsiteX24" fmla="*/ 24003 w 210502"/>
                    <a:gd name="connsiteY24" fmla="*/ 54197 h 205740"/>
                    <a:gd name="connsiteX25" fmla="*/ 102203 w 210502"/>
                    <a:gd name="connsiteY25" fmla="*/ 54197 h 205740"/>
                    <a:gd name="connsiteX26" fmla="*/ 102203 w 210502"/>
                    <a:gd name="connsiteY26" fmla="*/ 49530 h 205740"/>
                    <a:gd name="connsiteX27" fmla="*/ 26956 w 210502"/>
                    <a:gd name="connsiteY27" fmla="*/ 33052 h 205740"/>
                    <a:gd name="connsiteX28" fmla="*/ 23908 w 210502"/>
                    <a:gd name="connsiteY28" fmla="*/ 31528 h 205740"/>
                    <a:gd name="connsiteX29" fmla="*/ 22479 w 210502"/>
                    <a:gd name="connsiteY29" fmla="*/ 28575 h 205740"/>
                    <a:gd name="connsiteX30" fmla="*/ 28766 w 210502"/>
                    <a:gd name="connsiteY30" fmla="*/ 0 h 205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210502" h="205740">
                      <a:moveTo>
                        <a:pt x="28766" y="0"/>
                      </a:moveTo>
                      <a:cubicBezTo>
                        <a:pt x="61817" y="16574"/>
                        <a:pt x="94869" y="33147"/>
                        <a:pt x="127921" y="49530"/>
                      </a:cubicBezTo>
                      <a:cubicBezTo>
                        <a:pt x="149447" y="52197"/>
                        <a:pt x="170974" y="54483"/>
                        <a:pt x="192596" y="57150"/>
                      </a:cubicBezTo>
                      <a:cubicBezTo>
                        <a:pt x="196596" y="56293"/>
                        <a:pt x="200501" y="47339"/>
                        <a:pt x="202978" y="46577"/>
                      </a:cubicBezTo>
                      <a:cubicBezTo>
                        <a:pt x="208883" y="45053"/>
                        <a:pt x="208502" y="50197"/>
                        <a:pt x="210503" y="52578"/>
                      </a:cubicBezTo>
                      <a:cubicBezTo>
                        <a:pt x="208502" y="66961"/>
                        <a:pt x="206502" y="81534"/>
                        <a:pt x="204502" y="96012"/>
                      </a:cubicBezTo>
                      <a:lnTo>
                        <a:pt x="202978" y="96012"/>
                      </a:lnTo>
                      <a:cubicBezTo>
                        <a:pt x="197072" y="91630"/>
                        <a:pt x="190881" y="87058"/>
                        <a:pt x="184976" y="82582"/>
                      </a:cubicBezTo>
                      <a:cubicBezTo>
                        <a:pt x="152781" y="72866"/>
                        <a:pt x="51435" y="83725"/>
                        <a:pt x="36195" y="100584"/>
                      </a:cubicBezTo>
                      <a:lnTo>
                        <a:pt x="36195" y="102013"/>
                      </a:lnTo>
                      <a:lnTo>
                        <a:pt x="39243" y="102013"/>
                      </a:lnTo>
                      <a:cubicBezTo>
                        <a:pt x="49816" y="106013"/>
                        <a:pt x="64389" y="104108"/>
                        <a:pt x="69342" y="114109"/>
                      </a:cubicBezTo>
                      <a:lnTo>
                        <a:pt x="66294" y="114109"/>
                      </a:lnTo>
                      <a:cubicBezTo>
                        <a:pt x="47339" y="119444"/>
                        <a:pt x="34576" y="114967"/>
                        <a:pt x="22670" y="130588"/>
                      </a:cubicBezTo>
                      <a:cubicBezTo>
                        <a:pt x="24670" y="133541"/>
                        <a:pt x="24098" y="133159"/>
                        <a:pt x="27051" y="135160"/>
                      </a:cubicBezTo>
                      <a:cubicBezTo>
                        <a:pt x="53626" y="147352"/>
                        <a:pt x="168878" y="169736"/>
                        <a:pt x="193929" y="156210"/>
                      </a:cubicBezTo>
                      <a:cubicBezTo>
                        <a:pt x="195453" y="158020"/>
                        <a:pt x="196977" y="160115"/>
                        <a:pt x="198501" y="162211"/>
                      </a:cubicBezTo>
                      <a:cubicBezTo>
                        <a:pt x="194882" y="175355"/>
                        <a:pt x="194501" y="196596"/>
                        <a:pt x="186500" y="205740"/>
                      </a:cubicBezTo>
                      <a:lnTo>
                        <a:pt x="183547" y="205740"/>
                      </a:lnTo>
                      <a:cubicBezTo>
                        <a:pt x="170783" y="180689"/>
                        <a:pt x="56483" y="164592"/>
                        <a:pt x="16669" y="162211"/>
                      </a:cubicBezTo>
                      <a:lnTo>
                        <a:pt x="16669" y="171259"/>
                      </a:lnTo>
                      <a:cubicBezTo>
                        <a:pt x="23527" y="184880"/>
                        <a:pt x="41624" y="184690"/>
                        <a:pt x="46672" y="198311"/>
                      </a:cubicBezTo>
                      <a:lnTo>
                        <a:pt x="40577" y="198311"/>
                      </a:lnTo>
                      <a:cubicBezTo>
                        <a:pt x="26289" y="193834"/>
                        <a:pt x="8096" y="195834"/>
                        <a:pt x="0" y="184975"/>
                      </a:cubicBezTo>
                      <a:cubicBezTo>
                        <a:pt x="6287" y="160211"/>
                        <a:pt x="12668" y="64865"/>
                        <a:pt x="24003" y="54197"/>
                      </a:cubicBezTo>
                      <a:cubicBezTo>
                        <a:pt x="41529" y="71628"/>
                        <a:pt x="74771" y="61055"/>
                        <a:pt x="102203" y="54197"/>
                      </a:cubicBezTo>
                      <a:lnTo>
                        <a:pt x="102203" y="49530"/>
                      </a:lnTo>
                      <a:cubicBezTo>
                        <a:pt x="80486" y="41053"/>
                        <a:pt x="51054" y="11906"/>
                        <a:pt x="26956" y="33052"/>
                      </a:cubicBezTo>
                      <a:cubicBezTo>
                        <a:pt x="26003" y="32575"/>
                        <a:pt x="24955" y="32004"/>
                        <a:pt x="23908" y="31528"/>
                      </a:cubicBezTo>
                      <a:cubicBezTo>
                        <a:pt x="23432" y="30671"/>
                        <a:pt x="23051" y="29718"/>
                        <a:pt x="22479" y="28575"/>
                      </a:cubicBezTo>
                      <a:cubicBezTo>
                        <a:pt x="22955" y="18193"/>
                        <a:pt x="24384" y="6382"/>
                        <a:pt x="28766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9" name="任意多边形: 形状 108">
                  <a:extLst>
                    <a:ext uri="{FF2B5EF4-FFF2-40B4-BE49-F238E27FC236}">
                      <a16:creationId xmlns:a16="http://schemas.microsoft.com/office/drawing/2014/main" id="{A58560EA-D038-4ADF-AB8E-4E8364D481C0}"/>
                    </a:ext>
                  </a:extLst>
                </p:cNvPr>
                <p:cNvSpPr/>
                <p:nvPr/>
              </p:nvSpPr>
              <p:spPr>
                <a:xfrm>
                  <a:off x="2215007" y="5309139"/>
                  <a:ext cx="217182" cy="141255"/>
                </a:xfrm>
                <a:custGeom>
                  <a:avLst/>
                  <a:gdLst>
                    <a:gd name="connsiteX0" fmla="*/ 192310 w 217182"/>
                    <a:gd name="connsiteY0" fmla="*/ 0 h 141255"/>
                    <a:gd name="connsiteX1" fmla="*/ 216313 w 217182"/>
                    <a:gd name="connsiteY1" fmla="*/ 96203 h 141255"/>
                    <a:gd name="connsiteX2" fmla="*/ 66103 w 217182"/>
                    <a:gd name="connsiteY2" fmla="*/ 127730 h 141255"/>
                    <a:gd name="connsiteX3" fmla="*/ 49530 w 217182"/>
                    <a:gd name="connsiteY3" fmla="*/ 141256 h 141255"/>
                    <a:gd name="connsiteX4" fmla="*/ 46577 w 217182"/>
                    <a:gd name="connsiteY4" fmla="*/ 139732 h 141255"/>
                    <a:gd name="connsiteX5" fmla="*/ 42100 w 217182"/>
                    <a:gd name="connsiteY5" fmla="*/ 100775 h 141255"/>
                    <a:gd name="connsiteX6" fmla="*/ 201359 w 217182"/>
                    <a:gd name="connsiteY6" fmla="*/ 51149 h 141255"/>
                    <a:gd name="connsiteX7" fmla="*/ 10573 w 217182"/>
                    <a:gd name="connsiteY7" fmla="*/ 61627 h 141255"/>
                    <a:gd name="connsiteX8" fmla="*/ 0 w 217182"/>
                    <a:gd name="connsiteY8" fmla="*/ 34576 h 141255"/>
                    <a:gd name="connsiteX9" fmla="*/ 27051 w 217182"/>
                    <a:gd name="connsiteY9" fmla="*/ 12001 h 141255"/>
                    <a:gd name="connsiteX10" fmla="*/ 46577 w 217182"/>
                    <a:gd name="connsiteY10" fmla="*/ 18002 h 141255"/>
                    <a:gd name="connsiteX11" fmla="*/ 48101 w 217182"/>
                    <a:gd name="connsiteY11" fmla="*/ 21050 h 141255"/>
                    <a:gd name="connsiteX12" fmla="*/ 46577 w 217182"/>
                    <a:gd name="connsiteY12" fmla="*/ 25527 h 141255"/>
                    <a:gd name="connsiteX13" fmla="*/ 15049 w 217182"/>
                    <a:gd name="connsiteY13" fmla="*/ 37529 h 141255"/>
                    <a:gd name="connsiteX14" fmla="*/ 12001 w 217182"/>
                    <a:gd name="connsiteY14" fmla="*/ 43529 h 141255"/>
                    <a:gd name="connsiteX15" fmla="*/ 15049 w 217182"/>
                    <a:gd name="connsiteY15" fmla="*/ 46672 h 141255"/>
                    <a:gd name="connsiteX16" fmla="*/ 192310 w 217182"/>
                    <a:gd name="connsiteY16" fmla="*/ 0 h 1412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217182" h="141255">
                      <a:moveTo>
                        <a:pt x="192310" y="0"/>
                      </a:moveTo>
                      <a:cubicBezTo>
                        <a:pt x="201073" y="4000"/>
                        <a:pt x="221647" y="88487"/>
                        <a:pt x="216313" y="96203"/>
                      </a:cubicBezTo>
                      <a:cubicBezTo>
                        <a:pt x="197453" y="83820"/>
                        <a:pt x="88201" y="116586"/>
                        <a:pt x="66103" y="127730"/>
                      </a:cubicBezTo>
                      <a:cubicBezTo>
                        <a:pt x="58865" y="131540"/>
                        <a:pt x="57436" y="138017"/>
                        <a:pt x="49530" y="141256"/>
                      </a:cubicBezTo>
                      <a:cubicBezTo>
                        <a:pt x="48577" y="140779"/>
                        <a:pt x="47625" y="140303"/>
                        <a:pt x="46577" y="139732"/>
                      </a:cubicBezTo>
                      <a:cubicBezTo>
                        <a:pt x="44291" y="126016"/>
                        <a:pt x="36481" y="113252"/>
                        <a:pt x="42100" y="100775"/>
                      </a:cubicBezTo>
                      <a:cubicBezTo>
                        <a:pt x="69342" y="107633"/>
                        <a:pt x="190786" y="73724"/>
                        <a:pt x="201359" y="51149"/>
                      </a:cubicBezTo>
                      <a:cubicBezTo>
                        <a:pt x="183356" y="10478"/>
                        <a:pt x="49816" y="94869"/>
                        <a:pt x="10573" y="61627"/>
                      </a:cubicBezTo>
                      <a:cubicBezTo>
                        <a:pt x="2191" y="56674"/>
                        <a:pt x="191" y="47530"/>
                        <a:pt x="0" y="34576"/>
                      </a:cubicBezTo>
                      <a:cubicBezTo>
                        <a:pt x="8382" y="24575"/>
                        <a:pt x="15621" y="19145"/>
                        <a:pt x="27051" y="12001"/>
                      </a:cubicBezTo>
                      <a:cubicBezTo>
                        <a:pt x="38576" y="11811"/>
                        <a:pt x="40481" y="13716"/>
                        <a:pt x="46577" y="18002"/>
                      </a:cubicBezTo>
                      <a:cubicBezTo>
                        <a:pt x="47053" y="19050"/>
                        <a:pt x="47625" y="19907"/>
                        <a:pt x="48101" y="21050"/>
                      </a:cubicBezTo>
                      <a:cubicBezTo>
                        <a:pt x="47530" y="22479"/>
                        <a:pt x="46958" y="24003"/>
                        <a:pt x="46577" y="25527"/>
                      </a:cubicBezTo>
                      <a:cubicBezTo>
                        <a:pt x="39148" y="30861"/>
                        <a:pt x="23527" y="31528"/>
                        <a:pt x="15049" y="37529"/>
                      </a:cubicBezTo>
                      <a:cubicBezTo>
                        <a:pt x="12001" y="40481"/>
                        <a:pt x="13525" y="38100"/>
                        <a:pt x="12001" y="43529"/>
                      </a:cubicBezTo>
                      <a:cubicBezTo>
                        <a:pt x="13144" y="44672"/>
                        <a:pt x="14002" y="45529"/>
                        <a:pt x="15049" y="46672"/>
                      </a:cubicBezTo>
                      <a:cubicBezTo>
                        <a:pt x="39052" y="49340"/>
                        <a:pt x="186023" y="13621"/>
                        <a:pt x="192310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0" name="任意多边形: 形状 109">
                  <a:extLst>
                    <a:ext uri="{FF2B5EF4-FFF2-40B4-BE49-F238E27FC236}">
                      <a16:creationId xmlns:a16="http://schemas.microsoft.com/office/drawing/2014/main" id="{B9B635EE-50B4-4C49-B8FD-AC3503F6AB91}"/>
                    </a:ext>
                  </a:extLst>
                </p:cNvPr>
                <p:cNvSpPr/>
                <p:nvPr/>
              </p:nvSpPr>
              <p:spPr>
                <a:xfrm>
                  <a:off x="4717891" y="5316664"/>
                  <a:ext cx="193738" cy="90011"/>
                </a:xfrm>
                <a:custGeom>
                  <a:avLst/>
                  <a:gdLst>
                    <a:gd name="connsiteX0" fmla="*/ 10287 w 193738"/>
                    <a:gd name="connsiteY0" fmla="*/ 0 h 90011"/>
                    <a:gd name="connsiteX1" fmla="*/ 17812 w 193738"/>
                    <a:gd name="connsiteY1" fmla="*/ 0 h 90011"/>
                    <a:gd name="connsiteX2" fmla="*/ 169640 w 193738"/>
                    <a:gd name="connsiteY2" fmla="*/ 49625 h 90011"/>
                    <a:gd name="connsiteX3" fmla="*/ 192310 w 193738"/>
                    <a:gd name="connsiteY3" fmla="*/ 40481 h 90011"/>
                    <a:gd name="connsiteX4" fmla="*/ 193738 w 193738"/>
                    <a:gd name="connsiteY4" fmla="*/ 42005 h 90011"/>
                    <a:gd name="connsiteX5" fmla="*/ 183261 w 193738"/>
                    <a:gd name="connsiteY5" fmla="*/ 88487 h 90011"/>
                    <a:gd name="connsiteX6" fmla="*/ 177260 w 193738"/>
                    <a:gd name="connsiteY6" fmla="*/ 90011 h 90011"/>
                    <a:gd name="connsiteX7" fmla="*/ 169736 w 193738"/>
                    <a:gd name="connsiteY7" fmla="*/ 76391 h 90011"/>
                    <a:gd name="connsiteX8" fmla="*/ 13526 w 193738"/>
                    <a:gd name="connsiteY8" fmla="*/ 41910 h 90011"/>
                    <a:gd name="connsiteX9" fmla="*/ 2953 w 193738"/>
                    <a:gd name="connsiteY9" fmla="*/ 49435 h 90011"/>
                    <a:gd name="connsiteX10" fmla="*/ 0 w 193738"/>
                    <a:gd name="connsiteY10" fmla="*/ 44958 h 90011"/>
                    <a:gd name="connsiteX11" fmla="*/ 10287 w 193738"/>
                    <a:gd name="connsiteY11" fmla="*/ 0 h 900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93738" h="90011">
                      <a:moveTo>
                        <a:pt x="10287" y="0"/>
                      </a:moveTo>
                      <a:lnTo>
                        <a:pt x="17812" y="0"/>
                      </a:lnTo>
                      <a:cubicBezTo>
                        <a:pt x="25051" y="16859"/>
                        <a:pt x="143351" y="48006"/>
                        <a:pt x="169640" y="49625"/>
                      </a:cubicBezTo>
                      <a:cubicBezTo>
                        <a:pt x="177165" y="46577"/>
                        <a:pt x="184690" y="43625"/>
                        <a:pt x="192310" y="40481"/>
                      </a:cubicBezTo>
                      <a:cubicBezTo>
                        <a:pt x="192786" y="41053"/>
                        <a:pt x="193262" y="41434"/>
                        <a:pt x="193738" y="42005"/>
                      </a:cubicBezTo>
                      <a:cubicBezTo>
                        <a:pt x="193262" y="60770"/>
                        <a:pt x="187547" y="73533"/>
                        <a:pt x="183261" y="88487"/>
                      </a:cubicBezTo>
                      <a:cubicBezTo>
                        <a:pt x="181261" y="89154"/>
                        <a:pt x="179165" y="89535"/>
                        <a:pt x="177260" y="90011"/>
                      </a:cubicBezTo>
                      <a:cubicBezTo>
                        <a:pt x="175736" y="82772"/>
                        <a:pt x="175165" y="79724"/>
                        <a:pt x="169736" y="76391"/>
                      </a:cubicBezTo>
                      <a:cubicBezTo>
                        <a:pt x="157067" y="69628"/>
                        <a:pt x="28861" y="35719"/>
                        <a:pt x="13526" y="41910"/>
                      </a:cubicBezTo>
                      <a:cubicBezTo>
                        <a:pt x="9430" y="43434"/>
                        <a:pt x="9144" y="47530"/>
                        <a:pt x="2953" y="49435"/>
                      </a:cubicBezTo>
                      <a:cubicBezTo>
                        <a:pt x="2000" y="47911"/>
                        <a:pt x="857" y="46387"/>
                        <a:pt x="0" y="44958"/>
                      </a:cubicBezTo>
                      <a:cubicBezTo>
                        <a:pt x="3143" y="30004"/>
                        <a:pt x="6572" y="14954"/>
                        <a:pt x="10287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1" name="任意多边形: 形状 110">
                  <a:extLst>
                    <a:ext uri="{FF2B5EF4-FFF2-40B4-BE49-F238E27FC236}">
                      <a16:creationId xmlns:a16="http://schemas.microsoft.com/office/drawing/2014/main" id="{8BAD86DF-0A2E-4BB2-AEAE-05E3D033B0E6}"/>
                    </a:ext>
                  </a:extLst>
                </p:cNvPr>
                <p:cNvSpPr/>
                <p:nvPr/>
              </p:nvSpPr>
              <p:spPr>
                <a:xfrm>
                  <a:off x="4698936" y="5379815"/>
                  <a:ext cx="193138" cy="117348"/>
                </a:xfrm>
                <a:custGeom>
                  <a:avLst/>
                  <a:gdLst>
                    <a:gd name="connsiteX0" fmla="*/ 14193 w 193138"/>
                    <a:gd name="connsiteY0" fmla="*/ 0 h 117348"/>
                    <a:gd name="connsiteX1" fmla="*/ 63723 w 193138"/>
                    <a:gd name="connsiteY1" fmla="*/ 14954 h 117348"/>
                    <a:gd name="connsiteX2" fmla="*/ 60675 w 193138"/>
                    <a:gd name="connsiteY2" fmla="*/ 19431 h 117348"/>
                    <a:gd name="connsiteX3" fmla="*/ 12573 w 193138"/>
                    <a:gd name="connsiteY3" fmla="*/ 39053 h 117348"/>
                    <a:gd name="connsiteX4" fmla="*/ 56293 w 193138"/>
                    <a:gd name="connsiteY4" fmla="*/ 54197 h 117348"/>
                    <a:gd name="connsiteX5" fmla="*/ 101346 w 193138"/>
                    <a:gd name="connsiteY5" fmla="*/ 28480 h 117348"/>
                    <a:gd name="connsiteX6" fmla="*/ 190119 w 193138"/>
                    <a:gd name="connsiteY6" fmla="*/ 90107 h 117348"/>
                    <a:gd name="connsiteX7" fmla="*/ 177927 w 193138"/>
                    <a:gd name="connsiteY7" fmla="*/ 117348 h 117348"/>
                    <a:gd name="connsiteX8" fmla="*/ 176499 w 193138"/>
                    <a:gd name="connsiteY8" fmla="*/ 117348 h 117348"/>
                    <a:gd name="connsiteX9" fmla="*/ 126969 w 193138"/>
                    <a:gd name="connsiteY9" fmla="*/ 97822 h 117348"/>
                    <a:gd name="connsiteX10" fmla="*/ 132874 w 193138"/>
                    <a:gd name="connsiteY10" fmla="*/ 96298 h 117348"/>
                    <a:gd name="connsiteX11" fmla="*/ 174975 w 193138"/>
                    <a:gd name="connsiteY11" fmla="*/ 90202 h 117348"/>
                    <a:gd name="connsiteX12" fmla="*/ 180975 w 193138"/>
                    <a:gd name="connsiteY12" fmla="*/ 78200 h 117348"/>
                    <a:gd name="connsiteX13" fmla="*/ 180975 w 193138"/>
                    <a:gd name="connsiteY13" fmla="*/ 73819 h 117348"/>
                    <a:gd name="connsiteX14" fmla="*/ 140494 w 193138"/>
                    <a:gd name="connsiteY14" fmla="*/ 52673 h 117348"/>
                    <a:gd name="connsiteX15" fmla="*/ 77343 w 193138"/>
                    <a:gd name="connsiteY15" fmla="*/ 84106 h 117348"/>
                    <a:gd name="connsiteX16" fmla="*/ 667 w 193138"/>
                    <a:gd name="connsiteY16" fmla="*/ 43720 h 117348"/>
                    <a:gd name="connsiteX17" fmla="*/ 14193 w 193138"/>
                    <a:gd name="connsiteY17" fmla="*/ 0 h 1173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93138" h="117348">
                      <a:moveTo>
                        <a:pt x="14193" y="0"/>
                      </a:moveTo>
                      <a:cubicBezTo>
                        <a:pt x="30957" y="1429"/>
                        <a:pt x="50769" y="5905"/>
                        <a:pt x="63723" y="14954"/>
                      </a:cubicBezTo>
                      <a:cubicBezTo>
                        <a:pt x="62770" y="16478"/>
                        <a:pt x="61723" y="18002"/>
                        <a:pt x="60675" y="19431"/>
                      </a:cubicBezTo>
                      <a:cubicBezTo>
                        <a:pt x="42482" y="18002"/>
                        <a:pt x="4858" y="17240"/>
                        <a:pt x="12573" y="39053"/>
                      </a:cubicBezTo>
                      <a:cubicBezTo>
                        <a:pt x="17907" y="49721"/>
                        <a:pt x="35624" y="60293"/>
                        <a:pt x="56293" y="54197"/>
                      </a:cubicBezTo>
                      <a:cubicBezTo>
                        <a:pt x="71248" y="45625"/>
                        <a:pt x="86297" y="36957"/>
                        <a:pt x="101346" y="28480"/>
                      </a:cubicBezTo>
                      <a:cubicBezTo>
                        <a:pt x="142875" y="16383"/>
                        <a:pt x="207931" y="48292"/>
                        <a:pt x="190119" y="90107"/>
                      </a:cubicBezTo>
                      <a:cubicBezTo>
                        <a:pt x="185643" y="100489"/>
                        <a:pt x="181642" y="103918"/>
                        <a:pt x="177927" y="117348"/>
                      </a:cubicBezTo>
                      <a:lnTo>
                        <a:pt x="176499" y="117348"/>
                      </a:lnTo>
                      <a:cubicBezTo>
                        <a:pt x="164021" y="114205"/>
                        <a:pt x="131731" y="109061"/>
                        <a:pt x="126969" y="97822"/>
                      </a:cubicBezTo>
                      <a:cubicBezTo>
                        <a:pt x="128969" y="97346"/>
                        <a:pt x="130874" y="96774"/>
                        <a:pt x="132874" y="96298"/>
                      </a:cubicBezTo>
                      <a:cubicBezTo>
                        <a:pt x="148209" y="100679"/>
                        <a:pt x="161830" y="93631"/>
                        <a:pt x="174975" y="90202"/>
                      </a:cubicBezTo>
                      <a:cubicBezTo>
                        <a:pt x="176975" y="86296"/>
                        <a:pt x="179070" y="82296"/>
                        <a:pt x="180975" y="78200"/>
                      </a:cubicBezTo>
                      <a:lnTo>
                        <a:pt x="180975" y="73819"/>
                      </a:lnTo>
                      <a:cubicBezTo>
                        <a:pt x="175451" y="60484"/>
                        <a:pt x="159068" y="52673"/>
                        <a:pt x="140494" y="52673"/>
                      </a:cubicBezTo>
                      <a:cubicBezTo>
                        <a:pt x="122111" y="63341"/>
                        <a:pt x="99536" y="78962"/>
                        <a:pt x="77343" y="84106"/>
                      </a:cubicBezTo>
                      <a:cubicBezTo>
                        <a:pt x="48673" y="91154"/>
                        <a:pt x="5334" y="63627"/>
                        <a:pt x="667" y="43720"/>
                      </a:cubicBezTo>
                      <a:cubicBezTo>
                        <a:pt x="-3238" y="26479"/>
                        <a:pt x="11144" y="11621"/>
                        <a:pt x="14193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2" name="任意多边形: 形状 111">
                  <a:extLst>
                    <a:ext uri="{FF2B5EF4-FFF2-40B4-BE49-F238E27FC236}">
                      <a16:creationId xmlns:a16="http://schemas.microsoft.com/office/drawing/2014/main" id="{E9478E98-7D1D-4EDD-98D1-9CFF8E3F98F4}"/>
                    </a:ext>
                  </a:extLst>
                </p:cNvPr>
                <p:cNvSpPr/>
                <p:nvPr/>
              </p:nvSpPr>
              <p:spPr>
                <a:xfrm>
                  <a:off x="2268918" y="5457825"/>
                  <a:ext cx="186499" cy="102203"/>
                </a:xfrm>
                <a:custGeom>
                  <a:avLst/>
                  <a:gdLst>
                    <a:gd name="connsiteX0" fmla="*/ 172974 w 186499"/>
                    <a:gd name="connsiteY0" fmla="*/ 0 h 102203"/>
                    <a:gd name="connsiteX1" fmla="*/ 186500 w 186499"/>
                    <a:gd name="connsiteY1" fmla="*/ 1524 h 102203"/>
                    <a:gd name="connsiteX2" fmla="*/ 186500 w 186499"/>
                    <a:gd name="connsiteY2" fmla="*/ 2953 h 102203"/>
                    <a:gd name="connsiteX3" fmla="*/ 70675 w 186499"/>
                    <a:gd name="connsiteY3" fmla="*/ 72200 h 102203"/>
                    <a:gd name="connsiteX4" fmla="*/ 28670 w 186499"/>
                    <a:gd name="connsiteY4" fmla="*/ 102203 h 102203"/>
                    <a:gd name="connsiteX5" fmla="*/ 18097 w 186499"/>
                    <a:gd name="connsiteY5" fmla="*/ 66199 h 102203"/>
                    <a:gd name="connsiteX6" fmla="*/ 21050 w 186499"/>
                    <a:gd name="connsiteY6" fmla="*/ 63341 h 102203"/>
                    <a:gd name="connsiteX7" fmla="*/ 61722 w 186499"/>
                    <a:gd name="connsiteY7" fmla="*/ 48196 h 102203"/>
                    <a:gd name="connsiteX8" fmla="*/ 52673 w 186499"/>
                    <a:gd name="connsiteY8" fmla="*/ 19717 h 102203"/>
                    <a:gd name="connsiteX9" fmla="*/ 19431 w 186499"/>
                    <a:gd name="connsiteY9" fmla="*/ 24193 h 102203"/>
                    <a:gd name="connsiteX10" fmla="*/ 10382 w 186499"/>
                    <a:gd name="connsiteY10" fmla="*/ 37719 h 102203"/>
                    <a:gd name="connsiteX11" fmla="*/ 4381 w 186499"/>
                    <a:gd name="connsiteY11" fmla="*/ 34671 h 102203"/>
                    <a:gd name="connsiteX12" fmla="*/ 0 w 186499"/>
                    <a:gd name="connsiteY12" fmla="*/ 13716 h 102203"/>
                    <a:gd name="connsiteX13" fmla="*/ 1429 w 186499"/>
                    <a:gd name="connsiteY13" fmla="*/ 12097 h 102203"/>
                    <a:gd name="connsiteX14" fmla="*/ 172974 w 186499"/>
                    <a:gd name="connsiteY14" fmla="*/ 0 h 102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86499" h="102203">
                      <a:moveTo>
                        <a:pt x="172974" y="0"/>
                      </a:moveTo>
                      <a:cubicBezTo>
                        <a:pt x="177451" y="571"/>
                        <a:pt x="182023" y="1143"/>
                        <a:pt x="186500" y="1524"/>
                      </a:cubicBezTo>
                      <a:lnTo>
                        <a:pt x="186500" y="2953"/>
                      </a:lnTo>
                      <a:cubicBezTo>
                        <a:pt x="151162" y="30575"/>
                        <a:pt x="109252" y="47149"/>
                        <a:pt x="70675" y="72200"/>
                      </a:cubicBezTo>
                      <a:cubicBezTo>
                        <a:pt x="57721" y="80772"/>
                        <a:pt x="45244" y="97917"/>
                        <a:pt x="28670" y="102203"/>
                      </a:cubicBezTo>
                      <a:cubicBezTo>
                        <a:pt x="25051" y="91250"/>
                        <a:pt x="20479" y="79915"/>
                        <a:pt x="18097" y="66199"/>
                      </a:cubicBezTo>
                      <a:cubicBezTo>
                        <a:pt x="18955" y="65246"/>
                        <a:pt x="20098" y="64103"/>
                        <a:pt x="21050" y="63341"/>
                      </a:cubicBezTo>
                      <a:cubicBezTo>
                        <a:pt x="38862" y="66199"/>
                        <a:pt x="55150" y="60674"/>
                        <a:pt x="61722" y="48196"/>
                      </a:cubicBezTo>
                      <a:cubicBezTo>
                        <a:pt x="65627" y="38195"/>
                        <a:pt x="57721" y="25622"/>
                        <a:pt x="52673" y="19717"/>
                      </a:cubicBezTo>
                      <a:cubicBezTo>
                        <a:pt x="41529" y="21241"/>
                        <a:pt x="30575" y="22574"/>
                        <a:pt x="19431" y="24193"/>
                      </a:cubicBezTo>
                      <a:lnTo>
                        <a:pt x="10382" y="37719"/>
                      </a:lnTo>
                      <a:cubicBezTo>
                        <a:pt x="8477" y="36671"/>
                        <a:pt x="6382" y="35814"/>
                        <a:pt x="4381" y="34671"/>
                      </a:cubicBezTo>
                      <a:cubicBezTo>
                        <a:pt x="2953" y="27813"/>
                        <a:pt x="1429" y="20574"/>
                        <a:pt x="0" y="13716"/>
                      </a:cubicBezTo>
                      <a:cubicBezTo>
                        <a:pt x="476" y="13240"/>
                        <a:pt x="857" y="12668"/>
                        <a:pt x="1429" y="12097"/>
                      </a:cubicBezTo>
                      <a:cubicBezTo>
                        <a:pt x="32861" y="13049"/>
                        <a:pt x="150876" y="12287"/>
                        <a:pt x="172974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3" name="任意多边形: 形状 112">
                  <a:extLst>
                    <a:ext uri="{FF2B5EF4-FFF2-40B4-BE49-F238E27FC236}">
                      <a16:creationId xmlns:a16="http://schemas.microsoft.com/office/drawing/2014/main" id="{BF6A6837-4749-4C54-B479-5CC2FC02A165}"/>
                    </a:ext>
                  </a:extLst>
                </p:cNvPr>
                <p:cNvSpPr/>
                <p:nvPr/>
              </p:nvSpPr>
              <p:spPr>
                <a:xfrm>
                  <a:off x="4661789" y="5468397"/>
                  <a:ext cx="212026" cy="133921"/>
                </a:xfrm>
                <a:custGeom>
                  <a:avLst/>
                  <a:gdLst>
                    <a:gd name="connsiteX0" fmla="*/ 46768 w 212026"/>
                    <a:gd name="connsiteY0" fmla="*/ 0 h 133921"/>
                    <a:gd name="connsiteX1" fmla="*/ 122015 w 212026"/>
                    <a:gd name="connsiteY1" fmla="*/ 42005 h 133921"/>
                    <a:gd name="connsiteX2" fmla="*/ 210598 w 212026"/>
                    <a:gd name="connsiteY2" fmla="*/ 37529 h 133921"/>
                    <a:gd name="connsiteX3" fmla="*/ 212026 w 212026"/>
                    <a:gd name="connsiteY3" fmla="*/ 40576 h 133921"/>
                    <a:gd name="connsiteX4" fmla="*/ 198596 w 212026"/>
                    <a:gd name="connsiteY4" fmla="*/ 67628 h 133921"/>
                    <a:gd name="connsiteX5" fmla="*/ 123349 w 212026"/>
                    <a:gd name="connsiteY5" fmla="*/ 70675 h 133921"/>
                    <a:gd name="connsiteX6" fmla="*/ 123349 w 212026"/>
                    <a:gd name="connsiteY6" fmla="*/ 72200 h 133921"/>
                    <a:gd name="connsiteX7" fmla="*/ 124968 w 212026"/>
                    <a:gd name="connsiteY7" fmla="*/ 75247 h 133921"/>
                    <a:gd name="connsiteX8" fmla="*/ 171545 w 212026"/>
                    <a:gd name="connsiteY8" fmla="*/ 93154 h 133921"/>
                    <a:gd name="connsiteX9" fmla="*/ 192500 w 212026"/>
                    <a:gd name="connsiteY9" fmla="*/ 88678 h 133921"/>
                    <a:gd name="connsiteX10" fmla="*/ 177451 w 212026"/>
                    <a:gd name="connsiteY10" fmla="*/ 133921 h 133921"/>
                    <a:gd name="connsiteX11" fmla="*/ 169831 w 212026"/>
                    <a:gd name="connsiteY11" fmla="*/ 132302 h 133921"/>
                    <a:gd name="connsiteX12" fmla="*/ 0 w 212026"/>
                    <a:gd name="connsiteY12" fmla="*/ 72200 h 133921"/>
                    <a:gd name="connsiteX13" fmla="*/ 0 w 212026"/>
                    <a:gd name="connsiteY13" fmla="*/ 66199 h 133921"/>
                    <a:gd name="connsiteX14" fmla="*/ 46768 w 212026"/>
                    <a:gd name="connsiteY14" fmla="*/ 0 h 1339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12026" h="133921">
                      <a:moveTo>
                        <a:pt x="46768" y="0"/>
                      </a:moveTo>
                      <a:cubicBezTo>
                        <a:pt x="100203" y="0"/>
                        <a:pt x="93631" y="26003"/>
                        <a:pt x="122015" y="42005"/>
                      </a:cubicBezTo>
                      <a:cubicBezTo>
                        <a:pt x="151543" y="40576"/>
                        <a:pt x="181070" y="38957"/>
                        <a:pt x="210598" y="37529"/>
                      </a:cubicBezTo>
                      <a:cubicBezTo>
                        <a:pt x="211074" y="38481"/>
                        <a:pt x="211550" y="39433"/>
                        <a:pt x="212026" y="40576"/>
                      </a:cubicBezTo>
                      <a:cubicBezTo>
                        <a:pt x="210026" y="50292"/>
                        <a:pt x="206407" y="63151"/>
                        <a:pt x="198596" y="67628"/>
                      </a:cubicBezTo>
                      <a:cubicBezTo>
                        <a:pt x="173546" y="68580"/>
                        <a:pt x="148495" y="69628"/>
                        <a:pt x="123349" y="70675"/>
                      </a:cubicBezTo>
                      <a:lnTo>
                        <a:pt x="123349" y="72200"/>
                      </a:lnTo>
                      <a:cubicBezTo>
                        <a:pt x="123920" y="73057"/>
                        <a:pt x="124396" y="74104"/>
                        <a:pt x="124968" y="75247"/>
                      </a:cubicBezTo>
                      <a:cubicBezTo>
                        <a:pt x="140494" y="81153"/>
                        <a:pt x="155924" y="87249"/>
                        <a:pt x="171545" y="93154"/>
                      </a:cubicBezTo>
                      <a:cubicBezTo>
                        <a:pt x="185356" y="95441"/>
                        <a:pt x="182308" y="85249"/>
                        <a:pt x="192500" y="88678"/>
                      </a:cubicBezTo>
                      <a:cubicBezTo>
                        <a:pt x="187452" y="103727"/>
                        <a:pt x="182499" y="118682"/>
                        <a:pt x="177451" y="133921"/>
                      </a:cubicBezTo>
                      <a:cubicBezTo>
                        <a:pt x="174879" y="133255"/>
                        <a:pt x="172402" y="132779"/>
                        <a:pt x="169831" y="132302"/>
                      </a:cubicBezTo>
                      <a:cubicBezTo>
                        <a:pt x="161734" y="110300"/>
                        <a:pt x="32671" y="67818"/>
                        <a:pt x="0" y="72200"/>
                      </a:cubicBezTo>
                      <a:lnTo>
                        <a:pt x="0" y="66199"/>
                      </a:lnTo>
                      <a:cubicBezTo>
                        <a:pt x="14002" y="28766"/>
                        <a:pt x="15335" y="20574"/>
                        <a:pt x="46768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4" name="任意多边形: 形状 113">
                  <a:extLst>
                    <a:ext uri="{FF2B5EF4-FFF2-40B4-BE49-F238E27FC236}">
                      <a16:creationId xmlns:a16="http://schemas.microsoft.com/office/drawing/2014/main" id="{33A88CF7-8314-45C2-ACED-14AA932EC680}"/>
                    </a:ext>
                  </a:extLst>
                </p:cNvPr>
                <p:cNvSpPr/>
                <p:nvPr/>
              </p:nvSpPr>
              <p:spPr>
                <a:xfrm>
                  <a:off x="2338069" y="5471445"/>
                  <a:ext cx="48196" cy="25622"/>
                </a:xfrm>
                <a:custGeom>
                  <a:avLst/>
                  <a:gdLst>
                    <a:gd name="connsiteX0" fmla="*/ 39148 w 48196"/>
                    <a:gd name="connsiteY0" fmla="*/ 0 h 25622"/>
                    <a:gd name="connsiteX1" fmla="*/ 0 w 48196"/>
                    <a:gd name="connsiteY1" fmla="*/ 7525 h 25622"/>
                    <a:gd name="connsiteX2" fmla="*/ 0 w 48196"/>
                    <a:gd name="connsiteY2" fmla="*/ 12002 h 25622"/>
                    <a:gd name="connsiteX3" fmla="*/ 7620 w 48196"/>
                    <a:gd name="connsiteY3" fmla="*/ 25622 h 25622"/>
                    <a:gd name="connsiteX4" fmla="*/ 48197 w 48196"/>
                    <a:gd name="connsiteY4" fmla="*/ 6096 h 25622"/>
                    <a:gd name="connsiteX5" fmla="*/ 48197 w 48196"/>
                    <a:gd name="connsiteY5" fmla="*/ 2953 h 25622"/>
                    <a:gd name="connsiteX6" fmla="*/ 46673 w 48196"/>
                    <a:gd name="connsiteY6" fmla="*/ 95 h 25622"/>
                    <a:gd name="connsiteX7" fmla="*/ 39148 w 48196"/>
                    <a:gd name="connsiteY7" fmla="*/ 95 h 256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8196" h="25622">
                      <a:moveTo>
                        <a:pt x="39148" y="0"/>
                      </a:moveTo>
                      <a:cubicBezTo>
                        <a:pt x="26670" y="4286"/>
                        <a:pt x="6953" y="-2381"/>
                        <a:pt x="0" y="7525"/>
                      </a:cubicBezTo>
                      <a:lnTo>
                        <a:pt x="0" y="12002"/>
                      </a:lnTo>
                      <a:cubicBezTo>
                        <a:pt x="1143" y="19526"/>
                        <a:pt x="3143" y="21622"/>
                        <a:pt x="7620" y="25622"/>
                      </a:cubicBezTo>
                      <a:cubicBezTo>
                        <a:pt x="21146" y="19050"/>
                        <a:pt x="34576" y="12478"/>
                        <a:pt x="48197" y="6096"/>
                      </a:cubicBezTo>
                      <a:lnTo>
                        <a:pt x="48197" y="2953"/>
                      </a:lnTo>
                      <a:lnTo>
                        <a:pt x="46673" y="95"/>
                      </a:lnTo>
                      <a:lnTo>
                        <a:pt x="39148" y="9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5" name="任意多边形: 形状 114">
                  <a:extLst>
                    <a:ext uri="{FF2B5EF4-FFF2-40B4-BE49-F238E27FC236}">
                      <a16:creationId xmlns:a16="http://schemas.microsoft.com/office/drawing/2014/main" id="{E5E1EDB7-4D0F-493A-97B3-6766674C1A54}"/>
                    </a:ext>
                  </a:extLst>
                </p:cNvPr>
                <p:cNvSpPr/>
                <p:nvPr/>
              </p:nvSpPr>
              <p:spPr>
                <a:xfrm>
                  <a:off x="4687506" y="5492426"/>
                  <a:ext cx="73723" cy="37158"/>
                </a:xfrm>
                <a:custGeom>
                  <a:avLst/>
                  <a:gdLst>
                    <a:gd name="connsiteX0" fmla="*/ 7429 w 73723"/>
                    <a:gd name="connsiteY0" fmla="*/ 69 h 37158"/>
                    <a:gd name="connsiteX1" fmla="*/ 0 w 73723"/>
                    <a:gd name="connsiteY1" fmla="*/ 6070 h 37158"/>
                    <a:gd name="connsiteX2" fmla="*/ 0 w 73723"/>
                    <a:gd name="connsiteY2" fmla="*/ 13690 h 37158"/>
                    <a:gd name="connsiteX3" fmla="*/ 69056 w 73723"/>
                    <a:gd name="connsiteY3" fmla="*/ 36264 h 37158"/>
                    <a:gd name="connsiteX4" fmla="*/ 73724 w 73723"/>
                    <a:gd name="connsiteY4" fmla="*/ 31692 h 37158"/>
                    <a:gd name="connsiteX5" fmla="*/ 7429 w 73723"/>
                    <a:gd name="connsiteY5" fmla="*/ 69 h 371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3723" h="37158">
                      <a:moveTo>
                        <a:pt x="7429" y="69"/>
                      </a:moveTo>
                      <a:cubicBezTo>
                        <a:pt x="5048" y="2070"/>
                        <a:pt x="2572" y="4165"/>
                        <a:pt x="0" y="6070"/>
                      </a:cubicBezTo>
                      <a:lnTo>
                        <a:pt x="0" y="13690"/>
                      </a:lnTo>
                      <a:cubicBezTo>
                        <a:pt x="16193" y="20167"/>
                        <a:pt x="49721" y="41789"/>
                        <a:pt x="69056" y="36264"/>
                      </a:cubicBezTo>
                      <a:cubicBezTo>
                        <a:pt x="72200" y="34264"/>
                        <a:pt x="71628" y="34645"/>
                        <a:pt x="73724" y="31692"/>
                      </a:cubicBezTo>
                      <a:cubicBezTo>
                        <a:pt x="69913" y="7880"/>
                        <a:pt x="36195" y="-883"/>
                        <a:pt x="7429" y="6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6" name="任意多边形: 形状 115">
                  <a:extLst>
                    <a:ext uri="{FF2B5EF4-FFF2-40B4-BE49-F238E27FC236}">
                      <a16:creationId xmlns:a16="http://schemas.microsoft.com/office/drawing/2014/main" id="{A3DE033D-4958-401D-8C64-31515D857320}"/>
                    </a:ext>
                  </a:extLst>
                </p:cNvPr>
                <p:cNvSpPr/>
                <p:nvPr/>
              </p:nvSpPr>
              <p:spPr>
                <a:xfrm>
                  <a:off x="2306162" y="5518023"/>
                  <a:ext cx="196150" cy="145922"/>
                </a:xfrm>
                <a:custGeom>
                  <a:avLst/>
                  <a:gdLst>
                    <a:gd name="connsiteX0" fmla="*/ 158114 w 196150"/>
                    <a:gd name="connsiteY0" fmla="*/ 0 h 145922"/>
                    <a:gd name="connsiteX1" fmla="*/ 162686 w 196150"/>
                    <a:gd name="connsiteY1" fmla="*/ 0 h 145922"/>
                    <a:gd name="connsiteX2" fmla="*/ 173259 w 196150"/>
                    <a:gd name="connsiteY2" fmla="*/ 27051 h 145922"/>
                    <a:gd name="connsiteX3" fmla="*/ 104012 w 196150"/>
                    <a:gd name="connsiteY3" fmla="*/ 100774 h 145922"/>
                    <a:gd name="connsiteX4" fmla="*/ 106965 w 196150"/>
                    <a:gd name="connsiteY4" fmla="*/ 108299 h 145922"/>
                    <a:gd name="connsiteX5" fmla="*/ 182213 w 196150"/>
                    <a:gd name="connsiteY5" fmla="*/ 75152 h 145922"/>
                    <a:gd name="connsiteX6" fmla="*/ 188213 w 196150"/>
                    <a:gd name="connsiteY6" fmla="*/ 66008 h 145922"/>
                    <a:gd name="connsiteX7" fmla="*/ 195643 w 196150"/>
                    <a:gd name="connsiteY7" fmla="*/ 91630 h 145922"/>
                    <a:gd name="connsiteX8" fmla="*/ 30289 w 196150"/>
                    <a:gd name="connsiteY8" fmla="*/ 145923 h 145922"/>
                    <a:gd name="connsiteX9" fmla="*/ 28765 w 196150"/>
                    <a:gd name="connsiteY9" fmla="*/ 144399 h 145922"/>
                    <a:gd name="connsiteX10" fmla="*/ 28765 w 196150"/>
                    <a:gd name="connsiteY10" fmla="*/ 139827 h 145922"/>
                    <a:gd name="connsiteX11" fmla="*/ 117442 w 196150"/>
                    <a:gd name="connsiteY11" fmla="*/ 40672 h 145922"/>
                    <a:gd name="connsiteX12" fmla="*/ 117442 w 196150"/>
                    <a:gd name="connsiteY12" fmla="*/ 39148 h 145922"/>
                    <a:gd name="connsiteX13" fmla="*/ 9238 w 196150"/>
                    <a:gd name="connsiteY13" fmla="*/ 90297 h 145922"/>
                    <a:gd name="connsiteX14" fmla="*/ 4666 w 196150"/>
                    <a:gd name="connsiteY14" fmla="*/ 84391 h 145922"/>
                    <a:gd name="connsiteX15" fmla="*/ 285 w 196150"/>
                    <a:gd name="connsiteY15" fmla="*/ 64770 h 145922"/>
                    <a:gd name="connsiteX16" fmla="*/ 1714 w 196150"/>
                    <a:gd name="connsiteY16" fmla="*/ 64770 h 145922"/>
                    <a:gd name="connsiteX17" fmla="*/ 158114 w 196150"/>
                    <a:gd name="connsiteY17" fmla="*/ 0 h 145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96150" h="145922">
                      <a:moveTo>
                        <a:pt x="158114" y="0"/>
                      </a:moveTo>
                      <a:lnTo>
                        <a:pt x="162686" y="0"/>
                      </a:lnTo>
                      <a:cubicBezTo>
                        <a:pt x="166401" y="3905"/>
                        <a:pt x="176021" y="18288"/>
                        <a:pt x="173259" y="27051"/>
                      </a:cubicBezTo>
                      <a:cubicBezTo>
                        <a:pt x="150209" y="51625"/>
                        <a:pt x="127158" y="76200"/>
                        <a:pt x="104012" y="100774"/>
                      </a:cubicBezTo>
                      <a:cubicBezTo>
                        <a:pt x="104965" y="106299"/>
                        <a:pt x="104584" y="105346"/>
                        <a:pt x="106965" y="108299"/>
                      </a:cubicBezTo>
                      <a:cubicBezTo>
                        <a:pt x="129158" y="97726"/>
                        <a:pt x="166592" y="92678"/>
                        <a:pt x="182213" y="75152"/>
                      </a:cubicBezTo>
                      <a:cubicBezTo>
                        <a:pt x="184498" y="72580"/>
                        <a:pt x="181641" y="64389"/>
                        <a:pt x="188213" y="66008"/>
                      </a:cubicBezTo>
                      <a:cubicBezTo>
                        <a:pt x="195071" y="68008"/>
                        <a:pt x="197262" y="84963"/>
                        <a:pt x="195643" y="91630"/>
                      </a:cubicBezTo>
                      <a:cubicBezTo>
                        <a:pt x="136397" y="84010"/>
                        <a:pt x="87629" y="136112"/>
                        <a:pt x="30289" y="145923"/>
                      </a:cubicBezTo>
                      <a:cubicBezTo>
                        <a:pt x="29813" y="145351"/>
                        <a:pt x="29241" y="144780"/>
                        <a:pt x="28765" y="144399"/>
                      </a:cubicBezTo>
                      <a:lnTo>
                        <a:pt x="28765" y="139827"/>
                      </a:lnTo>
                      <a:cubicBezTo>
                        <a:pt x="58197" y="106680"/>
                        <a:pt x="87820" y="73723"/>
                        <a:pt x="117442" y="40672"/>
                      </a:cubicBezTo>
                      <a:lnTo>
                        <a:pt x="117442" y="39148"/>
                      </a:lnTo>
                      <a:cubicBezTo>
                        <a:pt x="77914" y="42386"/>
                        <a:pt x="32098" y="67818"/>
                        <a:pt x="9238" y="90297"/>
                      </a:cubicBezTo>
                      <a:cubicBezTo>
                        <a:pt x="7714" y="88297"/>
                        <a:pt x="6286" y="86296"/>
                        <a:pt x="4666" y="84391"/>
                      </a:cubicBezTo>
                      <a:cubicBezTo>
                        <a:pt x="761" y="78391"/>
                        <a:pt x="-667" y="71818"/>
                        <a:pt x="285" y="64770"/>
                      </a:cubicBezTo>
                      <a:lnTo>
                        <a:pt x="1714" y="64770"/>
                      </a:lnTo>
                      <a:cubicBezTo>
                        <a:pt x="26288" y="75628"/>
                        <a:pt x="145732" y="19717"/>
                        <a:pt x="158114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7" name="任意多边形: 形状 116">
                  <a:extLst>
                    <a:ext uri="{FF2B5EF4-FFF2-40B4-BE49-F238E27FC236}">
                      <a16:creationId xmlns:a16="http://schemas.microsoft.com/office/drawing/2014/main" id="{F1F17F3B-141F-4565-A7A7-6A7E4051B4D0}"/>
                    </a:ext>
                  </a:extLst>
                </p:cNvPr>
                <p:cNvSpPr/>
                <p:nvPr/>
              </p:nvSpPr>
              <p:spPr>
                <a:xfrm>
                  <a:off x="4546250" y="5554217"/>
                  <a:ext cx="277844" cy="309657"/>
                </a:xfrm>
                <a:custGeom>
                  <a:avLst/>
                  <a:gdLst>
                    <a:gd name="connsiteX0" fmla="*/ 0 w 277844"/>
                    <a:gd name="connsiteY0" fmla="*/ 214979 h 309657"/>
                    <a:gd name="connsiteX1" fmla="*/ 50959 w 277844"/>
                    <a:gd name="connsiteY1" fmla="*/ 127730 h 309657"/>
                    <a:gd name="connsiteX2" fmla="*/ 54007 w 277844"/>
                    <a:gd name="connsiteY2" fmla="*/ 129159 h 309657"/>
                    <a:gd name="connsiteX3" fmla="*/ 58579 w 277844"/>
                    <a:gd name="connsiteY3" fmla="*/ 142780 h 309657"/>
                    <a:gd name="connsiteX4" fmla="*/ 148685 w 277844"/>
                    <a:gd name="connsiteY4" fmla="*/ 162306 h 309657"/>
                    <a:gd name="connsiteX5" fmla="*/ 85630 w 277844"/>
                    <a:gd name="connsiteY5" fmla="*/ 105156 h 309657"/>
                    <a:gd name="connsiteX6" fmla="*/ 61627 w 277844"/>
                    <a:gd name="connsiteY6" fmla="*/ 102203 h 309657"/>
                    <a:gd name="connsiteX7" fmla="*/ 108204 w 277844"/>
                    <a:gd name="connsiteY7" fmla="*/ 0 h 309657"/>
                    <a:gd name="connsiteX8" fmla="*/ 156210 w 277844"/>
                    <a:gd name="connsiteY8" fmla="*/ 19621 h 309657"/>
                    <a:gd name="connsiteX9" fmla="*/ 153162 w 277844"/>
                    <a:gd name="connsiteY9" fmla="*/ 24098 h 309657"/>
                    <a:gd name="connsiteX10" fmla="*/ 100489 w 277844"/>
                    <a:gd name="connsiteY10" fmla="*/ 39243 h 309657"/>
                    <a:gd name="connsiteX11" fmla="*/ 101917 w 277844"/>
                    <a:gd name="connsiteY11" fmla="*/ 48387 h 309657"/>
                    <a:gd name="connsiteX12" fmla="*/ 163639 w 277844"/>
                    <a:gd name="connsiteY12" fmla="*/ 73724 h 309657"/>
                    <a:gd name="connsiteX13" fmla="*/ 166592 w 277844"/>
                    <a:gd name="connsiteY13" fmla="*/ 66389 h 309657"/>
                    <a:gd name="connsiteX14" fmla="*/ 147066 w 277844"/>
                    <a:gd name="connsiteY14" fmla="*/ 43815 h 309657"/>
                    <a:gd name="connsiteX15" fmla="*/ 148495 w 277844"/>
                    <a:gd name="connsiteY15" fmla="*/ 40862 h 309657"/>
                    <a:gd name="connsiteX16" fmla="*/ 219075 w 277844"/>
                    <a:gd name="connsiteY16" fmla="*/ 73819 h 309657"/>
                    <a:gd name="connsiteX17" fmla="*/ 183071 w 277844"/>
                    <a:gd name="connsiteY17" fmla="*/ 75343 h 309657"/>
                    <a:gd name="connsiteX18" fmla="*/ 181642 w 277844"/>
                    <a:gd name="connsiteY18" fmla="*/ 78391 h 309657"/>
                    <a:gd name="connsiteX19" fmla="*/ 181642 w 277844"/>
                    <a:gd name="connsiteY19" fmla="*/ 81439 h 309657"/>
                    <a:gd name="connsiteX20" fmla="*/ 249269 w 277844"/>
                    <a:gd name="connsiteY20" fmla="*/ 110014 h 309657"/>
                    <a:gd name="connsiteX21" fmla="*/ 256699 w 277844"/>
                    <a:gd name="connsiteY21" fmla="*/ 99441 h 309657"/>
                    <a:gd name="connsiteX22" fmla="*/ 234220 w 277844"/>
                    <a:gd name="connsiteY22" fmla="*/ 51245 h 309657"/>
                    <a:gd name="connsiteX23" fmla="*/ 277844 w 277844"/>
                    <a:gd name="connsiteY23" fmla="*/ 69342 h 309657"/>
                    <a:gd name="connsiteX24" fmla="*/ 246316 w 277844"/>
                    <a:gd name="connsiteY24" fmla="*/ 146018 h 309657"/>
                    <a:gd name="connsiteX25" fmla="*/ 241649 w 277844"/>
                    <a:gd name="connsiteY25" fmla="*/ 147447 h 309657"/>
                    <a:gd name="connsiteX26" fmla="*/ 82391 w 277844"/>
                    <a:gd name="connsiteY26" fmla="*/ 78391 h 309657"/>
                    <a:gd name="connsiteX27" fmla="*/ 79438 w 277844"/>
                    <a:gd name="connsiteY27" fmla="*/ 82772 h 309657"/>
                    <a:gd name="connsiteX28" fmla="*/ 79438 w 277844"/>
                    <a:gd name="connsiteY28" fmla="*/ 88773 h 309657"/>
                    <a:gd name="connsiteX29" fmla="*/ 174117 w 277844"/>
                    <a:gd name="connsiteY29" fmla="*/ 164116 h 309657"/>
                    <a:gd name="connsiteX30" fmla="*/ 220694 w 277844"/>
                    <a:gd name="connsiteY30" fmla="*/ 203073 h 309657"/>
                    <a:gd name="connsiteX31" fmla="*/ 220694 w 277844"/>
                    <a:gd name="connsiteY31" fmla="*/ 209074 h 309657"/>
                    <a:gd name="connsiteX32" fmla="*/ 217741 w 277844"/>
                    <a:gd name="connsiteY32" fmla="*/ 209074 h 309657"/>
                    <a:gd name="connsiteX33" fmla="*/ 192119 w 277844"/>
                    <a:gd name="connsiteY33" fmla="*/ 203073 h 309657"/>
                    <a:gd name="connsiteX34" fmla="*/ 31242 w 277844"/>
                    <a:gd name="connsiteY34" fmla="*/ 172974 h 309657"/>
                    <a:gd name="connsiteX35" fmla="*/ 31242 w 277844"/>
                    <a:gd name="connsiteY35" fmla="*/ 174498 h 309657"/>
                    <a:gd name="connsiteX36" fmla="*/ 31242 w 277844"/>
                    <a:gd name="connsiteY36" fmla="*/ 181928 h 309657"/>
                    <a:gd name="connsiteX37" fmla="*/ 162115 w 277844"/>
                    <a:gd name="connsiteY37" fmla="*/ 267557 h 309657"/>
                    <a:gd name="connsiteX38" fmla="*/ 184785 w 277844"/>
                    <a:gd name="connsiteY38" fmla="*/ 267557 h 309657"/>
                    <a:gd name="connsiteX39" fmla="*/ 184785 w 277844"/>
                    <a:gd name="connsiteY39" fmla="*/ 269081 h 309657"/>
                    <a:gd name="connsiteX40" fmla="*/ 160591 w 277844"/>
                    <a:gd name="connsiteY40" fmla="*/ 309658 h 309657"/>
                    <a:gd name="connsiteX41" fmla="*/ 153067 w 277844"/>
                    <a:gd name="connsiteY41" fmla="*/ 308134 h 309657"/>
                    <a:gd name="connsiteX42" fmla="*/ 0 w 277844"/>
                    <a:gd name="connsiteY42" fmla="*/ 214979 h 3096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</a:cxnLst>
                  <a:rect l="l" t="t" r="r" b="b"/>
                  <a:pathLst>
                    <a:path w="277844" h="309657">
                      <a:moveTo>
                        <a:pt x="0" y="214979"/>
                      </a:moveTo>
                      <a:cubicBezTo>
                        <a:pt x="1238" y="197453"/>
                        <a:pt x="39243" y="137922"/>
                        <a:pt x="50959" y="127730"/>
                      </a:cubicBezTo>
                      <a:lnTo>
                        <a:pt x="54007" y="129159"/>
                      </a:lnTo>
                      <a:cubicBezTo>
                        <a:pt x="55531" y="133731"/>
                        <a:pt x="56959" y="138208"/>
                        <a:pt x="58579" y="142780"/>
                      </a:cubicBezTo>
                      <a:cubicBezTo>
                        <a:pt x="87249" y="150304"/>
                        <a:pt x="115443" y="160306"/>
                        <a:pt x="148685" y="162306"/>
                      </a:cubicBezTo>
                      <a:cubicBezTo>
                        <a:pt x="145732" y="151924"/>
                        <a:pt x="95536" y="109061"/>
                        <a:pt x="85630" y="105156"/>
                      </a:cubicBezTo>
                      <a:cubicBezTo>
                        <a:pt x="73533" y="100584"/>
                        <a:pt x="68675" y="108680"/>
                        <a:pt x="61627" y="102203"/>
                      </a:cubicBezTo>
                      <a:cubicBezTo>
                        <a:pt x="74295" y="70390"/>
                        <a:pt x="87535" y="26194"/>
                        <a:pt x="108204" y="0"/>
                      </a:cubicBezTo>
                      <a:cubicBezTo>
                        <a:pt x="124015" y="667"/>
                        <a:pt x="146495" y="10954"/>
                        <a:pt x="156210" y="19621"/>
                      </a:cubicBezTo>
                      <a:cubicBezTo>
                        <a:pt x="155162" y="21050"/>
                        <a:pt x="154114" y="22670"/>
                        <a:pt x="153162" y="24098"/>
                      </a:cubicBezTo>
                      <a:cubicBezTo>
                        <a:pt x="124492" y="21050"/>
                        <a:pt x="116014" y="13430"/>
                        <a:pt x="100489" y="39243"/>
                      </a:cubicBezTo>
                      <a:cubicBezTo>
                        <a:pt x="100965" y="42291"/>
                        <a:pt x="101441" y="45244"/>
                        <a:pt x="101917" y="48387"/>
                      </a:cubicBezTo>
                      <a:cubicBezTo>
                        <a:pt x="119348" y="57721"/>
                        <a:pt x="141161" y="71247"/>
                        <a:pt x="163639" y="73724"/>
                      </a:cubicBezTo>
                      <a:cubicBezTo>
                        <a:pt x="166021" y="70771"/>
                        <a:pt x="165545" y="71723"/>
                        <a:pt x="166592" y="66389"/>
                      </a:cubicBezTo>
                      <a:cubicBezTo>
                        <a:pt x="161639" y="54388"/>
                        <a:pt x="154400" y="52292"/>
                        <a:pt x="147066" y="43815"/>
                      </a:cubicBezTo>
                      <a:cubicBezTo>
                        <a:pt x="147542" y="42958"/>
                        <a:pt x="148019" y="41815"/>
                        <a:pt x="148495" y="40862"/>
                      </a:cubicBezTo>
                      <a:cubicBezTo>
                        <a:pt x="165163" y="41910"/>
                        <a:pt x="214027" y="60484"/>
                        <a:pt x="219075" y="73819"/>
                      </a:cubicBezTo>
                      <a:cubicBezTo>
                        <a:pt x="205169" y="73247"/>
                        <a:pt x="194786" y="72676"/>
                        <a:pt x="183071" y="75343"/>
                      </a:cubicBezTo>
                      <a:cubicBezTo>
                        <a:pt x="182594" y="76391"/>
                        <a:pt x="182118" y="77438"/>
                        <a:pt x="181642" y="78391"/>
                      </a:cubicBezTo>
                      <a:lnTo>
                        <a:pt x="181642" y="81439"/>
                      </a:lnTo>
                      <a:cubicBezTo>
                        <a:pt x="199834" y="93440"/>
                        <a:pt x="223742" y="106299"/>
                        <a:pt x="249269" y="110014"/>
                      </a:cubicBezTo>
                      <a:cubicBezTo>
                        <a:pt x="251841" y="106394"/>
                        <a:pt x="254222" y="102870"/>
                        <a:pt x="256699" y="99441"/>
                      </a:cubicBezTo>
                      <a:cubicBezTo>
                        <a:pt x="268129" y="77533"/>
                        <a:pt x="241935" y="64294"/>
                        <a:pt x="234220" y="51245"/>
                      </a:cubicBezTo>
                      <a:cubicBezTo>
                        <a:pt x="242792" y="45625"/>
                        <a:pt x="270796" y="62008"/>
                        <a:pt x="277844" y="69342"/>
                      </a:cubicBezTo>
                      <a:cubicBezTo>
                        <a:pt x="277844" y="86773"/>
                        <a:pt x="255937" y="139256"/>
                        <a:pt x="246316" y="146018"/>
                      </a:cubicBezTo>
                      <a:cubicBezTo>
                        <a:pt x="244792" y="146495"/>
                        <a:pt x="243364" y="146971"/>
                        <a:pt x="241649" y="147447"/>
                      </a:cubicBezTo>
                      <a:cubicBezTo>
                        <a:pt x="232696" y="130969"/>
                        <a:pt x="100870" y="70485"/>
                        <a:pt x="82391" y="78391"/>
                      </a:cubicBezTo>
                      <a:cubicBezTo>
                        <a:pt x="81344" y="79820"/>
                        <a:pt x="80391" y="81439"/>
                        <a:pt x="79438" y="82772"/>
                      </a:cubicBezTo>
                      <a:lnTo>
                        <a:pt x="79438" y="88773"/>
                      </a:lnTo>
                      <a:cubicBezTo>
                        <a:pt x="110585" y="114014"/>
                        <a:pt x="141541" y="139541"/>
                        <a:pt x="174117" y="164116"/>
                      </a:cubicBezTo>
                      <a:cubicBezTo>
                        <a:pt x="189643" y="177165"/>
                        <a:pt x="205169" y="190119"/>
                        <a:pt x="220694" y="203073"/>
                      </a:cubicBezTo>
                      <a:lnTo>
                        <a:pt x="220694" y="209074"/>
                      </a:lnTo>
                      <a:lnTo>
                        <a:pt x="217741" y="209074"/>
                      </a:lnTo>
                      <a:cubicBezTo>
                        <a:pt x="209264" y="211455"/>
                        <a:pt x="201739" y="204978"/>
                        <a:pt x="192119" y="203073"/>
                      </a:cubicBezTo>
                      <a:cubicBezTo>
                        <a:pt x="151829" y="195263"/>
                        <a:pt x="68199" y="161449"/>
                        <a:pt x="31242" y="172974"/>
                      </a:cubicBezTo>
                      <a:lnTo>
                        <a:pt x="31242" y="174498"/>
                      </a:lnTo>
                      <a:lnTo>
                        <a:pt x="31242" y="181928"/>
                      </a:lnTo>
                      <a:cubicBezTo>
                        <a:pt x="35147" y="193834"/>
                        <a:pt x="145828" y="263366"/>
                        <a:pt x="162115" y="267557"/>
                      </a:cubicBezTo>
                      <a:lnTo>
                        <a:pt x="184785" y="267557"/>
                      </a:lnTo>
                      <a:lnTo>
                        <a:pt x="184785" y="269081"/>
                      </a:lnTo>
                      <a:cubicBezTo>
                        <a:pt x="182689" y="283083"/>
                        <a:pt x="169545" y="301562"/>
                        <a:pt x="160591" y="309658"/>
                      </a:cubicBezTo>
                      <a:cubicBezTo>
                        <a:pt x="158115" y="309182"/>
                        <a:pt x="155638" y="308705"/>
                        <a:pt x="153067" y="308134"/>
                      </a:cubicBezTo>
                      <a:cubicBezTo>
                        <a:pt x="151543" y="283464"/>
                        <a:pt x="26765" y="213170"/>
                        <a:pt x="0" y="214979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8" name="任意多边形: 形状 117">
                  <a:extLst>
                    <a:ext uri="{FF2B5EF4-FFF2-40B4-BE49-F238E27FC236}">
                      <a16:creationId xmlns:a16="http://schemas.microsoft.com/office/drawing/2014/main" id="{E454E1E3-601B-432B-9AD4-E0CEFB505F50}"/>
                    </a:ext>
                  </a:extLst>
                </p:cNvPr>
                <p:cNvSpPr/>
                <p:nvPr/>
              </p:nvSpPr>
              <p:spPr>
                <a:xfrm>
                  <a:off x="2366549" y="5692235"/>
                  <a:ext cx="180593" cy="126396"/>
                </a:xfrm>
                <a:custGeom>
                  <a:avLst/>
                  <a:gdLst>
                    <a:gd name="connsiteX0" fmla="*/ 162401 w 180593"/>
                    <a:gd name="connsiteY0" fmla="*/ 94 h 126396"/>
                    <a:gd name="connsiteX1" fmla="*/ 180594 w 180593"/>
                    <a:gd name="connsiteY1" fmla="*/ 3143 h 126396"/>
                    <a:gd name="connsiteX2" fmla="*/ 46672 w 180593"/>
                    <a:gd name="connsiteY2" fmla="*/ 126396 h 126396"/>
                    <a:gd name="connsiteX3" fmla="*/ 37624 w 180593"/>
                    <a:gd name="connsiteY3" fmla="*/ 123443 h 126396"/>
                    <a:gd name="connsiteX4" fmla="*/ 27051 w 180593"/>
                    <a:gd name="connsiteY4" fmla="*/ 85915 h 126396"/>
                    <a:gd name="connsiteX5" fmla="*/ 66294 w 180593"/>
                    <a:gd name="connsiteY5" fmla="*/ 66293 h 126396"/>
                    <a:gd name="connsiteX6" fmla="*/ 55626 w 180593"/>
                    <a:gd name="connsiteY6" fmla="*/ 40576 h 126396"/>
                    <a:gd name="connsiteX7" fmla="*/ 7620 w 180593"/>
                    <a:gd name="connsiteY7" fmla="*/ 57244 h 126396"/>
                    <a:gd name="connsiteX8" fmla="*/ 0 w 180593"/>
                    <a:gd name="connsiteY8" fmla="*/ 40576 h 126396"/>
                    <a:gd name="connsiteX9" fmla="*/ 2953 w 180593"/>
                    <a:gd name="connsiteY9" fmla="*/ 37623 h 126396"/>
                    <a:gd name="connsiteX10" fmla="*/ 162401 w 180593"/>
                    <a:gd name="connsiteY10" fmla="*/ 94 h 126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80593" h="126396">
                      <a:moveTo>
                        <a:pt x="162401" y="94"/>
                      </a:moveTo>
                      <a:cubicBezTo>
                        <a:pt x="170402" y="-191"/>
                        <a:pt x="176498" y="-1"/>
                        <a:pt x="180594" y="3143"/>
                      </a:cubicBezTo>
                      <a:cubicBezTo>
                        <a:pt x="144018" y="47910"/>
                        <a:pt x="73247" y="73628"/>
                        <a:pt x="46672" y="126396"/>
                      </a:cubicBezTo>
                      <a:cubicBezTo>
                        <a:pt x="43720" y="125348"/>
                        <a:pt x="40672" y="124491"/>
                        <a:pt x="37624" y="123443"/>
                      </a:cubicBezTo>
                      <a:cubicBezTo>
                        <a:pt x="34576" y="111442"/>
                        <a:pt x="20574" y="96011"/>
                        <a:pt x="27051" y="85915"/>
                      </a:cubicBezTo>
                      <a:cubicBezTo>
                        <a:pt x="44387" y="93535"/>
                        <a:pt x="59722" y="78866"/>
                        <a:pt x="66294" y="66293"/>
                      </a:cubicBezTo>
                      <a:cubicBezTo>
                        <a:pt x="65056" y="54863"/>
                        <a:pt x="60484" y="48291"/>
                        <a:pt x="55626" y="40576"/>
                      </a:cubicBezTo>
                      <a:cubicBezTo>
                        <a:pt x="27242" y="40100"/>
                        <a:pt x="25051" y="51625"/>
                        <a:pt x="7620" y="57244"/>
                      </a:cubicBezTo>
                      <a:cubicBezTo>
                        <a:pt x="5144" y="51625"/>
                        <a:pt x="2572" y="46196"/>
                        <a:pt x="0" y="40576"/>
                      </a:cubicBezTo>
                      <a:cubicBezTo>
                        <a:pt x="857" y="39719"/>
                        <a:pt x="2095" y="38766"/>
                        <a:pt x="2953" y="37623"/>
                      </a:cubicBezTo>
                      <a:cubicBezTo>
                        <a:pt x="28956" y="38194"/>
                        <a:pt x="148019" y="10286"/>
                        <a:pt x="162401" y="94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9" name="任意多边形: 形状 118">
                  <a:extLst>
                    <a:ext uri="{FF2B5EF4-FFF2-40B4-BE49-F238E27FC236}">
                      <a16:creationId xmlns:a16="http://schemas.microsoft.com/office/drawing/2014/main" id="{344DE34B-8617-42BD-A6F8-F45DC18A274A}"/>
                    </a:ext>
                  </a:extLst>
                </p:cNvPr>
                <p:cNvSpPr/>
                <p:nvPr/>
              </p:nvSpPr>
              <p:spPr>
                <a:xfrm>
                  <a:off x="2434272" y="5713475"/>
                  <a:ext cx="48196" cy="34385"/>
                </a:xfrm>
                <a:custGeom>
                  <a:avLst/>
                  <a:gdLst>
                    <a:gd name="connsiteX0" fmla="*/ 42196 w 48196"/>
                    <a:gd name="connsiteY0" fmla="*/ 0 h 34385"/>
                    <a:gd name="connsiteX1" fmla="*/ 1619 w 48196"/>
                    <a:gd name="connsiteY1" fmla="*/ 12002 h 34385"/>
                    <a:gd name="connsiteX2" fmla="*/ 0 w 48196"/>
                    <a:gd name="connsiteY2" fmla="*/ 14954 h 34385"/>
                    <a:gd name="connsiteX3" fmla="*/ 12097 w 48196"/>
                    <a:gd name="connsiteY3" fmla="*/ 34385 h 34385"/>
                    <a:gd name="connsiteX4" fmla="*/ 16669 w 48196"/>
                    <a:gd name="connsiteY4" fmla="*/ 32957 h 34385"/>
                    <a:gd name="connsiteX5" fmla="*/ 48196 w 48196"/>
                    <a:gd name="connsiteY5" fmla="*/ 2953 h 34385"/>
                    <a:gd name="connsiteX6" fmla="*/ 42196 w 48196"/>
                    <a:gd name="connsiteY6" fmla="*/ 0 h 343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8196" h="34385">
                      <a:moveTo>
                        <a:pt x="42196" y="0"/>
                      </a:moveTo>
                      <a:cubicBezTo>
                        <a:pt x="28480" y="4000"/>
                        <a:pt x="14954" y="7906"/>
                        <a:pt x="1619" y="12002"/>
                      </a:cubicBezTo>
                      <a:cubicBezTo>
                        <a:pt x="1143" y="12954"/>
                        <a:pt x="571" y="13907"/>
                        <a:pt x="0" y="14954"/>
                      </a:cubicBezTo>
                      <a:cubicBezTo>
                        <a:pt x="3238" y="23336"/>
                        <a:pt x="6572" y="28670"/>
                        <a:pt x="12097" y="34385"/>
                      </a:cubicBezTo>
                      <a:cubicBezTo>
                        <a:pt x="13621" y="33909"/>
                        <a:pt x="15050" y="33433"/>
                        <a:pt x="16669" y="32957"/>
                      </a:cubicBezTo>
                      <a:cubicBezTo>
                        <a:pt x="27051" y="22860"/>
                        <a:pt x="37624" y="12954"/>
                        <a:pt x="48196" y="2953"/>
                      </a:cubicBezTo>
                      <a:cubicBezTo>
                        <a:pt x="46101" y="1905"/>
                        <a:pt x="44196" y="953"/>
                        <a:pt x="4219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0" name="任意多边形: 形状 119">
                  <a:extLst>
                    <a:ext uri="{FF2B5EF4-FFF2-40B4-BE49-F238E27FC236}">
                      <a16:creationId xmlns:a16="http://schemas.microsoft.com/office/drawing/2014/main" id="{E5F067D1-006E-4B79-8C25-6CDE79DC430B}"/>
                    </a:ext>
                  </a:extLst>
                </p:cNvPr>
                <p:cNvSpPr/>
                <p:nvPr/>
              </p:nvSpPr>
              <p:spPr>
                <a:xfrm>
                  <a:off x="2436953" y="5765986"/>
                  <a:ext cx="180866" cy="144706"/>
                </a:xfrm>
                <a:custGeom>
                  <a:avLst/>
                  <a:gdLst>
                    <a:gd name="connsiteX0" fmla="*/ 108667 w 180866"/>
                    <a:gd name="connsiteY0" fmla="*/ 67 h 144706"/>
                    <a:gd name="connsiteX1" fmla="*/ 164293 w 180866"/>
                    <a:gd name="connsiteY1" fmla="*/ 18165 h 144706"/>
                    <a:gd name="connsiteX2" fmla="*/ 180866 w 180866"/>
                    <a:gd name="connsiteY2" fmla="*/ 52645 h 144706"/>
                    <a:gd name="connsiteX3" fmla="*/ 177913 w 180866"/>
                    <a:gd name="connsiteY3" fmla="*/ 57217 h 144706"/>
                    <a:gd name="connsiteX4" fmla="*/ 138766 w 180866"/>
                    <a:gd name="connsiteY4" fmla="*/ 81220 h 144706"/>
                    <a:gd name="connsiteX5" fmla="*/ 137242 w 180866"/>
                    <a:gd name="connsiteY5" fmla="*/ 78267 h 144706"/>
                    <a:gd name="connsiteX6" fmla="*/ 158197 w 180866"/>
                    <a:gd name="connsiteY6" fmla="*/ 25594 h 144706"/>
                    <a:gd name="connsiteX7" fmla="*/ 149243 w 180866"/>
                    <a:gd name="connsiteY7" fmla="*/ 18165 h 144706"/>
                    <a:gd name="connsiteX8" fmla="*/ 7892 w 180866"/>
                    <a:gd name="connsiteY8" fmla="*/ 114272 h 144706"/>
                    <a:gd name="connsiteX9" fmla="*/ 21322 w 180866"/>
                    <a:gd name="connsiteY9" fmla="*/ 126369 h 144706"/>
                    <a:gd name="connsiteX10" fmla="*/ 73900 w 180866"/>
                    <a:gd name="connsiteY10" fmla="*/ 87126 h 144706"/>
                    <a:gd name="connsiteX11" fmla="*/ 76948 w 180866"/>
                    <a:gd name="connsiteY11" fmla="*/ 88840 h 144706"/>
                    <a:gd name="connsiteX12" fmla="*/ 95046 w 180866"/>
                    <a:gd name="connsiteY12" fmla="*/ 124749 h 144706"/>
                    <a:gd name="connsiteX13" fmla="*/ 25799 w 180866"/>
                    <a:gd name="connsiteY13" fmla="*/ 144276 h 144706"/>
                    <a:gd name="connsiteX14" fmla="*/ 49897 w 180866"/>
                    <a:gd name="connsiteY14" fmla="*/ 24070 h 144706"/>
                    <a:gd name="connsiteX15" fmla="*/ 108667 w 180866"/>
                    <a:gd name="connsiteY15" fmla="*/ 67 h 1447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80866" h="144706">
                      <a:moveTo>
                        <a:pt x="108667" y="67"/>
                      </a:moveTo>
                      <a:cubicBezTo>
                        <a:pt x="138575" y="-790"/>
                        <a:pt x="148291" y="6639"/>
                        <a:pt x="164293" y="18165"/>
                      </a:cubicBezTo>
                      <a:cubicBezTo>
                        <a:pt x="164864" y="39786"/>
                        <a:pt x="167531" y="42358"/>
                        <a:pt x="180866" y="52645"/>
                      </a:cubicBezTo>
                      <a:cubicBezTo>
                        <a:pt x="179818" y="54169"/>
                        <a:pt x="178771" y="55598"/>
                        <a:pt x="177913" y="57217"/>
                      </a:cubicBezTo>
                      <a:cubicBezTo>
                        <a:pt x="164864" y="65313"/>
                        <a:pt x="151910" y="73219"/>
                        <a:pt x="138766" y="81220"/>
                      </a:cubicBezTo>
                      <a:cubicBezTo>
                        <a:pt x="138194" y="80268"/>
                        <a:pt x="137718" y="79315"/>
                        <a:pt x="137242" y="78267"/>
                      </a:cubicBezTo>
                      <a:cubicBezTo>
                        <a:pt x="143909" y="59217"/>
                        <a:pt x="156292" y="51502"/>
                        <a:pt x="158197" y="25594"/>
                      </a:cubicBezTo>
                      <a:cubicBezTo>
                        <a:pt x="155244" y="23118"/>
                        <a:pt x="152196" y="20736"/>
                        <a:pt x="149243" y="18165"/>
                      </a:cubicBezTo>
                      <a:cubicBezTo>
                        <a:pt x="114477" y="1401"/>
                        <a:pt x="9321" y="82173"/>
                        <a:pt x="7892" y="114272"/>
                      </a:cubicBezTo>
                      <a:cubicBezTo>
                        <a:pt x="11512" y="120558"/>
                        <a:pt x="14941" y="122940"/>
                        <a:pt x="21322" y="126369"/>
                      </a:cubicBezTo>
                      <a:cubicBezTo>
                        <a:pt x="47230" y="119892"/>
                        <a:pt x="60184" y="105795"/>
                        <a:pt x="73900" y="87126"/>
                      </a:cubicBezTo>
                      <a:cubicBezTo>
                        <a:pt x="75043" y="87697"/>
                        <a:pt x="75901" y="88269"/>
                        <a:pt x="76948" y="88840"/>
                      </a:cubicBezTo>
                      <a:cubicBezTo>
                        <a:pt x="82187" y="102651"/>
                        <a:pt x="93141" y="107414"/>
                        <a:pt x="95046" y="124749"/>
                      </a:cubicBezTo>
                      <a:cubicBezTo>
                        <a:pt x="64756" y="119320"/>
                        <a:pt x="55327" y="148562"/>
                        <a:pt x="25799" y="144276"/>
                      </a:cubicBezTo>
                      <a:cubicBezTo>
                        <a:pt x="-27350" y="107223"/>
                        <a:pt x="12178" y="49311"/>
                        <a:pt x="49897" y="24070"/>
                      </a:cubicBezTo>
                      <a:cubicBezTo>
                        <a:pt x="69519" y="16069"/>
                        <a:pt x="89045" y="8068"/>
                        <a:pt x="108667" y="67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1" name="任意多边形: 形状 120">
                  <a:extLst>
                    <a:ext uri="{FF2B5EF4-FFF2-40B4-BE49-F238E27FC236}">
                      <a16:creationId xmlns:a16="http://schemas.microsoft.com/office/drawing/2014/main" id="{8DED5B2B-33B1-4DC8-ADF8-BB4525847461}"/>
                    </a:ext>
                  </a:extLst>
                </p:cNvPr>
                <p:cNvSpPr/>
                <p:nvPr/>
              </p:nvSpPr>
              <p:spPr>
                <a:xfrm>
                  <a:off x="4418425" y="5773578"/>
                  <a:ext cx="272033" cy="253057"/>
                </a:xfrm>
                <a:custGeom>
                  <a:avLst/>
                  <a:gdLst>
                    <a:gd name="connsiteX0" fmla="*/ 118777 w 272033"/>
                    <a:gd name="connsiteY0" fmla="*/ 0 h 253057"/>
                    <a:gd name="connsiteX1" fmla="*/ 126206 w 272033"/>
                    <a:gd name="connsiteY1" fmla="*/ 3048 h 253057"/>
                    <a:gd name="connsiteX2" fmla="*/ 272034 w 272033"/>
                    <a:gd name="connsiteY2" fmla="*/ 114300 h 253057"/>
                    <a:gd name="connsiteX3" fmla="*/ 272034 w 272033"/>
                    <a:gd name="connsiteY3" fmla="*/ 118872 h 253057"/>
                    <a:gd name="connsiteX4" fmla="*/ 270415 w 272033"/>
                    <a:gd name="connsiteY4" fmla="*/ 121825 h 253057"/>
                    <a:gd name="connsiteX5" fmla="*/ 129159 w 272033"/>
                    <a:gd name="connsiteY5" fmla="*/ 99346 h 253057"/>
                    <a:gd name="connsiteX6" fmla="*/ 127730 w 272033"/>
                    <a:gd name="connsiteY6" fmla="*/ 100775 h 253057"/>
                    <a:gd name="connsiteX7" fmla="*/ 127730 w 272033"/>
                    <a:gd name="connsiteY7" fmla="*/ 102299 h 253057"/>
                    <a:gd name="connsiteX8" fmla="*/ 205740 w 272033"/>
                    <a:gd name="connsiteY8" fmla="*/ 159258 h 253057"/>
                    <a:gd name="connsiteX9" fmla="*/ 234315 w 272033"/>
                    <a:gd name="connsiteY9" fmla="*/ 165354 h 253057"/>
                    <a:gd name="connsiteX10" fmla="*/ 219361 w 272033"/>
                    <a:gd name="connsiteY10" fmla="*/ 187928 h 253057"/>
                    <a:gd name="connsiteX11" fmla="*/ 198406 w 272033"/>
                    <a:gd name="connsiteY11" fmla="*/ 162401 h 253057"/>
                    <a:gd name="connsiteX12" fmla="*/ 70485 w 272033"/>
                    <a:gd name="connsiteY12" fmla="*/ 91726 h 253057"/>
                    <a:gd name="connsiteX13" fmla="*/ 70485 w 272033"/>
                    <a:gd name="connsiteY13" fmla="*/ 93250 h 253057"/>
                    <a:gd name="connsiteX14" fmla="*/ 178784 w 272033"/>
                    <a:gd name="connsiteY14" fmla="*/ 190976 h 253057"/>
                    <a:gd name="connsiteX15" fmla="*/ 168307 w 272033"/>
                    <a:gd name="connsiteY15" fmla="*/ 251174 h 253057"/>
                    <a:gd name="connsiteX16" fmla="*/ 38957 w 272033"/>
                    <a:gd name="connsiteY16" fmla="*/ 178975 h 253057"/>
                    <a:gd name="connsiteX17" fmla="*/ 0 w 272033"/>
                    <a:gd name="connsiteY17" fmla="*/ 156401 h 253057"/>
                    <a:gd name="connsiteX18" fmla="*/ 31528 w 272033"/>
                    <a:gd name="connsiteY18" fmla="*/ 123349 h 253057"/>
                    <a:gd name="connsiteX19" fmla="*/ 34576 w 272033"/>
                    <a:gd name="connsiteY19" fmla="*/ 124873 h 253057"/>
                    <a:gd name="connsiteX20" fmla="*/ 159258 w 272033"/>
                    <a:gd name="connsiteY20" fmla="*/ 233077 h 253057"/>
                    <a:gd name="connsiteX21" fmla="*/ 177451 w 272033"/>
                    <a:gd name="connsiteY21" fmla="*/ 224028 h 253057"/>
                    <a:gd name="connsiteX22" fmla="*/ 45053 w 272033"/>
                    <a:gd name="connsiteY22" fmla="*/ 108299 h 253057"/>
                    <a:gd name="connsiteX23" fmla="*/ 46577 w 272033"/>
                    <a:gd name="connsiteY23" fmla="*/ 102299 h 253057"/>
                    <a:gd name="connsiteX24" fmla="*/ 81153 w 272033"/>
                    <a:gd name="connsiteY24" fmla="*/ 60198 h 253057"/>
                    <a:gd name="connsiteX25" fmla="*/ 189452 w 272033"/>
                    <a:gd name="connsiteY25" fmla="*/ 76676 h 253057"/>
                    <a:gd name="connsiteX26" fmla="*/ 189452 w 272033"/>
                    <a:gd name="connsiteY26" fmla="*/ 73628 h 253057"/>
                    <a:gd name="connsiteX27" fmla="*/ 103632 w 272033"/>
                    <a:gd name="connsiteY27" fmla="*/ 28575 h 253057"/>
                    <a:gd name="connsiteX28" fmla="*/ 103632 w 272033"/>
                    <a:gd name="connsiteY28" fmla="*/ 24003 h 253057"/>
                    <a:gd name="connsiteX29" fmla="*/ 118777 w 272033"/>
                    <a:gd name="connsiteY29" fmla="*/ 0 h 253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272033" h="253057">
                      <a:moveTo>
                        <a:pt x="118777" y="0"/>
                      </a:moveTo>
                      <a:cubicBezTo>
                        <a:pt x="121158" y="857"/>
                        <a:pt x="123730" y="2000"/>
                        <a:pt x="126206" y="3048"/>
                      </a:cubicBezTo>
                      <a:cubicBezTo>
                        <a:pt x="127730" y="21812"/>
                        <a:pt x="250698" y="108776"/>
                        <a:pt x="272034" y="114300"/>
                      </a:cubicBezTo>
                      <a:lnTo>
                        <a:pt x="272034" y="118872"/>
                      </a:lnTo>
                      <a:cubicBezTo>
                        <a:pt x="271558" y="119825"/>
                        <a:pt x="271177" y="120777"/>
                        <a:pt x="270415" y="121825"/>
                      </a:cubicBezTo>
                      <a:cubicBezTo>
                        <a:pt x="223361" y="114300"/>
                        <a:pt x="176308" y="106680"/>
                        <a:pt x="129159" y="99346"/>
                      </a:cubicBezTo>
                      <a:lnTo>
                        <a:pt x="127730" y="100775"/>
                      </a:lnTo>
                      <a:lnTo>
                        <a:pt x="127730" y="102299"/>
                      </a:lnTo>
                      <a:cubicBezTo>
                        <a:pt x="153829" y="121349"/>
                        <a:pt x="179642" y="140399"/>
                        <a:pt x="205740" y="159258"/>
                      </a:cubicBezTo>
                      <a:cubicBezTo>
                        <a:pt x="215360" y="161354"/>
                        <a:pt x="224885" y="163449"/>
                        <a:pt x="234315" y="165354"/>
                      </a:cubicBezTo>
                      <a:cubicBezTo>
                        <a:pt x="232124" y="179165"/>
                        <a:pt x="224790" y="178784"/>
                        <a:pt x="219361" y="187928"/>
                      </a:cubicBezTo>
                      <a:cubicBezTo>
                        <a:pt x="209169" y="183642"/>
                        <a:pt x="207645" y="168402"/>
                        <a:pt x="198406" y="162401"/>
                      </a:cubicBezTo>
                      <a:cubicBezTo>
                        <a:pt x="175832" y="148304"/>
                        <a:pt x="96965" y="85439"/>
                        <a:pt x="70485" y="91726"/>
                      </a:cubicBezTo>
                      <a:lnTo>
                        <a:pt x="70485" y="93250"/>
                      </a:lnTo>
                      <a:cubicBezTo>
                        <a:pt x="81534" y="127254"/>
                        <a:pt x="155638" y="160972"/>
                        <a:pt x="178784" y="190976"/>
                      </a:cubicBezTo>
                      <a:cubicBezTo>
                        <a:pt x="193358" y="209836"/>
                        <a:pt x="192024" y="242888"/>
                        <a:pt x="168307" y="251174"/>
                      </a:cubicBezTo>
                      <a:cubicBezTo>
                        <a:pt x="119063" y="265081"/>
                        <a:pt x="67437" y="198025"/>
                        <a:pt x="38957" y="178975"/>
                      </a:cubicBezTo>
                      <a:cubicBezTo>
                        <a:pt x="30290" y="173069"/>
                        <a:pt x="4382" y="165830"/>
                        <a:pt x="0" y="156401"/>
                      </a:cubicBezTo>
                      <a:cubicBezTo>
                        <a:pt x="10859" y="147447"/>
                        <a:pt x="21622" y="133636"/>
                        <a:pt x="31528" y="123349"/>
                      </a:cubicBezTo>
                      <a:cubicBezTo>
                        <a:pt x="32480" y="123825"/>
                        <a:pt x="33433" y="124301"/>
                        <a:pt x="34576" y="124873"/>
                      </a:cubicBezTo>
                      <a:cubicBezTo>
                        <a:pt x="32290" y="157258"/>
                        <a:pt x="129921" y="218789"/>
                        <a:pt x="159258" y="233077"/>
                      </a:cubicBezTo>
                      <a:cubicBezTo>
                        <a:pt x="165259" y="230219"/>
                        <a:pt x="171260" y="227076"/>
                        <a:pt x="177451" y="224028"/>
                      </a:cubicBezTo>
                      <a:cubicBezTo>
                        <a:pt x="179642" y="186404"/>
                        <a:pt x="80105" y="112395"/>
                        <a:pt x="45053" y="108299"/>
                      </a:cubicBezTo>
                      <a:cubicBezTo>
                        <a:pt x="45625" y="106204"/>
                        <a:pt x="46196" y="104394"/>
                        <a:pt x="46577" y="102299"/>
                      </a:cubicBezTo>
                      <a:cubicBezTo>
                        <a:pt x="58103" y="88202"/>
                        <a:pt x="69628" y="74200"/>
                        <a:pt x="81153" y="60198"/>
                      </a:cubicBezTo>
                      <a:cubicBezTo>
                        <a:pt x="117158" y="65627"/>
                        <a:pt x="153257" y="71247"/>
                        <a:pt x="189452" y="76676"/>
                      </a:cubicBezTo>
                      <a:lnTo>
                        <a:pt x="189452" y="73628"/>
                      </a:lnTo>
                      <a:cubicBezTo>
                        <a:pt x="158496" y="58769"/>
                        <a:pt x="147638" y="27623"/>
                        <a:pt x="103632" y="28575"/>
                      </a:cubicBezTo>
                      <a:lnTo>
                        <a:pt x="103632" y="24003"/>
                      </a:lnTo>
                      <a:lnTo>
                        <a:pt x="118777" y="0"/>
                      </a:ln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2" name="任意多边形: 形状 121">
                  <a:extLst>
                    <a:ext uri="{FF2B5EF4-FFF2-40B4-BE49-F238E27FC236}">
                      <a16:creationId xmlns:a16="http://schemas.microsoft.com/office/drawing/2014/main" id="{ABD44B99-15D3-4B80-A74D-D203D0A144CB}"/>
                    </a:ext>
                  </a:extLst>
                </p:cNvPr>
                <p:cNvSpPr/>
                <p:nvPr/>
              </p:nvSpPr>
              <p:spPr>
                <a:xfrm>
                  <a:off x="2483993" y="5839777"/>
                  <a:ext cx="177240" cy="184880"/>
                </a:xfrm>
                <a:custGeom>
                  <a:avLst/>
                  <a:gdLst>
                    <a:gd name="connsiteX0" fmla="*/ 141161 w 177240"/>
                    <a:gd name="connsiteY0" fmla="*/ 0 h 184880"/>
                    <a:gd name="connsiteX1" fmla="*/ 151733 w 177240"/>
                    <a:gd name="connsiteY1" fmla="*/ 103632 h 184880"/>
                    <a:gd name="connsiteX2" fmla="*/ 100489 w 177240"/>
                    <a:gd name="connsiteY2" fmla="*/ 115633 h 184880"/>
                    <a:gd name="connsiteX3" fmla="*/ 61531 w 177240"/>
                    <a:gd name="connsiteY3" fmla="*/ 184880 h 184880"/>
                    <a:gd name="connsiteX4" fmla="*/ 52483 w 177240"/>
                    <a:gd name="connsiteY4" fmla="*/ 178879 h 184880"/>
                    <a:gd name="connsiteX5" fmla="*/ 42005 w 177240"/>
                    <a:gd name="connsiteY5" fmla="*/ 166878 h 184880"/>
                    <a:gd name="connsiteX6" fmla="*/ 78105 w 177240"/>
                    <a:gd name="connsiteY6" fmla="*/ 100679 h 184880"/>
                    <a:gd name="connsiteX7" fmla="*/ 75152 w 177240"/>
                    <a:gd name="connsiteY7" fmla="*/ 97631 h 184880"/>
                    <a:gd name="connsiteX8" fmla="*/ 28575 w 177240"/>
                    <a:gd name="connsiteY8" fmla="*/ 139732 h 184880"/>
                    <a:gd name="connsiteX9" fmla="*/ 22574 w 177240"/>
                    <a:gd name="connsiteY9" fmla="*/ 139732 h 184880"/>
                    <a:gd name="connsiteX10" fmla="*/ 0 w 177240"/>
                    <a:gd name="connsiteY10" fmla="*/ 105156 h 184880"/>
                    <a:gd name="connsiteX11" fmla="*/ 141161 w 177240"/>
                    <a:gd name="connsiteY11" fmla="*/ 0 h 1848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77240" h="184880">
                      <a:moveTo>
                        <a:pt x="141161" y="0"/>
                      </a:moveTo>
                      <a:cubicBezTo>
                        <a:pt x="181642" y="12859"/>
                        <a:pt x="192024" y="83439"/>
                        <a:pt x="151733" y="103632"/>
                      </a:cubicBezTo>
                      <a:cubicBezTo>
                        <a:pt x="136874" y="111062"/>
                        <a:pt x="112871" y="107537"/>
                        <a:pt x="100489" y="115633"/>
                      </a:cubicBezTo>
                      <a:cubicBezTo>
                        <a:pt x="90773" y="140208"/>
                        <a:pt x="68390" y="157258"/>
                        <a:pt x="61531" y="184880"/>
                      </a:cubicBezTo>
                      <a:cubicBezTo>
                        <a:pt x="53340" y="184023"/>
                        <a:pt x="54864" y="185356"/>
                        <a:pt x="52483" y="178879"/>
                      </a:cubicBezTo>
                      <a:cubicBezTo>
                        <a:pt x="47530" y="175927"/>
                        <a:pt x="45148" y="171450"/>
                        <a:pt x="42005" y="166878"/>
                      </a:cubicBezTo>
                      <a:cubicBezTo>
                        <a:pt x="44482" y="140875"/>
                        <a:pt x="66199" y="120205"/>
                        <a:pt x="78105" y="100679"/>
                      </a:cubicBezTo>
                      <a:cubicBezTo>
                        <a:pt x="77057" y="99727"/>
                        <a:pt x="76105" y="98584"/>
                        <a:pt x="75152" y="97631"/>
                      </a:cubicBezTo>
                      <a:cubicBezTo>
                        <a:pt x="56293" y="105442"/>
                        <a:pt x="35242" y="119063"/>
                        <a:pt x="28575" y="139732"/>
                      </a:cubicBezTo>
                      <a:lnTo>
                        <a:pt x="22574" y="139732"/>
                      </a:lnTo>
                      <a:cubicBezTo>
                        <a:pt x="14192" y="130873"/>
                        <a:pt x="3238" y="118396"/>
                        <a:pt x="0" y="105156"/>
                      </a:cubicBezTo>
                      <a:cubicBezTo>
                        <a:pt x="28575" y="105442"/>
                        <a:pt x="137160" y="22384"/>
                        <a:pt x="141161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3" name="任意多边形: 形状 122">
                  <a:extLst>
                    <a:ext uri="{FF2B5EF4-FFF2-40B4-BE49-F238E27FC236}">
                      <a16:creationId xmlns:a16="http://schemas.microsoft.com/office/drawing/2014/main" id="{4CA1EEE7-583B-4F21-8DA7-AD1147DAD559}"/>
                    </a:ext>
                  </a:extLst>
                </p:cNvPr>
                <p:cNvSpPr/>
                <p:nvPr/>
              </p:nvSpPr>
              <p:spPr>
                <a:xfrm>
                  <a:off x="2583148" y="5877210"/>
                  <a:ext cx="64674" cy="51703"/>
                </a:xfrm>
                <a:custGeom>
                  <a:avLst/>
                  <a:gdLst>
                    <a:gd name="connsiteX0" fmla="*/ 57055 w 64674"/>
                    <a:gd name="connsiteY0" fmla="*/ 0 h 51703"/>
                    <a:gd name="connsiteX1" fmla="*/ 0 w 64674"/>
                    <a:gd name="connsiteY1" fmla="*/ 42101 h 51703"/>
                    <a:gd name="connsiteX2" fmla="*/ 64675 w 64674"/>
                    <a:gd name="connsiteY2" fmla="*/ 4477 h 51703"/>
                    <a:gd name="connsiteX3" fmla="*/ 57055 w 64674"/>
                    <a:gd name="connsiteY3" fmla="*/ 0 h 517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4674" h="51703">
                      <a:moveTo>
                        <a:pt x="57055" y="0"/>
                      </a:moveTo>
                      <a:cubicBezTo>
                        <a:pt x="36671" y="9620"/>
                        <a:pt x="11335" y="23717"/>
                        <a:pt x="0" y="42101"/>
                      </a:cubicBezTo>
                      <a:cubicBezTo>
                        <a:pt x="16288" y="71152"/>
                        <a:pt x="63151" y="27146"/>
                        <a:pt x="64675" y="4477"/>
                      </a:cubicBezTo>
                      <a:cubicBezTo>
                        <a:pt x="62103" y="3048"/>
                        <a:pt x="59627" y="1619"/>
                        <a:pt x="57055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4" name="任意多边形: 形状 123">
                  <a:extLst>
                    <a:ext uri="{FF2B5EF4-FFF2-40B4-BE49-F238E27FC236}">
                      <a16:creationId xmlns:a16="http://schemas.microsoft.com/office/drawing/2014/main" id="{310A417F-87F0-41AB-BEBA-7AE01B5F6CC0}"/>
                    </a:ext>
                  </a:extLst>
                </p:cNvPr>
                <p:cNvSpPr/>
                <p:nvPr/>
              </p:nvSpPr>
              <p:spPr>
                <a:xfrm>
                  <a:off x="2550191" y="5923883"/>
                  <a:ext cx="169830" cy="142875"/>
                </a:xfrm>
                <a:custGeom>
                  <a:avLst/>
                  <a:gdLst>
                    <a:gd name="connsiteX0" fmla="*/ 138208 w 169830"/>
                    <a:gd name="connsiteY0" fmla="*/ 0 h 142875"/>
                    <a:gd name="connsiteX1" fmla="*/ 169831 w 169830"/>
                    <a:gd name="connsiteY1" fmla="*/ 33147 h 142875"/>
                    <a:gd name="connsiteX2" fmla="*/ 165259 w 169830"/>
                    <a:gd name="connsiteY2" fmla="*/ 37624 h 142875"/>
                    <a:gd name="connsiteX3" fmla="*/ 51054 w 169830"/>
                    <a:gd name="connsiteY3" fmla="*/ 117348 h 142875"/>
                    <a:gd name="connsiteX4" fmla="*/ 27051 w 169830"/>
                    <a:gd name="connsiteY4" fmla="*/ 142875 h 142875"/>
                    <a:gd name="connsiteX5" fmla="*/ 25527 w 169830"/>
                    <a:gd name="connsiteY5" fmla="*/ 142875 h 142875"/>
                    <a:gd name="connsiteX6" fmla="*/ 0 w 169830"/>
                    <a:gd name="connsiteY6" fmla="*/ 114300 h 142875"/>
                    <a:gd name="connsiteX7" fmla="*/ 2953 w 169830"/>
                    <a:gd name="connsiteY7" fmla="*/ 109919 h 142875"/>
                    <a:gd name="connsiteX8" fmla="*/ 138208 w 169830"/>
                    <a:gd name="connsiteY8" fmla="*/ 0 h 142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9830" h="142875">
                      <a:moveTo>
                        <a:pt x="138208" y="0"/>
                      </a:moveTo>
                      <a:cubicBezTo>
                        <a:pt x="152400" y="4286"/>
                        <a:pt x="160782" y="22955"/>
                        <a:pt x="169831" y="33147"/>
                      </a:cubicBezTo>
                      <a:cubicBezTo>
                        <a:pt x="168212" y="34576"/>
                        <a:pt x="166878" y="36290"/>
                        <a:pt x="165259" y="37624"/>
                      </a:cubicBezTo>
                      <a:cubicBezTo>
                        <a:pt x="143637" y="32576"/>
                        <a:pt x="69628" y="102584"/>
                        <a:pt x="51054" y="117348"/>
                      </a:cubicBezTo>
                      <a:cubicBezTo>
                        <a:pt x="42386" y="124301"/>
                        <a:pt x="38005" y="138970"/>
                        <a:pt x="27051" y="142875"/>
                      </a:cubicBezTo>
                      <a:lnTo>
                        <a:pt x="25527" y="142875"/>
                      </a:lnTo>
                      <a:cubicBezTo>
                        <a:pt x="16954" y="133445"/>
                        <a:pt x="8573" y="123920"/>
                        <a:pt x="0" y="114300"/>
                      </a:cubicBezTo>
                      <a:cubicBezTo>
                        <a:pt x="952" y="112871"/>
                        <a:pt x="1905" y="111347"/>
                        <a:pt x="2953" y="109919"/>
                      </a:cubicBezTo>
                      <a:cubicBezTo>
                        <a:pt x="30194" y="113252"/>
                        <a:pt x="130683" y="25241"/>
                        <a:pt x="138208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5" name="任意多边形: 形状 124">
                  <a:extLst>
                    <a:ext uri="{FF2B5EF4-FFF2-40B4-BE49-F238E27FC236}">
                      <a16:creationId xmlns:a16="http://schemas.microsoft.com/office/drawing/2014/main" id="{E30F3FA2-D757-4AEC-874D-87494AE9E723}"/>
                    </a:ext>
                  </a:extLst>
                </p:cNvPr>
                <p:cNvSpPr/>
                <p:nvPr/>
              </p:nvSpPr>
              <p:spPr>
                <a:xfrm>
                  <a:off x="4316126" y="5964459"/>
                  <a:ext cx="183356" cy="175831"/>
                </a:xfrm>
                <a:custGeom>
                  <a:avLst/>
                  <a:gdLst>
                    <a:gd name="connsiteX0" fmla="*/ 67628 w 183356"/>
                    <a:gd name="connsiteY0" fmla="*/ 0 h 175831"/>
                    <a:gd name="connsiteX1" fmla="*/ 72199 w 183356"/>
                    <a:gd name="connsiteY1" fmla="*/ 0 h 175831"/>
                    <a:gd name="connsiteX2" fmla="*/ 117253 w 183356"/>
                    <a:gd name="connsiteY2" fmla="*/ 94774 h 175831"/>
                    <a:gd name="connsiteX3" fmla="*/ 163830 w 183356"/>
                    <a:gd name="connsiteY3" fmla="*/ 136874 h 175831"/>
                    <a:gd name="connsiteX4" fmla="*/ 183356 w 183356"/>
                    <a:gd name="connsiteY4" fmla="*/ 142875 h 175831"/>
                    <a:gd name="connsiteX5" fmla="*/ 181832 w 183356"/>
                    <a:gd name="connsiteY5" fmla="*/ 148780 h 175831"/>
                    <a:gd name="connsiteX6" fmla="*/ 147256 w 183356"/>
                    <a:gd name="connsiteY6" fmla="*/ 175831 h 175831"/>
                    <a:gd name="connsiteX7" fmla="*/ 144208 w 183356"/>
                    <a:gd name="connsiteY7" fmla="*/ 174403 h 175831"/>
                    <a:gd name="connsiteX8" fmla="*/ 0 w 183356"/>
                    <a:gd name="connsiteY8" fmla="*/ 67532 h 175831"/>
                    <a:gd name="connsiteX9" fmla="*/ 0 w 183356"/>
                    <a:gd name="connsiteY9" fmla="*/ 66104 h 175831"/>
                    <a:gd name="connsiteX10" fmla="*/ 34576 w 183356"/>
                    <a:gd name="connsiteY10" fmla="*/ 34576 h 175831"/>
                    <a:gd name="connsiteX11" fmla="*/ 96203 w 183356"/>
                    <a:gd name="connsiteY11" fmla="*/ 84106 h 175831"/>
                    <a:gd name="connsiteX12" fmla="*/ 99251 w 183356"/>
                    <a:gd name="connsiteY12" fmla="*/ 82487 h 175831"/>
                    <a:gd name="connsiteX13" fmla="*/ 66199 w 183356"/>
                    <a:gd name="connsiteY13" fmla="*/ 20860 h 175831"/>
                    <a:gd name="connsiteX14" fmla="*/ 49530 w 183356"/>
                    <a:gd name="connsiteY14" fmla="*/ 16383 h 175831"/>
                    <a:gd name="connsiteX15" fmla="*/ 51149 w 183356"/>
                    <a:gd name="connsiteY15" fmla="*/ 11811 h 175831"/>
                    <a:gd name="connsiteX16" fmla="*/ 67628 w 183356"/>
                    <a:gd name="connsiteY16" fmla="*/ 0 h 1758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83356" h="175831">
                      <a:moveTo>
                        <a:pt x="67628" y="0"/>
                      </a:moveTo>
                      <a:lnTo>
                        <a:pt x="72199" y="0"/>
                      </a:lnTo>
                      <a:cubicBezTo>
                        <a:pt x="87249" y="31623"/>
                        <a:pt x="102298" y="63151"/>
                        <a:pt x="117253" y="94774"/>
                      </a:cubicBezTo>
                      <a:cubicBezTo>
                        <a:pt x="132779" y="108680"/>
                        <a:pt x="148399" y="122777"/>
                        <a:pt x="163830" y="136874"/>
                      </a:cubicBezTo>
                      <a:cubicBezTo>
                        <a:pt x="170497" y="140779"/>
                        <a:pt x="178308" y="138017"/>
                        <a:pt x="183356" y="142875"/>
                      </a:cubicBezTo>
                      <a:cubicBezTo>
                        <a:pt x="182880" y="144875"/>
                        <a:pt x="182213" y="146780"/>
                        <a:pt x="181832" y="148780"/>
                      </a:cubicBezTo>
                      <a:cubicBezTo>
                        <a:pt x="167735" y="155257"/>
                        <a:pt x="162020" y="168973"/>
                        <a:pt x="147256" y="175831"/>
                      </a:cubicBezTo>
                      <a:cubicBezTo>
                        <a:pt x="146304" y="175355"/>
                        <a:pt x="145352" y="174784"/>
                        <a:pt x="144208" y="174403"/>
                      </a:cubicBezTo>
                      <a:cubicBezTo>
                        <a:pt x="143923" y="115919"/>
                        <a:pt x="41338" y="84772"/>
                        <a:pt x="0" y="67532"/>
                      </a:cubicBezTo>
                      <a:lnTo>
                        <a:pt x="0" y="66104"/>
                      </a:lnTo>
                      <a:cubicBezTo>
                        <a:pt x="3620" y="52197"/>
                        <a:pt x="20288" y="37624"/>
                        <a:pt x="34576" y="34576"/>
                      </a:cubicBezTo>
                      <a:cubicBezTo>
                        <a:pt x="36576" y="62960"/>
                        <a:pt x="76200" y="73438"/>
                        <a:pt x="96203" y="84106"/>
                      </a:cubicBezTo>
                      <a:cubicBezTo>
                        <a:pt x="97155" y="83629"/>
                        <a:pt x="98203" y="83248"/>
                        <a:pt x="99251" y="82487"/>
                      </a:cubicBezTo>
                      <a:cubicBezTo>
                        <a:pt x="96583" y="65056"/>
                        <a:pt x="79724" y="28575"/>
                        <a:pt x="66199" y="20860"/>
                      </a:cubicBezTo>
                      <a:cubicBezTo>
                        <a:pt x="60579" y="19526"/>
                        <a:pt x="55150" y="17812"/>
                        <a:pt x="49530" y="16383"/>
                      </a:cubicBezTo>
                      <a:cubicBezTo>
                        <a:pt x="50102" y="14954"/>
                        <a:pt x="50578" y="13430"/>
                        <a:pt x="51149" y="11811"/>
                      </a:cubicBezTo>
                      <a:cubicBezTo>
                        <a:pt x="56579" y="8001"/>
                        <a:pt x="62103" y="4000"/>
                        <a:pt x="67628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6" name="任意多边形: 形状 125">
                  <a:extLst>
                    <a:ext uri="{FF2B5EF4-FFF2-40B4-BE49-F238E27FC236}">
                      <a16:creationId xmlns:a16="http://schemas.microsoft.com/office/drawing/2014/main" id="{E5FA4886-8A5E-4557-88B9-787532AC862A}"/>
                    </a:ext>
                  </a:extLst>
                </p:cNvPr>
                <p:cNvSpPr/>
                <p:nvPr/>
              </p:nvSpPr>
              <p:spPr>
                <a:xfrm>
                  <a:off x="2617958" y="5982886"/>
                  <a:ext cx="243129" cy="226332"/>
                </a:xfrm>
                <a:custGeom>
                  <a:avLst/>
                  <a:gdLst>
                    <a:gd name="connsiteX0" fmla="*/ 130449 w 243129"/>
                    <a:gd name="connsiteY0" fmla="*/ 76348 h 226332"/>
                    <a:gd name="connsiteX1" fmla="*/ 139498 w 243129"/>
                    <a:gd name="connsiteY1" fmla="*/ 17673 h 226332"/>
                    <a:gd name="connsiteX2" fmla="*/ 127401 w 243129"/>
                    <a:gd name="connsiteY2" fmla="*/ 11577 h 226332"/>
                    <a:gd name="connsiteX3" fmla="*/ 67298 w 243129"/>
                    <a:gd name="connsiteY3" fmla="*/ 141022 h 226332"/>
                    <a:gd name="connsiteX4" fmla="*/ 64345 w 243129"/>
                    <a:gd name="connsiteY4" fmla="*/ 148452 h 226332"/>
                    <a:gd name="connsiteX5" fmla="*/ 100350 w 243129"/>
                    <a:gd name="connsiteY5" fmla="*/ 1290 h 226332"/>
                    <a:gd name="connsiteX6" fmla="*/ 204077 w 243129"/>
                    <a:gd name="connsiteY6" fmla="*/ 68823 h 226332"/>
                    <a:gd name="connsiteX7" fmla="*/ 204077 w 243129"/>
                    <a:gd name="connsiteY7" fmla="*/ 74823 h 226332"/>
                    <a:gd name="connsiteX8" fmla="*/ 112447 w 243129"/>
                    <a:gd name="connsiteY8" fmla="*/ 165025 h 226332"/>
                    <a:gd name="connsiteX9" fmla="*/ 100350 w 243129"/>
                    <a:gd name="connsiteY9" fmla="*/ 203982 h 226332"/>
                    <a:gd name="connsiteX10" fmla="*/ 106446 w 243129"/>
                    <a:gd name="connsiteY10" fmla="*/ 211602 h 226332"/>
                    <a:gd name="connsiteX11" fmla="*/ 127401 w 243129"/>
                    <a:gd name="connsiteY11" fmla="*/ 212936 h 226332"/>
                    <a:gd name="connsiteX12" fmla="*/ 177026 w 243129"/>
                    <a:gd name="connsiteY12" fmla="*/ 161977 h 226332"/>
                    <a:gd name="connsiteX13" fmla="*/ 225127 w 243129"/>
                    <a:gd name="connsiteY13" fmla="*/ 89778 h 226332"/>
                    <a:gd name="connsiteX14" fmla="*/ 243130 w 243129"/>
                    <a:gd name="connsiteY14" fmla="*/ 103398 h 226332"/>
                    <a:gd name="connsiteX15" fmla="*/ 91301 w 243129"/>
                    <a:gd name="connsiteY15" fmla="*/ 220651 h 226332"/>
                    <a:gd name="connsiteX16" fmla="*/ 163501 w 243129"/>
                    <a:gd name="connsiteY16" fmla="*/ 59679 h 226332"/>
                    <a:gd name="connsiteX17" fmla="*/ 161977 w 243129"/>
                    <a:gd name="connsiteY17" fmla="*/ 56821 h 226332"/>
                    <a:gd name="connsiteX18" fmla="*/ 137974 w 243129"/>
                    <a:gd name="connsiteY18" fmla="*/ 76348 h 226332"/>
                    <a:gd name="connsiteX19" fmla="*/ 130449 w 243129"/>
                    <a:gd name="connsiteY19" fmla="*/ 76348 h 2263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43129" h="226332">
                      <a:moveTo>
                        <a:pt x="130449" y="76348"/>
                      </a:moveTo>
                      <a:cubicBezTo>
                        <a:pt x="133306" y="55869"/>
                        <a:pt x="150737" y="40152"/>
                        <a:pt x="139498" y="17673"/>
                      </a:cubicBezTo>
                      <a:cubicBezTo>
                        <a:pt x="135497" y="15673"/>
                        <a:pt x="131497" y="13673"/>
                        <a:pt x="127401" y="11577"/>
                      </a:cubicBezTo>
                      <a:cubicBezTo>
                        <a:pt x="95302" y="23769"/>
                        <a:pt x="-63671" y="146928"/>
                        <a:pt x="67298" y="141022"/>
                      </a:cubicBezTo>
                      <a:cubicBezTo>
                        <a:pt x="66250" y="143499"/>
                        <a:pt x="65298" y="145975"/>
                        <a:pt x="64345" y="148452"/>
                      </a:cubicBezTo>
                      <a:cubicBezTo>
                        <a:pt x="-71195" y="164358"/>
                        <a:pt x="40247" y="14340"/>
                        <a:pt x="100350" y="1290"/>
                      </a:cubicBezTo>
                      <a:cubicBezTo>
                        <a:pt x="149785" y="-9664"/>
                        <a:pt x="167882" y="52249"/>
                        <a:pt x="204077" y="68823"/>
                      </a:cubicBezTo>
                      <a:lnTo>
                        <a:pt x="204077" y="74823"/>
                      </a:lnTo>
                      <a:cubicBezTo>
                        <a:pt x="170644" y="74633"/>
                        <a:pt x="129401" y="142451"/>
                        <a:pt x="112447" y="165025"/>
                      </a:cubicBezTo>
                      <a:cubicBezTo>
                        <a:pt x="106351" y="173026"/>
                        <a:pt x="93587" y="193600"/>
                        <a:pt x="100350" y="203982"/>
                      </a:cubicBezTo>
                      <a:cubicBezTo>
                        <a:pt x="102445" y="208650"/>
                        <a:pt x="102445" y="208935"/>
                        <a:pt x="106446" y="211602"/>
                      </a:cubicBezTo>
                      <a:cubicBezTo>
                        <a:pt x="113113" y="214460"/>
                        <a:pt x="117590" y="213317"/>
                        <a:pt x="127401" y="212936"/>
                      </a:cubicBezTo>
                      <a:cubicBezTo>
                        <a:pt x="143974" y="195982"/>
                        <a:pt x="160548" y="179027"/>
                        <a:pt x="177026" y="161977"/>
                      </a:cubicBezTo>
                      <a:cubicBezTo>
                        <a:pt x="194838" y="138450"/>
                        <a:pt x="206935" y="113495"/>
                        <a:pt x="225127" y="89778"/>
                      </a:cubicBezTo>
                      <a:cubicBezTo>
                        <a:pt x="233128" y="92064"/>
                        <a:pt x="240463" y="95398"/>
                        <a:pt x="243130" y="103398"/>
                      </a:cubicBezTo>
                      <a:cubicBezTo>
                        <a:pt x="199696" y="107685"/>
                        <a:pt x="150547" y="256941"/>
                        <a:pt x="91301" y="220651"/>
                      </a:cubicBezTo>
                      <a:cubicBezTo>
                        <a:pt x="39009" y="188552"/>
                        <a:pt x="150642" y="82539"/>
                        <a:pt x="163501" y="59679"/>
                      </a:cubicBezTo>
                      <a:cubicBezTo>
                        <a:pt x="162929" y="58821"/>
                        <a:pt x="162358" y="57678"/>
                        <a:pt x="161977" y="56821"/>
                      </a:cubicBezTo>
                      <a:cubicBezTo>
                        <a:pt x="152356" y="59679"/>
                        <a:pt x="144451" y="69775"/>
                        <a:pt x="137974" y="76348"/>
                      </a:cubicBezTo>
                      <a:lnTo>
                        <a:pt x="130449" y="76348"/>
                      </a:ln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7" name="任意多边形: 形状 126">
                  <a:extLst>
                    <a:ext uri="{FF2B5EF4-FFF2-40B4-BE49-F238E27FC236}">
                      <a16:creationId xmlns:a16="http://schemas.microsoft.com/office/drawing/2014/main" id="{BA45D748-FDBF-473F-92C8-3DA461DEEAF9}"/>
                    </a:ext>
                  </a:extLst>
                </p:cNvPr>
                <p:cNvSpPr/>
                <p:nvPr/>
              </p:nvSpPr>
              <p:spPr>
                <a:xfrm>
                  <a:off x="4160925" y="6050034"/>
                  <a:ext cx="269405" cy="222368"/>
                </a:xfrm>
                <a:custGeom>
                  <a:avLst/>
                  <a:gdLst>
                    <a:gd name="connsiteX0" fmla="*/ 123674 w 269405"/>
                    <a:gd name="connsiteY0" fmla="*/ 55 h 222368"/>
                    <a:gd name="connsiteX1" fmla="*/ 189777 w 269405"/>
                    <a:gd name="connsiteY1" fmla="*/ 70921 h 222368"/>
                    <a:gd name="connsiteX2" fmla="*/ 269406 w 269405"/>
                    <a:gd name="connsiteY2" fmla="*/ 115879 h 222368"/>
                    <a:gd name="connsiteX3" fmla="*/ 267977 w 269405"/>
                    <a:gd name="connsiteY3" fmla="*/ 120356 h 222368"/>
                    <a:gd name="connsiteX4" fmla="*/ 245308 w 269405"/>
                    <a:gd name="connsiteY4" fmla="*/ 135501 h 222368"/>
                    <a:gd name="connsiteX5" fmla="*/ 179109 w 269405"/>
                    <a:gd name="connsiteY5" fmla="*/ 100925 h 222368"/>
                    <a:gd name="connsiteX6" fmla="*/ 179109 w 269405"/>
                    <a:gd name="connsiteY6" fmla="*/ 102259 h 222368"/>
                    <a:gd name="connsiteX7" fmla="*/ 225782 w 269405"/>
                    <a:gd name="connsiteY7" fmla="*/ 148931 h 222368"/>
                    <a:gd name="connsiteX8" fmla="*/ 194159 w 269405"/>
                    <a:gd name="connsiteY8" fmla="*/ 177506 h 222368"/>
                    <a:gd name="connsiteX9" fmla="*/ 185205 w 269405"/>
                    <a:gd name="connsiteY9" fmla="*/ 175887 h 222368"/>
                    <a:gd name="connsiteX10" fmla="*/ 101194 w 269405"/>
                    <a:gd name="connsiteY10" fmla="*/ 57301 h 222368"/>
                    <a:gd name="connsiteX11" fmla="*/ 99575 w 269405"/>
                    <a:gd name="connsiteY11" fmla="*/ 57301 h 222368"/>
                    <a:gd name="connsiteX12" fmla="*/ 104147 w 269405"/>
                    <a:gd name="connsiteY12" fmla="*/ 75208 h 222368"/>
                    <a:gd name="connsiteX13" fmla="*/ 101194 w 269405"/>
                    <a:gd name="connsiteY13" fmla="*/ 76827 h 222368"/>
                    <a:gd name="connsiteX14" fmla="*/ 60523 w 269405"/>
                    <a:gd name="connsiteY14" fmla="*/ 48157 h 222368"/>
                    <a:gd name="connsiteX15" fmla="*/ 55951 w 269405"/>
                    <a:gd name="connsiteY15" fmla="*/ 52633 h 222368"/>
                    <a:gd name="connsiteX16" fmla="*/ 55951 w 269405"/>
                    <a:gd name="connsiteY16" fmla="*/ 58634 h 222368"/>
                    <a:gd name="connsiteX17" fmla="*/ 155201 w 269405"/>
                    <a:gd name="connsiteY17" fmla="*/ 195508 h 222368"/>
                    <a:gd name="connsiteX18" fmla="*/ 155201 w 269405"/>
                    <a:gd name="connsiteY18" fmla="*/ 201414 h 222368"/>
                    <a:gd name="connsiteX19" fmla="*/ 111577 w 269405"/>
                    <a:gd name="connsiteY19" fmla="*/ 222369 h 222368"/>
                    <a:gd name="connsiteX20" fmla="*/ 108529 w 269405"/>
                    <a:gd name="connsiteY20" fmla="*/ 219511 h 222368"/>
                    <a:gd name="connsiteX21" fmla="*/ 31948 w 269405"/>
                    <a:gd name="connsiteY21" fmla="*/ 72160 h 222368"/>
                    <a:gd name="connsiteX22" fmla="*/ 22899 w 269405"/>
                    <a:gd name="connsiteY22" fmla="*/ 73684 h 222368"/>
                    <a:gd name="connsiteX23" fmla="*/ 18422 w 269405"/>
                    <a:gd name="connsiteY23" fmla="*/ 82732 h 222368"/>
                    <a:gd name="connsiteX24" fmla="*/ 27471 w 269405"/>
                    <a:gd name="connsiteY24" fmla="*/ 117118 h 222368"/>
                    <a:gd name="connsiteX25" fmla="*/ 24518 w 269405"/>
                    <a:gd name="connsiteY25" fmla="*/ 120166 h 222368"/>
                    <a:gd name="connsiteX26" fmla="*/ 19851 w 269405"/>
                    <a:gd name="connsiteY26" fmla="*/ 118737 h 222368"/>
                    <a:gd name="connsiteX27" fmla="*/ 1849 w 269405"/>
                    <a:gd name="connsiteY27" fmla="*/ 70635 h 222368"/>
                    <a:gd name="connsiteX28" fmla="*/ 123674 w 269405"/>
                    <a:gd name="connsiteY28" fmla="*/ 55 h 2223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269405" h="222368">
                      <a:moveTo>
                        <a:pt x="123674" y="55"/>
                      </a:moveTo>
                      <a:cubicBezTo>
                        <a:pt x="177871" y="-1374"/>
                        <a:pt x="182443" y="25011"/>
                        <a:pt x="189777" y="70921"/>
                      </a:cubicBezTo>
                      <a:cubicBezTo>
                        <a:pt x="216352" y="85971"/>
                        <a:pt x="242831" y="101020"/>
                        <a:pt x="269406" y="115879"/>
                      </a:cubicBezTo>
                      <a:cubicBezTo>
                        <a:pt x="268930" y="117308"/>
                        <a:pt x="268453" y="118927"/>
                        <a:pt x="267977" y="120356"/>
                      </a:cubicBezTo>
                      <a:cubicBezTo>
                        <a:pt x="260357" y="125309"/>
                        <a:pt x="252833" y="130452"/>
                        <a:pt x="245308" y="135501"/>
                      </a:cubicBezTo>
                      <a:cubicBezTo>
                        <a:pt x="223210" y="123976"/>
                        <a:pt x="201207" y="112450"/>
                        <a:pt x="179109" y="100925"/>
                      </a:cubicBezTo>
                      <a:lnTo>
                        <a:pt x="179109" y="102259"/>
                      </a:lnTo>
                      <a:cubicBezTo>
                        <a:pt x="187491" y="127024"/>
                        <a:pt x="206541" y="134834"/>
                        <a:pt x="225782" y="148931"/>
                      </a:cubicBezTo>
                      <a:cubicBezTo>
                        <a:pt x="219685" y="161599"/>
                        <a:pt x="204160" y="168362"/>
                        <a:pt x="194159" y="177506"/>
                      </a:cubicBezTo>
                      <a:cubicBezTo>
                        <a:pt x="191206" y="177030"/>
                        <a:pt x="188253" y="176553"/>
                        <a:pt x="185205" y="175887"/>
                      </a:cubicBezTo>
                      <a:cubicBezTo>
                        <a:pt x="186443" y="152551"/>
                        <a:pt x="119673" y="68159"/>
                        <a:pt x="101194" y="57301"/>
                      </a:cubicBezTo>
                      <a:lnTo>
                        <a:pt x="99575" y="57301"/>
                      </a:lnTo>
                      <a:cubicBezTo>
                        <a:pt x="101194" y="63206"/>
                        <a:pt x="102528" y="69207"/>
                        <a:pt x="104147" y="75208"/>
                      </a:cubicBezTo>
                      <a:cubicBezTo>
                        <a:pt x="103004" y="75779"/>
                        <a:pt x="102052" y="76255"/>
                        <a:pt x="101194" y="76827"/>
                      </a:cubicBezTo>
                      <a:cubicBezTo>
                        <a:pt x="86812" y="67207"/>
                        <a:pt x="80716" y="52443"/>
                        <a:pt x="60523" y="48157"/>
                      </a:cubicBezTo>
                      <a:cubicBezTo>
                        <a:pt x="58904" y="49585"/>
                        <a:pt x="57570" y="51204"/>
                        <a:pt x="55951" y="52633"/>
                      </a:cubicBezTo>
                      <a:lnTo>
                        <a:pt x="55951" y="58634"/>
                      </a:lnTo>
                      <a:cubicBezTo>
                        <a:pt x="80144" y="89114"/>
                        <a:pt x="117577" y="187888"/>
                        <a:pt x="155201" y="195508"/>
                      </a:cubicBezTo>
                      <a:lnTo>
                        <a:pt x="155201" y="201414"/>
                      </a:lnTo>
                      <a:cubicBezTo>
                        <a:pt x="140628" y="208558"/>
                        <a:pt x="126150" y="215511"/>
                        <a:pt x="111577" y="222369"/>
                      </a:cubicBezTo>
                      <a:cubicBezTo>
                        <a:pt x="110624" y="221511"/>
                        <a:pt x="109672" y="220559"/>
                        <a:pt x="108529" y="219511"/>
                      </a:cubicBezTo>
                      <a:cubicBezTo>
                        <a:pt x="122435" y="190365"/>
                        <a:pt x="44140" y="102640"/>
                        <a:pt x="31948" y="72160"/>
                      </a:cubicBezTo>
                      <a:cubicBezTo>
                        <a:pt x="28995" y="72636"/>
                        <a:pt x="25947" y="73112"/>
                        <a:pt x="22899" y="73684"/>
                      </a:cubicBezTo>
                      <a:cubicBezTo>
                        <a:pt x="21470" y="76732"/>
                        <a:pt x="19946" y="79589"/>
                        <a:pt x="18422" y="82732"/>
                      </a:cubicBezTo>
                      <a:cubicBezTo>
                        <a:pt x="21470" y="94162"/>
                        <a:pt x="24518" y="105687"/>
                        <a:pt x="27471" y="117118"/>
                      </a:cubicBezTo>
                      <a:cubicBezTo>
                        <a:pt x="26423" y="118260"/>
                        <a:pt x="25376" y="119213"/>
                        <a:pt x="24518" y="120166"/>
                      </a:cubicBezTo>
                      <a:cubicBezTo>
                        <a:pt x="22899" y="119689"/>
                        <a:pt x="21470" y="119213"/>
                        <a:pt x="19851" y="118737"/>
                      </a:cubicBezTo>
                      <a:cubicBezTo>
                        <a:pt x="13565" y="104068"/>
                        <a:pt x="-6057" y="88543"/>
                        <a:pt x="1849" y="70635"/>
                      </a:cubicBezTo>
                      <a:cubicBezTo>
                        <a:pt x="42902" y="53491"/>
                        <a:pt x="89765" y="26535"/>
                        <a:pt x="123674" y="55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2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8" name="任意多边形: 形状 127">
                  <a:extLst>
                    <a:ext uri="{FF2B5EF4-FFF2-40B4-BE49-F238E27FC236}">
                      <a16:creationId xmlns:a16="http://schemas.microsoft.com/office/drawing/2014/main" id="{BC6C1C59-3200-424B-A422-2DD9E35D8689}"/>
                    </a:ext>
                  </a:extLst>
                </p:cNvPr>
                <p:cNvSpPr/>
                <p:nvPr/>
              </p:nvSpPr>
              <p:spPr>
                <a:xfrm>
                  <a:off x="4274121" y="6062186"/>
                  <a:ext cx="55625" cy="64674"/>
                </a:xfrm>
                <a:custGeom>
                  <a:avLst/>
                  <a:gdLst>
                    <a:gd name="connsiteX0" fmla="*/ 10478 w 55625"/>
                    <a:gd name="connsiteY0" fmla="*/ 0 h 64674"/>
                    <a:gd name="connsiteX1" fmla="*/ 0 w 55625"/>
                    <a:gd name="connsiteY1" fmla="*/ 1524 h 64674"/>
                    <a:gd name="connsiteX2" fmla="*/ 0 w 55625"/>
                    <a:gd name="connsiteY2" fmla="*/ 7525 h 64674"/>
                    <a:gd name="connsiteX3" fmla="*/ 45053 w 55625"/>
                    <a:gd name="connsiteY3" fmla="*/ 64675 h 64674"/>
                    <a:gd name="connsiteX4" fmla="*/ 51054 w 55625"/>
                    <a:gd name="connsiteY4" fmla="*/ 61627 h 64674"/>
                    <a:gd name="connsiteX5" fmla="*/ 55626 w 55625"/>
                    <a:gd name="connsiteY5" fmla="*/ 48006 h 64674"/>
                    <a:gd name="connsiteX6" fmla="*/ 10478 w 55625"/>
                    <a:gd name="connsiteY6" fmla="*/ 0 h 646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5625" h="64674">
                      <a:moveTo>
                        <a:pt x="10478" y="0"/>
                      </a:moveTo>
                      <a:cubicBezTo>
                        <a:pt x="6858" y="571"/>
                        <a:pt x="3524" y="1048"/>
                        <a:pt x="0" y="1524"/>
                      </a:cubicBezTo>
                      <a:lnTo>
                        <a:pt x="0" y="7525"/>
                      </a:lnTo>
                      <a:cubicBezTo>
                        <a:pt x="16669" y="24955"/>
                        <a:pt x="25241" y="50387"/>
                        <a:pt x="45053" y="64675"/>
                      </a:cubicBezTo>
                      <a:cubicBezTo>
                        <a:pt x="47149" y="63627"/>
                        <a:pt x="49149" y="62579"/>
                        <a:pt x="51054" y="61627"/>
                      </a:cubicBezTo>
                      <a:cubicBezTo>
                        <a:pt x="52578" y="56959"/>
                        <a:pt x="54102" y="52483"/>
                        <a:pt x="55626" y="48006"/>
                      </a:cubicBezTo>
                      <a:cubicBezTo>
                        <a:pt x="43434" y="26956"/>
                        <a:pt x="37910" y="6001"/>
                        <a:pt x="10478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9" name="任意多边形: 形状 128">
                  <a:extLst>
                    <a:ext uri="{FF2B5EF4-FFF2-40B4-BE49-F238E27FC236}">
                      <a16:creationId xmlns:a16="http://schemas.microsoft.com/office/drawing/2014/main" id="{75646CEB-7B74-429E-89DA-20B3FC863975}"/>
                    </a:ext>
                  </a:extLst>
                </p:cNvPr>
                <p:cNvSpPr/>
                <p:nvPr/>
              </p:nvSpPr>
              <p:spPr>
                <a:xfrm>
                  <a:off x="2766599" y="6086284"/>
                  <a:ext cx="139731" cy="196881"/>
                </a:xfrm>
                <a:custGeom>
                  <a:avLst/>
                  <a:gdLst>
                    <a:gd name="connsiteX0" fmla="*/ 96107 w 139731"/>
                    <a:gd name="connsiteY0" fmla="*/ 0 h 196881"/>
                    <a:gd name="connsiteX1" fmla="*/ 139732 w 139731"/>
                    <a:gd name="connsiteY1" fmla="*/ 25432 h 196881"/>
                    <a:gd name="connsiteX2" fmla="*/ 139732 w 139731"/>
                    <a:gd name="connsiteY2" fmla="*/ 26956 h 196881"/>
                    <a:gd name="connsiteX3" fmla="*/ 36004 w 139731"/>
                    <a:gd name="connsiteY3" fmla="*/ 160782 h 196881"/>
                    <a:gd name="connsiteX4" fmla="*/ 43529 w 139731"/>
                    <a:gd name="connsiteY4" fmla="*/ 174212 h 196881"/>
                    <a:gd name="connsiteX5" fmla="*/ 100679 w 139731"/>
                    <a:gd name="connsiteY5" fmla="*/ 153162 h 196881"/>
                    <a:gd name="connsiteX6" fmla="*/ 105156 w 139731"/>
                    <a:gd name="connsiteY6" fmla="*/ 154781 h 196881"/>
                    <a:gd name="connsiteX7" fmla="*/ 99155 w 139731"/>
                    <a:gd name="connsiteY7" fmla="*/ 160782 h 196881"/>
                    <a:gd name="connsiteX8" fmla="*/ 63151 w 139731"/>
                    <a:gd name="connsiteY8" fmla="*/ 196882 h 196881"/>
                    <a:gd name="connsiteX9" fmla="*/ 0 w 139731"/>
                    <a:gd name="connsiteY9" fmla="*/ 151829 h 196881"/>
                    <a:gd name="connsiteX10" fmla="*/ 96107 w 139731"/>
                    <a:gd name="connsiteY10" fmla="*/ 0 h 1968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39731" h="196881">
                      <a:moveTo>
                        <a:pt x="96107" y="0"/>
                      </a:moveTo>
                      <a:cubicBezTo>
                        <a:pt x="112967" y="3143"/>
                        <a:pt x="128969" y="15335"/>
                        <a:pt x="139732" y="25432"/>
                      </a:cubicBezTo>
                      <a:lnTo>
                        <a:pt x="139732" y="26956"/>
                      </a:lnTo>
                      <a:cubicBezTo>
                        <a:pt x="95155" y="53245"/>
                        <a:pt x="60579" y="114967"/>
                        <a:pt x="36004" y="160782"/>
                      </a:cubicBezTo>
                      <a:cubicBezTo>
                        <a:pt x="38576" y="165259"/>
                        <a:pt x="41053" y="169831"/>
                        <a:pt x="43529" y="174212"/>
                      </a:cubicBezTo>
                      <a:cubicBezTo>
                        <a:pt x="75152" y="176498"/>
                        <a:pt x="82486" y="166592"/>
                        <a:pt x="100679" y="153162"/>
                      </a:cubicBezTo>
                      <a:lnTo>
                        <a:pt x="105156" y="154781"/>
                      </a:lnTo>
                      <a:cubicBezTo>
                        <a:pt x="103251" y="156591"/>
                        <a:pt x="101251" y="158782"/>
                        <a:pt x="99155" y="160782"/>
                      </a:cubicBezTo>
                      <a:cubicBezTo>
                        <a:pt x="93917" y="172307"/>
                        <a:pt x="76867" y="194024"/>
                        <a:pt x="63151" y="196882"/>
                      </a:cubicBezTo>
                      <a:cubicBezTo>
                        <a:pt x="42100" y="181832"/>
                        <a:pt x="21050" y="166783"/>
                        <a:pt x="0" y="151829"/>
                      </a:cubicBezTo>
                      <a:cubicBezTo>
                        <a:pt x="26003" y="128111"/>
                        <a:pt x="104965" y="41338"/>
                        <a:pt x="96107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0" name="任意多边形: 形状 129">
                  <a:extLst>
                    <a:ext uri="{FF2B5EF4-FFF2-40B4-BE49-F238E27FC236}">
                      <a16:creationId xmlns:a16="http://schemas.microsoft.com/office/drawing/2014/main" id="{AAF186F8-2391-49D5-98D3-5631F640414A}"/>
                    </a:ext>
                  </a:extLst>
                </p:cNvPr>
                <p:cNvSpPr/>
                <p:nvPr/>
              </p:nvSpPr>
              <p:spPr>
                <a:xfrm>
                  <a:off x="4254595" y="6098285"/>
                  <a:ext cx="5905" cy="7429"/>
                </a:xfrm>
                <a:custGeom>
                  <a:avLst/>
                  <a:gdLst>
                    <a:gd name="connsiteX0" fmla="*/ 0 w 5905"/>
                    <a:gd name="connsiteY0" fmla="*/ 0 h 7429"/>
                    <a:gd name="connsiteX1" fmla="*/ 2953 w 5905"/>
                    <a:gd name="connsiteY1" fmla="*/ 7429 h 7429"/>
                    <a:gd name="connsiteX2" fmla="*/ 5905 w 5905"/>
                    <a:gd name="connsiteY2" fmla="*/ 7429 h 7429"/>
                    <a:gd name="connsiteX3" fmla="*/ 5905 w 5905"/>
                    <a:gd name="connsiteY3" fmla="*/ 1429 h 7429"/>
                    <a:gd name="connsiteX4" fmla="*/ 0 w 5905"/>
                    <a:gd name="connsiteY4" fmla="*/ 0 h 74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05" h="7429">
                      <a:moveTo>
                        <a:pt x="0" y="0"/>
                      </a:moveTo>
                      <a:cubicBezTo>
                        <a:pt x="857" y="2572"/>
                        <a:pt x="2000" y="5144"/>
                        <a:pt x="2953" y="7429"/>
                      </a:cubicBezTo>
                      <a:lnTo>
                        <a:pt x="5905" y="7429"/>
                      </a:lnTo>
                      <a:lnTo>
                        <a:pt x="5905" y="1429"/>
                      </a:lnTo>
                      <a:cubicBezTo>
                        <a:pt x="4000" y="953"/>
                        <a:pt x="2000" y="476"/>
                        <a:pt x="0" y="0"/>
                      </a:cubicBezTo>
                      <a:close/>
                    </a:path>
                  </a:pathLst>
                </a:custGeom>
                <a:noFill/>
                <a:ln w="2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1" name="任意多边形: 形状 130">
                  <a:extLst>
                    <a:ext uri="{FF2B5EF4-FFF2-40B4-BE49-F238E27FC236}">
                      <a16:creationId xmlns:a16="http://schemas.microsoft.com/office/drawing/2014/main" id="{76733AE8-B898-4F56-9EAE-09556610D64E}"/>
                    </a:ext>
                  </a:extLst>
                </p:cNvPr>
                <p:cNvSpPr/>
                <p:nvPr/>
              </p:nvSpPr>
              <p:spPr>
                <a:xfrm>
                  <a:off x="4100170" y="6129813"/>
                  <a:ext cx="123802" cy="195357"/>
                </a:xfrm>
                <a:custGeom>
                  <a:avLst/>
                  <a:gdLst>
                    <a:gd name="connsiteX0" fmla="*/ 44697 w 123802"/>
                    <a:gd name="connsiteY0" fmla="*/ 0 h 195357"/>
                    <a:gd name="connsiteX1" fmla="*/ 71748 w 123802"/>
                    <a:gd name="connsiteY1" fmla="*/ 43529 h 195357"/>
                    <a:gd name="connsiteX2" fmla="*/ 70224 w 123802"/>
                    <a:gd name="connsiteY2" fmla="*/ 45053 h 195357"/>
                    <a:gd name="connsiteX3" fmla="*/ 64223 w 123802"/>
                    <a:gd name="connsiteY3" fmla="*/ 45053 h 195357"/>
                    <a:gd name="connsiteX4" fmla="*/ 29742 w 123802"/>
                    <a:gd name="connsiteY4" fmla="*/ 18098 h 195357"/>
                    <a:gd name="connsiteX5" fmla="*/ 19170 w 123802"/>
                    <a:gd name="connsiteY5" fmla="*/ 21146 h 195357"/>
                    <a:gd name="connsiteX6" fmla="*/ 89845 w 123802"/>
                    <a:gd name="connsiteY6" fmla="*/ 84201 h 195357"/>
                    <a:gd name="connsiteX7" fmla="*/ 119754 w 123802"/>
                    <a:gd name="connsiteY7" fmla="*/ 132302 h 195357"/>
                    <a:gd name="connsiteX8" fmla="*/ 119754 w 123802"/>
                    <a:gd name="connsiteY8" fmla="*/ 171355 h 195357"/>
                    <a:gd name="connsiteX9" fmla="*/ 74796 w 123802"/>
                    <a:gd name="connsiteY9" fmla="*/ 195358 h 195357"/>
                    <a:gd name="connsiteX10" fmla="*/ 71748 w 123802"/>
                    <a:gd name="connsiteY10" fmla="*/ 193929 h 195357"/>
                    <a:gd name="connsiteX11" fmla="*/ 49173 w 123802"/>
                    <a:gd name="connsiteY11" fmla="*/ 148685 h 195357"/>
                    <a:gd name="connsiteX12" fmla="*/ 52126 w 123802"/>
                    <a:gd name="connsiteY12" fmla="*/ 145733 h 195357"/>
                    <a:gd name="connsiteX13" fmla="*/ 56698 w 123802"/>
                    <a:gd name="connsiteY13" fmla="*/ 145733 h 195357"/>
                    <a:gd name="connsiteX14" fmla="*/ 95655 w 123802"/>
                    <a:gd name="connsiteY14" fmla="*/ 175927 h 195357"/>
                    <a:gd name="connsiteX15" fmla="*/ 109181 w 123802"/>
                    <a:gd name="connsiteY15" fmla="*/ 163925 h 195357"/>
                    <a:gd name="connsiteX16" fmla="*/ 32505 w 123802"/>
                    <a:gd name="connsiteY16" fmla="*/ 105251 h 195357"/>
                    <a:gd name="connsiteX17" fmla="*/ 8406 w 123802"/>
                    <a:gd name="connsiteY17" fmla="*/ 66008 h 195357"/>
                    <a:gd name="connsiteX18" fmla="*/ 977 w 123802"/>
                    <a:gd name="connsiteY18" fmla="*/ 30004 h 195357"/>
                    <a:gd name="connsiteX19" fmla="*/ 44697 w 123802"/>
                    <a:gd name="connsiteY19" fmla="*/ 0 h 1953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23802" h="195357">
                      <a:moveTo>
                        <a:pt x="44697" y="0"/>
                      </a:moveTo>
                      <a:cubicBezTo>
                        <a:pt x="57460" y="4382"/>
                        <a:pt x="69176" y="29146"/>
                        <a:pt x="71748" y="43529"/>
                      </a:cubicBezTo>
                      <a:cubicBezTo>
                        <a:pt x="71176" y="44101"/>
                        <a:pt x="70795" y="44672"/>
                        <a:pt x="70224" y="45053"/>
                      </a:cubicBezTo>
                      <a:lnTo>
                        <a:pt x="64223" y="45053"/>
                      </a:lnTo>
                      <a:cubicBezTo>
                        <a:pt x="54888" y="32480"/>
                        <a:pt x="42601" y="27242"/>
                        <a:pt x="29742" y="18098"/>
                      </a:cubicBezTo>
                      <a:lnTo>
                        <a:pt x="19170" y="21146"/>
                      </a:lnTo>
                      <a:cubicBezTo>
                        <a:pt x="3453" y="72390"/>
                        <a:pt x="60127" y="64961"/>
                        <a:pt x="89845" y="84201"/>
                      </a:cubicBezTo>
                      <a:cubicBezTo>
                        <a:pt x="104895" y="94012"/>
                        <a:pt x="113943" y="112871"/>
                        <a:pt x="119754" y="132302"/>
                      </a:cubicBezTo>
                      <a:cubicBezTo>
                        <a:pt x="123468" y="143828"/>
                        <a:pt x="126612" y="159353"/>
                        <a:pt x="119754" y="171355"/>
                      </a:cubicBezTo>
                      <a:cubicBezTo>
                        <a:pt x="111562" y="185928"/>
                        <a:pt x="88226" y="186214"/>
                        <a:pt x="74796" y="195358"/>
                      </a:cubicBezTo>
                      <a:lnTo>
                        <a:pt x="71748" y="193929"/>
                      </a:lnTo>
                      <a:cubicBezTo>
                        <a:pt x="64223" y="178879"/>
                        <a:pt x="56793" y="163830"/>
                        <a:pt x="49173" y="148685"/>
                      </a:cubicBezTo>
                      <a:cubicBezTo>
                        <a:pt x="50221" y="147828"/>
                        <a:pt x="51174" y="146780"/>
                        <a:pt x="52126" y="145733"/>
                      </a:cubicBezTo>
                      <a:lnTo>
                        <a:pt x="56698" y="145733"/>
                      </a:lnTo>
                      <a:cubicBezTo>
                        <a:pt x="66414" y="161258"/>
                        <a:pt x="77082" y="168783"/>
                        <a:pt x="95655" y="175927"/>
                      </a:cubicBezTo>
                      <a:cubicBezTo>
                        <a:pt x="102037" y="171831"/>
                        <a:pt x="105657" y="171164"/>
                        <a:pt x="109181" y="163925"/>
                      </a:cubicBezTo>
                      <a:cubicBezTo>
                        <a:pt x="117087" y="116586"/>
                        <a:pt x="58413" y="124206"/>
                        <a:pt x="32505" y="105251"/>
                      </a:cubicBezTo>
                      <a:cubicBezTo>
                        <a:pt x="19741" y="95917"/>
                        <a:pt x="14979" y="82106"/>
                        <a:pt x="8406" y="66008"/>
                      </a:cubicBezTo>
                      <a:cubicBezTo>
                        <a:pt x="4692" y="56864"/>
                        <a:pt x="-2643" y="43529"/>
                        <a:pt x="977" y="30004"/>
                      </a:cubicBezTo>
                      <a:cubicBezTo>
                        <a:pt x="6882" y="7620"/>
                        <a:pt x="33267" y="15431"/>
                        <a:pt x="44697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2" name="任意多边形: 形状 131">
                  <a:extLst>
                    <a:ext uri="{FF2B5EF4-FFF2-40B4-BE49-F238E27FC236}">
                      <a16:creationId xmlns:a16="http://schemas.microsoft.com/office/drawing/2014/main" id="{3DC80E9C-63BA-44E6-8076-3216ACC4C36F}"/>
                    </a:ext>
                  </a:extLst>
                </p:cNvPr>
                <p:cNvSpPr/>
                <p:nvPr/>
              </p:nvSpPr>
              <p:spPr>
                <a:xfrm>
                  <a:off x="2874708" y="6140291"/>
                  <a:ext cx="186404" cy="232095"/>
                </a:xfrm>
                <a:custGeom>
                  <a:avLst/>
                  <a:gdLst>
                    <a:gd name="connsiteX0" fmla="*/ 67627 w 186404"/>
                    <a:gd name="connsiteY0" fmla="*/ 0 h 232095"/>
                    <a:gd name="connsiteX1" fmla="*/ 186404 w 186404"/>
                    <a:gd name="connsiteY1" fmla="*/ 58674 h 232095"/>
                    <a:gd name="connsiteX2" fmla="*/ 183451 w 186404"/>
                    <a:gd name="connsiteY2" fmla="*/ 63246 h 232095"/>
                    <a:gd name="connsiteX3" fmla="*/ 120301 w 186404"/>
                    <a:gd name="connsiteY3" fmla="*/ 212122 h 232095"/>
                    <a:gd name="connsiteX4" fmla="*/ 136874 w 186404"/>
                    <a:gd name="connsiteY4" fmla="*/ 227171 h 232095"/>
                    <a:gd name="connsiteX5" fmla="*/ 160782 w 186404"/>
                    <a:gd name="connsiteY5" fmla="*/ 216503 h 232095"/>
                    <a:gd name="connsiteX6" fmla="*/ 160782 w 186404"/>
                    <a:gd name="connsiteY6" fmla="*/ 222504 h 232095"/>
                    <a:gd name="connsiteX7" fmla="*/ 159448 w 186404"/>
                    <a:gd name="connsiteY7" fmla="*/ 225457 h 232095"/>
                    <a:gd name="connsiteX8" fmla="*/ 102203 w 186404"/>
                    <a:gd name="connsiteY8" fmla="*/ 213360 h 232095"/>
                    <a:gd name="connsiteX9" fmla="*/ 132302 w 186404"/>
                    <a:gd name="connsiteY9" fmla="*/ 82677 h 232095"/>
                    <a:gd name="connsiteX10" fmla="*/ 120206 w 186404"/>
                    <a:gd name="connsiteY10" fmla="*/ 85630 h 232095"/>
                    <a:gd name="connsiteX11" fmla="*/ 117253 w 186404"/>
                    <a:gd name="connsiteY11" fmla="*/ 34576 h 232095"/>
                    <a:gd name="connsiteX12" fmla="*/ 39148 w 186404"/>
                    <a:gd name="connsiteY12" fmla="*/ 171450 h 232095"/>
                    <a:gd name="connsiteX13" fmla="*/ 40577 w 186404"/>
                    <a:gd name="connsiteY13" fmla="*/ 190976 h 232095"/>
                    <a:gd name="connsiteX14" fmla="*/ 0 w 186404"/>
                    <a:gd name="connsiteY14" fmla="*/ 168497 h 232095"/>
                    <a:gd name="connsiteX15" fmla="*/ 1524 w 186404"/>
                    <a:gd name="connsiteY15" fmla="*/ 162496 h 232095"/>
                    <a:gd name="connsiteX16" fmla="*/ 16573 w 186404"/>
                    <a:gd name="connsiteY16" fmla="*/ 160972 h 232095"/>
                    <a:gd name="connsiteX17" fmla="*/ 88773 w 186404"/>
                    <a:gd name="connsiteY17" fmla="*/ 18097 h 232095"/>
                    <a:gd name="connsiteX18" fmla="*/ 85820 w 186404"/>
                    <a:gd name="connsiteY18" fmla="*/ 16669 h 232095"/>
                    <a:gd name="connsiteX19" fmla="*/ 76771 w 186404"/>
                    <a:gd name="connsiteY19" fmla="*/ 15145 h 232095"/>
                    <a:gd name="connsiteX20" fmla="*/ 48196 w 186404"/>
                    <a:gd name="connsiteY20" fmla="*/ 40672 h 232095"/>
                    <a:gd name="connsiteX21" fmla="*/ 45244 w 186404"/>
                    <a:gd name="connsiteY21" fmla="*/ 39338 h 232095"/>
                    <a:gd name="connsiteX22" fmla="*/ 45244 w 186404"/>
                    <a:gd name="connsiteY22" fmla="*/ 34671 h 232095"/>
                    <a:gd name="connsiteX23" fmla="*/ 67627 w 186404"/>
                    <a:gd name="connsiteY23" fmla="*/ 0 h 2320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86404" h="232095">
                      <a:moveTo>
                        <a:pt x="67627" y="0"/>
                      </a:moveTo>
                      <a:cubicBezTo>
                        <a:pt x="78391" y="1238"/>
                        <a:pt x="177927" y="51245"/>
                        <a:pt x="186404" y="58674"/>
                      </a:cubicBezTo>
                      <a:cubicBezTo>
                        <a:pt x="185547" y="60198"/>
                        <a:pt x="184499" y="61627"/>
                        <a:pt x="183451" y="63246"/>
                      </a:cubicBezTo>
                      <a:cubicBezTo>
                        <a:pt x="166497" y="64961"/>
                        <a:pt x="113062" y="190214"/>
                        <a:pt x="120301" y="212122"/>
                      </a:cubicBezTo>
                      <a:cubicBezTo>
                        <a:pt x="123920" y="220789"/>
                        <a:pt x="128683" y="223076"/>
                        <a:pt x="136874" y="227171"/>
                      </a:cubicBezTo>
                      <a:cubicBezTo>
                        <a:pt x="144875" y="223552"/>
                        <a:pt x="152971" y="220028"/>
                        <a:pt x="160782" y="216503"/>
                      </a:cubicBezTo>
                      <a:lnTo>
                        <a:pt x="160782" y="222504"/>
                      </a:lnTo>
                      <a:cubicBezTo>
                        <a:pt x="160306" y="223456"/>
                        <a:pt x="159925" y="224600"/>
                        <a:pt x="159448" y="225457"/>
                      </a:cubicBezTo>
                      <a:cubicBezTo>
                        <a:pt x="136684" y="233267"/>
                        <a:pt x="113348" y="239078"/>
                        <a:pt x="102203" y="213360"/>
                      </a:cubicBezTo>
                      <a:cubicBezTo>
                        <a:pt x="87154" y="163735"/>
                        <a:pt x="126778" y="125444"/>
                        <a:pt x="132302" y="82677"/>
                      </a:cubicBezTo>
                      <a:lnTo>
                        <a:pt x="120206" y="85630"/>
                      </a:lnTo>
                      <a:cubicBezTo>
                        <a:pt x="121729" y="64961"/>
                        <a:pt x="131350" y="47149"/>
                        <a:pt x="117253" y="34576"/>
                      </a:cubicBezTo>
                      <a:cubicBezTo>
                        <a:pt x="103727" y="43053"/>
                        <a:pt x="42577" y="152114"/>
                        <a:pt x="39148" y="171450"/>
                      </a:cubicBezTo>
                      <a:cubicBezTo>
                        <a:pt x="39624" y="177927"/>
                        <a:pt x="40005" y="184404"/>
                        <a:pt x="40577" y="190976"/>
                      </a:cubicBezTo>
                      <a:cubicBezTo>
                        <a:pt x="27146" y="183547"/>
                        <a:pt x="13525" y="175831"/>
                        <a:pt x="0" y="168497"/>
                      </a:cubicBezTo>
                      <a:cubicBezTo>
                        <a:pt x="571" y="166402"/>
                        <a:pt x="1048" y="164306"/>
                        <a:pt x="1524" y="162496"/>
                      </a:cubicBezTo>
                      <a:cubicBezTo>
                        <a:pt x="6572" y="161925"/>
                        <a:pt x="11525" y="161354"/>
                        <a:pt x="16573" y="160972"/>
                      </a:cubicBezTo>
                      <a:cubicBezTo>
                        <a:pt x="31337" y="121920"/>
                        <a:pt x="84868" y="62579"/>
                        <a:pt x="88773" y="18097"/>
                      </a:cubicBezTo>
                      <a:cubicBezTo>
                        <a:pt x="87725" y="17526"/>
                        <a:pt x="86677" y="17145"/>
                        <a:pt x="85820" y="16669"/>
                      </a:cubicBezTo>
                      <a:cubicBezTo>
                        <a:pt x="82772" y="16193"/>
                        <a:pt x="79819" y="15716"/>
                        <a:pt x="76771" y="15145"/>
                      </a:cubicBezTo>
                      <a:cubicBezTo>
                        <a:pt x="66389" y="23813"/>
                        <a:pt x="57817" y="31623"/>
                        <a:pt x="48196" y="40672"/>
                      </a:cubicBezTo>
                      <a:cubicBezTo>
                        <a:pt x="47149" y="40291"/>
                        <a:pt x="46196" y="39814"/>
                        <a:pt x="45244" y="39338"/>
                      </a:cubicBezTo>
                      <a:lnTo>
                        <a:pt x="45244" y="34671"/>
                      </a:lnTo>
                      <a:cubicBezTo>
                        <a:pt x="52578" y="23051"/>
                        <a:pt x="60198" y="11525"/>
                        <a:pt x="67627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3" name="任意多边形: 形状 132">
                  <a:extLst>
                    <a:ext uri="{FF2B5EF4-FFF2-40B4-BE49-F238E27FC236}">
                      <a16:creationId xmlns:a16="http://schemas.microsoft.com/office/drawing/2014/main" id="{947EB6DB-2BE3-4A0B-B7EE-6B22C1AABFB8}"/>
                    </a:ext>
                  </a:extLst>
                </p:cNvPr>
                <p:cNvSpPr/>
                <p:nvPr/>
              </p:nvSpPr>
              <p:spPr>
                <a:xfrm>
                  <a:off x="3997420" y="6169902"/>
                  <a:ext cx="151996" cy="198894"/>
                </a:xfrm>
                <a:custGeom>
                  <a:avLst/>
                  <a:gdLst>
                    <a:gd name="connsiteX0" fmla="*/ 112871 w 151996"/>
                    <a:gd name="connsiteY0" fmla="*/ 126885 h 198894"/>
                    <a:gd name="connsiteX1" fmla="*/ 103823 w 151996"/>
                    <a:gd name="connsiteY1" fmla="*/ 125266 h 198894"/>
                    <a:gd name="connsiteX2" fmla="*/ 79820 w 151996"/>
                    <a:gd name="connsiteY2" fmla="*/ 104311 h 198894"/>
                    <a:gd name="connsiteX3" fmla="*/ 76772 w 151996"/>
                    <a:gd name="connsiteY3" fmla="*/ 107263 h 198894"/>
                    <a:gd name="connsiteX4" fmla="*/ 103823 w 151996"/>
                    <a:gd name="connsiteY4" fmla="*/ 171843 h 198894"/>
                    <a:gd name="connsiteX5" fmla="*/ 135350 w 151996"/>
                    <a:gd name="connsiteY5" fmla="*/ 129838 h 198894"/>
                    <a:gd name="connsiteX6" fmla="*/ 142780 w 151996"/>
                    <a:gd name="connsiteY6" fmla="*/ 129838 h 198894"/>
                    <a:gd name="connsiteX7" fmla="*/ 145828 w 151996"/>
                    <a:gd name="connsiteY7" fmla="*/ 131267 h 198894"/>
                    <a:gd name="connsiteX8" fmla="*/ 148781 w 151996"/>
                    <a:gd name="connsiteY8" fmla="*/ 171843 h 198894"/>
                    <a:gd name="connsiteX9" fmla="*/ 72200 w 151996"/>
                    <a:gd name="connsiteY9" fmla="*/ 198894 h 198894"/>
                    <a:gd name="connsiteX10" fmla="*/ 69247 w 151996"/>
                    <a:gd name="connsiteY10" fmla="*/ 194417 h 198894"/>
                    <a:gd name="connsiteX11" fmla="*/ 0 w 151996"/>
                    <a:gd name="connsiteY11" fmla="*/ 31921 h 198894"/>
                    <a:gd name="connsiteX12" fmla="*/ 1524 w 151996"/>
                    <a:gd name="connsiteY12" fmla="*/ 25920 h 198894"/>
                    <a:gd name="connsiteX13" fmla="*/ 84201 w 151996"/>
                    <a:gd name="connsiteY13" fmla="*/ 393 h 198894"/>
                    <a:gd name="connsiteX14" fmla="*/ 100775 w 151996"/>
                    <a:gd name="connsiteY14" fmla="*/ 42589 h 198894"/>
                    <a:gd name="connsiteX15" fmla="*/ 99155 w 151996"/>
                    <a:gd name="connsiteY15" fmla="*/ 44018 h 198894"/>
                    <a:gd name="connsiteX16" fmla="*/ 93154 w 151996"/>
                    <a:gd name="connsiteY16" fmla="*/ 44018 h 198894"/>
                    <a:gd name="connsiteX17" fmla="*/ 72200 w 151996"/>
                    <a:gd name="connsiteY17" fmla="*/ 19919 h 198894"/>
                    <a:gd name="connsiteX18" fmla="*/ 45149 w 151996"/>
                    <a:gd name="connsiteY18" fmla="*/ 24586 h 198894"/>
                    <a:gd name="connsiteX19" fmla="*/ 42196 w 151996"/>
                    <a:gd name="connsiteY19" fmla="*/ 28968 h 198894"/>
                    <a:gd name="connsiteX20" fmla="*/ 69152 w 151996"/>
                    <a:gd name="connsiteY20" fmla="*/ 89071 h 198894"/>
                    <a:gd name="connsiteX21" fmla="*/ 70675 w 151996"/>
                    <a:gd name="connsiteY21" fmla="*/ 89071 h 198894"/>
                    <a:gd name="connsiteX22" fmla="*/ 75152 w 151996"/>
                    <a:gd name="connsiteY22" fmla="*/ 83070 h 198894"/>
                    <a:gd name="connsiteX23" fmla="*/ 76676 w 151996"/>
                    <a:gd name="connsiteY23" fmla="*/ 55924 h 198894"/>
                    <a:gd name="connsiteX24" fmla="*/ 84201 w 151996"/>
                    <a:gd name="connsiteY24" fmla="*/ 57543 h 198894"/>
                    <a:gd name="connsiteX25" fmla="*/ 112871 w 151996"/>
                    <a:gd name="connsiteY25" fmla="*/ 126885 h 1988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151996" h="198894">
                      <a:moveTo>
                        <a:pt x="112871" y="126885"/>
                      </a:moveTo>
                      <a:cubicBezTo>
                        <a:pt x="109823" y="126313"/>
                        <a:pt x="106871" y="125837"/>
                        <a:pt x="103823" y="125266"/>
                      </a:cubicBezTo>
                      <a:cubicBezTo>
                        <a:pt x="100203" y="114217"/>
                        <a:pt x="92202" y="106502"/>
                        <a:pt x="79820" y="104311"/>
                      </a:cubicBezTo>
                      <a:cubicBezTo>
                        <a:pt x="78677" y="105263"/>
                        <a:pt x="77819" y="106406"/>
                        <a:pt x="76772" y="107263"/>
                      </a:cubicBezTo>
                      <a:cubicBezTo>
                        <a:pt x="79629" y="128980"/>
                        <a:pt x="92964" y="155936"/>
                        <a:pt x="103823" y="171843"/>
                      </a:cubicBezTo>
                      <a:cubicBezTo>
                        <a:pt x="132017" y="172414"/>
                        <a:pt x="131445" y="152507"/>
                        <a:pt x="135350" y="129838"/>
                      </a:cubicBezTo>
                      <a:lnTo>
                        <a:pt x="142780" y="129838"/>
                      </a:lnTo>
                      <a:cubicBezTo>
                        <a:pt x="143828" y="130219"/>
                        <a:pt x="144875" y="130695"/>
                        <a:pt x="145828" y="131267"/>
                      </a:cubicBezTo>
                      <a:cubicBezTo>
                        <a:pt x="147542" y="148030"/>
                        <a:pt x="156782" y="158318"/>
                        <a:pt x="148781" y="171843"/>
                      </a:cubicBezTo>
                      <a:cubicBezTo>
                        <a:pt x="119253" y="173748"/>
                        <a:pt x="100965" y="195751"/>
                        <a:pt x="72200" y="198894"/>
                      </a:cubicBezTo>
                      <a:cubicBezTo>
                        <a:pt x="71247" y="197465"/>
                        <a:pt x="70199" y="195846"/>
                        <a:pt x="69247" y="194417"/>
                      </a:cubicBezTo>
                      <a:cubicBezTo>
                        <a:pt x="83153" y="159746"/>
                        <a:pt x="19907" y="54685"/>
                        <a:pt x="0" y="31921"/>
                      </a:cubicBezTo>
                      <a:cubicBezTo>
                        <a:pt x="572" y="30111"/>
                        <a:pt x="1143" y="28016"/>
                        <a:pt x="1524" y="25920"/>
                      </a:cubicBezTo>
                      <a:cubicBezTo>
                        <a:pt x="29147" y="21634"/>
                        <a:pt x="54769" y="-3417"/>
                        <a:pt x="84201" y="393"/>
                      </a:cubicBezTo>
                      <a:cubicBezTo>
                        <a:pt x="89725" y="14490"/>
                        <a:pt x="95250" y="28492"/>
                        <a:pt x="100775" y="42589"/>
                      </a:cubicBezTo>
                      <a:cubicBezTo>
                        <a:pt x="100203" y="43065"/>
                        <a:pt x="99536" y="43446"/>
                        <a:pt x="99155" y="44018"/>
                      </a:cubicBezTo>
                      <a:lnTo>
                        <a:pt x="93154" y="44018"/>
                      </a:lnTo>
                      <a:cubicBezTo>
                        <a:pt x="87535" y="35254"/>
                        <a:pt x="81153" y="25349"/>
                        <a:pt x="72200" y="19919"/>
                      </a:cubicBezTo>
                      <a:cubicBezTo>
                        <a:pt x="63818" y="14966"/>
                        <a:pt x="50102" y="17062"/>
                        <a:pt x="45149" y="24586"/>
                      </a:cubicBezTo>
                      <a:cubicBezTo>
                        <a:pt x="44196" y="25920"/>
                        <a:pt x="43053" y="27444"/>
                        <a:pt x="42196" y="28968"/>
                      </a:cubicBezTo>
                      <a:cubicBezTo>
                        <a:pt x="45529" y="51161"/>
                        <a:pt x="58483" y="72974"/>
                        <a:pt x="69152" y="89071"/>
                      </a:cubicBezTo>
                      <a:lnTo>
                        <a:pt x="70675" y="89071"/>
                      </a:lnTo>
                      <a:cubicBezTo>
                        <a:pt x="72104" y="87070"/>
                        <a:pt x="73628" y="85070"/>
                        <a:pt x="75152" y="83070"/>
                      </a:cubicBezTo>
                      <a:cubicBezTo>
                        <a:pt x="79439" y="75641"/>
                        <a:pt x="77343" y="66496"/>
                        <a:pt x="76676" y="55924"/>
                      </a:cubicBezTo>
                      <a:cubicBezTo>
                        <a:pt x="79153" y="56495"/>
                        <a:pt x="81534" y="57067"/>
                        <a:pt x="84201" y="57543"/>
                      </a:cubicBezTo>
                      <a:cubicBezTo>
                        <a:pt x="93726" y="80689"/>
                        <a:pt x="103346" y="103739"/>
                        <a:pt x="112871" y="126885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4" name="任意多边形: 形状 133">
                  <a:extLst>
                    <a:ext uri="{FF2B5EF4-FFF2-40B4-BE49-F238E27FC236}">
                      <a16:creationId xmlns:a16="http://schemas.microsoft.com/office/drawing/2014/main" id="{534B3BB7-EB1E-42F6-9486-FE9F0C3F40A9}"/>
                    </a:ext>
                  </a:extLst>
                </p:cNvPr>
                <p:cNvSpPr/>
                <p:nvPr/>
              </p:nvSpPr>
              <p:spPr>
                <a:xfrm>
                  <a:off x="3043205" y="6204870"/>
                  <a:ext cx="146514" cy="213645"/>
                </a:xfrm>
                <a:custGeom>
                  <a:avLst/>
                  <a:gdLst>
                    <a:gd name="connsiteX0" fmla="*/ 38957 w 146514"/>
                    <a:gd name="connsiteY0" fmla="*/ 0 h 213645"/>
                    <a:gd name="connsiteX1" fmla="*/ 82582 w 146514"/>
                    <a:gd name="connsiteY1" fmla="*/ 15145 h 213645"/>
                    <a:gd name="connsiteX2" fmla="*/ 123254 w 146514"/>
                    <a:gd name="connsiteY2" fmla="*/ 24098 h 213645"/>
                    <a:gd name="connsiteX3" fmla="*/ 108204 w 146514"/>
                    <a:gd name="connsiteY3" fmla="*/ 123349 h 213645"/>
                    <a:gd name="connsiteX4" fmla="*/ 117253 w 146514"/>
                    <a:gd name="connsiteY4" fmla="*/ 213646 h 213645"/>
                    <a:gd name="connsiteX5" fmla="*/ 106680 w 146514"/>
                    <a:gd name="connsiteY5" fmla="*/ 213646 h 213645"/>
                    <a:gd name="connsiteX6" fmla="*/ 88678 w 146514"/>
                    <a:gd name="connsiteY6" fmla="*/ 207645 h 213645"/>
                    <a:gd name="connsiteX7" fmla="*/ 79629 w 146514"/>
                    <a:gd name="connsiteY7" fmla="*/ 129350 h 213645"/>
                    <a:gd name="connsiteX8" fmla="*/ 76676 w 146514"/>
                    <a:gd name="connsiteY8" fmla="*/ 128016 h 213645"/>
                    <a:gd name="connsiteX9" fmla="*/ 60198 w 146514"/>
                    <a:gd name="connsiteY9" fmla="*/ 172974 h 213645"/>
                    <a:gd name="connsiteX10" fmla="*/ 63151 w 146514"/>
                    <a:gd name="connsiteY10" fmla="*/ 200025 h 213645"/>
                    <a:gd name="connsiteX11" fmla="*/ 61627 w 146514"/>
                    <a:gd name="connsiteY11" fmla="*/ 200025 h 213645"/>
                    <a:gd name="connsiteX12" fmla="*/ 18002 w 146514"/>
                    <a:gd name="connsiteY12" fmla="*/ 184976 h 213645"/>
                    <a:gd name="connsiteX13" fmla="*/ 19621 w 146514"/>
                    <a:gd name="connsiteY13" fmla="*/ 180594 h 213645"/>
                    <a:gd name="connsiteX14" fmla="*/ 75152 w 146514"/>
                    <a:gd name="connsiteY14" fmla="*/ 27146 h 213645"/>
                    <a:gd name="connsiteX15" fmla="*/ 64675 w 146514"/>
                    <a:gd name="connsiteY15" fmla="*/ 16669 h 213645"/>
                    <a:gd name="connsiteX16" fmla="*/ 2953 w 146514"/>
                    <a:gd name="connsiteY16" fmla="*/ 139922 h 213645"/>
                    <a:gd name="connsiteX17" fmla="*/ 0 w 146514"/>
                    <a:gd name="connsiteY17" fmla="*/ 138398 h 213645"/>
                    <a:gd name="connsiteX18" fmla="*/ 45053 w 146514"/>
                    <a:gd name="connsiteY18" fmla="*/ 22670 h 213645"/>
                    <a:gd name="connsiteX19" fmla="*/ 38957 w 146514"/>
                    <a:gd name="connsiteY19" fmla="*/ 0 h 2136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46514" h="213645">
                      <a:moveTo>
                        <a:pt x="38957" y="0"/>
                      </a:moveTo>
                      <a:cubicBezTo>
                        <a:pt x="54388" y="1238"/>
                        <a:pt x="69533" y="11144"/>
                        <a:pt x="82582" y="15145"/>
                      </a:cubicBezTo>
                      <a:cubicBezTo>
                        <a:pt x="96202" y="18193"/>
                        <a:pt x="109538" y="21146"/>
                        <a:pt x="123254" y="24098"/>
                      </a:cubicBezTo>
                      <a:cubicBezTo>
                        <a:pt x="173355" y="46387"/>
                        <a:pt x="130207" y="105823"/>
                        <a:pt x="108204" y="123349"/>
                      </a:cubicBezTo>
                      <a:cubicBezTo>
                        <a:pt x="111252" y="153543"/>
                        <a:pt x="114205" y="183547"/>
                        <a:pt x="117253" y="213646"/>
                      </a:cubicBezTo>
                      <a:lnTo>
                        <a:pt x="106680" y="213646"/>
                      </a:lnTo>
                      <a:cubicBezTo>
                        <a:pt x="100679" y="211550"/>
                        <a:pt x="94679" y="209645"/>
                        <a:pt x="88678" y="207645"/>
                      </a:cubicBezTo>
                      <a:cubicBezTo>
                        <a:pt x="85725" y="181546"/>
                        <a:pt x="82677" y="155448"/>
                        <a:pt x="79629" y="129350"/>
                      </a:cubicBezTo>
                      <a:cubicBezTo>
                        <a:pt x="78772" y="128969"/>
                        <a:pt x="77724" y="128492"/>
                        <a:pt x="76676" y="128016"/>
                      </a:cubicBezTo>
                      <a:cubicBezTo>
                        <a:pt x="71152" y="142970"/>
                        <a:pt x="65722" y="158020"/>
                        <a:pt x="60198" y="172974"/>
                      </a:cubicBezTo>
                      <a:cubicBezTo>
                        <a:pt x="57817" y="186309"/>
                        <a:pt x="65056" y="189833"/>
                        <a:pt x="63151" y="200025"/>
                      </a:cubicBezTo>
                      <a:lnTo>
                        <a:pt x="61627" y="200025"/>
                      </a:lnTo>
                      <a:cubicBezTo>
                        <a:pt x="46482" y="198215"/>
                        <a:pt x="29146" y="191738"/>
                        <a:pt x="18002" y="184976"/>
                      </a:cubicBezTo>
                      <a:cubicBezTo>
                        <a:pt x="18574" y="183547"/>
                        <a:pt x="19050" y="181928"/>
                        <a:pt x="19621" y="180594"/>
                      </a:cubicBezTo>
                      <a:cubicBezTo>
                        <a:pt x="42767" y="167354"/>
                        <a:pt x="70485" y="62008"/>
                        <a:pt x="75152" y="27146"/>
                      </a:cubicBezTo>
                      <a:cubicBezTo>
                        <a:pt x="71342" y="22479"/>
                        <a:pt x="70104" y="19907"/>
                        <a:pt x="64675" y="16669"/>
                      </a:cubicBezTo>
                      <a:cubicBezTo>
                        <a:pt x="26670" y="39719"/>
                        <a:pt x="35433" y="111252"/>
                        <a:pt x="2953" y="139922"/>
                      </a:cubicBezTo>
                      <a:lnTo>
                        <a:pt x="0" y="138398"/>
                      </a:lnTo>
                      <a:cubicBezTo>
                        <a:pt x="15050" y="99822"/>
                        <a:pt x="30099" y="61341"/>
                        <a:pt x="45053" y="22670"/>
                      </a:cubicBezTo>
                      <a:cubicBezTo>
                        <a:pt x="46196" y="12573"/>
                        <a:pt x="38195" y="8192"/>
                        <a:pt x="38957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5" name="任意多边形: 形状 134">
                  <a:extLst>
                    <a:ext uri="{FF2B5EF4-FFF2-40B4-BE49-F238E27FC236}">
                      <a16:creationId xmlns:a16="http://schemas.microsoft.com/office/drawing/2014/main" id="{607E0C35-D162-4A20-AF67-20E5858C054A}"/>
                    </a:ext>
                  </a:extLst>
                </p:cNvPr>
                <p:cNvSpPr/>
                <p:nvPr/>
              </p:nvSpPr>
              <p:spPr>
                <a:xfrm>
                  <a:off x="3905694" y="6212581"/>
                  <a:ext cx="147256" cy="189186"/>
                </a:xfrm>
                <a:custGeom>
                  <a:avLst/>
                  <a:gdLst>
                    <a:gd name="connsiteX0" fmla="*/ 40672 w 147256"/>
                    <a:gd name="connsiteY0" fmla="*/ 4 h 189186"/>
                    <a:gd name="connsiteX1" fmla="*/ 102298 w 147256"/>
                    <a:gd name="connsiteY1" fmla="*/ 69061 h 189186"/>
                    <a:gd name="connsiteX2" fmla="*/ 94679 w 147256"/>
                    <a:gd name="connsiteY2" fmla="*/ 91635 h 189186"/>
                    <a:gd name="connsiteX3" fmla="*/ 147256 w 147256"/>
                    <a:gd name="connsiteY3" fmla="*/ 157834 h 189186"/>
                    <a:gd name="connsiteX4" fmla="*/ 145828 w 147256"/>
                    <a:gd name="connsiteY4" fmla="*/ 165168 h 189186"/>
                    <a:gd name="connsiteX5" fmla="*/ 124777 w 147256"/>
                    <a:gd name="connsiteY5" fmla="*/ 171264 h 189186"/>
                    <a:gd name="connsiteX6" fmla="*/ 69247 w 147256"/>
                    <a:gd name="connsiteY6" fmla="*/ 108113 h 189186"/>
                    <a:gd name="connsiteX7" fmla="*/ 66104 w 147256"/>
                    <a:gd name="connsiteY7" fmla="*/ 111257 h 189186"/>
                    <a:gd name="connsiteX8" fmla="*/ 96202 w 147256"/>
                    <a:gd name="connsiteY8" fmla="*/ 174217 h 189186"/>
                    <a:gd name="connsiteX9" fmla="*/ 48101 w 147256"/>
                    <a:gd name="connsiteY9" fmla="*/ 186313 h 189186"/>
                    <a:gd name="connsiteX10" fmla="*/ 0 w 147256"/>
                    <a:gd name="connsiteY10" fmla="*/ 18007 h 189186"/>
                    <a:gd name="connsiteX11" fmla="*/ 0 w 147256"/>
                    <a:gd name="connsiteY11" fmla="*/ 13435 h 189186"/>
                    <a:gd name="connsiteX12" fmla="*/ 40672 w 147256"/>
                    <a:gd name="connsiteY12" fmla="*/ 4 h 1891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47256" h="189186">
                      <a:moveTo>
                        <a:pt x="40672" y="4"/>
                      </a:moveTo>
                      <a:cubicBezTo>
                        <a:pt x="83344" y="-376"/>
                        <a:pt x="117062" y="24579"/>
                        <a:pt x="102298" y="69061"/>
                      </a:cubicBezTo>
                      <a:cubicBezTo>
                        <a:pt x="100489" y="74585"/>
                        <a:pt x="91250" y="81062"/>
                        <a:pt x="94679" y="91635"/>
                      </a:cubicBezTo>
                      <a:cubicBezTo>
                        <a:pt x="102489" y="115066"/>
                        <a:pt x="131635" y="139832"/>
                        <a:pt x="147256" y="157834"/>
                      </a:cubicBezTo>
                      <a:cubicBezTo>
                        <a:pt x="146780" y="160310"/>
                        <a:pt x="146304" y="162787"/>
                        <a:pt x="145828" y="165168"/>
                      </a:cubicBezTo>
                      <a:cubicBezTo>
                        <a:pt x="134398" y="165358"/>
                        <a:pt x="132112" y="167835"/>
                        <a:pt x="124777" y="171264"/>
                      </a:cubicBezTo>
                      <a:cubicBezTo>
                        <a:pt x="100203" y="159643"/>
                        <a:pt x="88582" y="125925"/>
                        <a:pt x="69247" y="108113"/>
                      </a:cubicBezTo>
                      <a:cubicBezTo>
                        <a:pt x="68008" y="109161"/>
                        <a:pt x="67151" y="110113"/>
                        <a:pt x="66104" y="111257"/>
                      </a:cubicBezTo>
                      <a:cubicBezTo>
                        <a:pt x="73533" y="137069"/>
                        <a:pt x="81058" y="157167"/>
                        <a:pt x="96202" y="174217"/>
                      </a:cubicBezTo>
                      <a:cubicBezTo>
                        <a:pt x="90202" y="182313"/>
                        <a:pt x="59626" y="194886"/>
                        <a:pt x="48101" y="186313"/>
                      </a:cubicBezTo>
                      <a:cubicBezTo>
                        <a:pt x="63246" y="157548"/>
                        <a:pt x="18669" y="36390"/>
                        <a:pt x="0" y="18007"/>
                      </a:cubicBezTo>
                      <a:lnTo>
                        <a:pt x="0" y="13435"/>
                      </a:lnTo>
                      <a:cubicBezTo>
                        <a:pt x="13716" y="8958"/>
                        <a:pt x="27146" y="4386"/>
                        <a:pt x="40672" y="4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6" name="任意多边形: 形状 135">
                  <a:extLst>
                    <a:ext uri="{FF2B5EF4-FFF2-40B4-BE49-F238E27FC236}">
                      <a16:creationId xmlns:a16="http://schemas.microsoft.com/office/drawing/2014/main" id="{1CA61449-B18D-4629-BB9E-42E68ECBA125}"/>
                    </a:ext>
                  </a:extLst>
                </p:cNvPr>
                <p:cNvSpPr/>
                <p:nvPr/>
              </p:nvSpPr>
              <p:spPr>
                <a:xfrm>
                  <a:off x="3946366" y="6222968"/>
                  <a:ext cx="38351" cy="75152"/>
                </a:xfrm>
                <a:custGeom>
                  <a:avLst/>
                  <a:gdLst>
                    <a:gd name="connsiteX0" fmla="*/ 9049 w 38351"/>
                    <a:gd name="connsiteY0" fmla="*/ 0 h 75152"/>
                    <a:gd name="connsiteX1" fmla="*/ 0 w 38351"/>
                    <a:gd name="connsiteY1" fmla="*/ 7620 h 75152"/>
                    <a:gd name="connsiteX2" fmla="*/ 21050 w 38351"/>
                    <a:gd name="connsiteY2" fmla="*/ 75152 h 75152"/>
                    <a:gd name="connsiteX3" fmla="*/ 34576 w 38351"/>
                    <a:gd name="connsiteY3" fmla="*/ 66104 h 75152"/>
                    <a:gd name="connsiteX4" fmla="*/ 9049 w 38351"/>
                    <a:gd name="connsiteY4" fmla="*/ 0 h 751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351" h="75152">
                      <a:moveTo>
                        <a:pt x="9049" y="0"/>
                      </a:moveTo>
                      <a:cubicBezTo>
                        <a:pt x="6096" y="2477"/>
                        <a:pt x="3143" y="5048"/>
                        <a:pt x="0" y="7620"/>
                      </a:cubicBezTo>
                      <a:cubicBezTo>
                        <a:pt x="1429" y="27146"/>
                        <a:pt x="10097" y="62579"/>
                        <a:pt x="21050" y="75152"/>
                      </a:cubicBezTo>
                      <a:cubicBezTo>
                        <a:pt x="27718" y="73152"/>
                        <a:pt x="31433" y="71723"/>
                        <a:pt x="34576" y="66104"/>
                      </a:cubicBezTo>
                      <a:cubicBezTo>
                        <a:pt x="47435" y="44577"/>
                        <a:pt x="24575" y="5810"/>
                        <a:pt x="9049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7" name="任意多边形: 形状 136">
                  <a:extLst>
                    <a:ext uri="{FF2B5EF4-FFF2-40B4-BE49-F238E27FC236}">
                      <a16:creationId xmlns:a16="http://schemas.microsoft.com/office/drawing/2014/main" id="{DC0ED8E6-8425-452D-9A2F-B79EF0CFFBA3}"/>
                    </a:ext>
                  </a:extLst>
                </p:cNvPr>
                <p:cNvSpPr/>
                <p:nvPr/>
              </p:nvSpPr>
              <p:spPr>
                <a:xfrm>
                  <a:off x="3812729" y="6236570"/>
                  <a:ext cx="114907" cy="188613"/>
                </a:xfrm>
                <a:custGeom>
                  <a:avLst/>
                  <a:gdLst>
                    <a:gd name="connsiteX0" fmla="*/ 30005 w 114907"/>
                    <a:gd name="connsiteY0" fmla="*/ 19 h 188613"/>
                    <a:gd name="connsiteX1" fmla="*/ 82583 w 114907"/>
                    <a:gd name="connsiteY1" fmla="*/ 186518 h 188613"/>
                    <a:gd name="connsiteX2" fmla="*/ 30005 w 114907"/>
                    <a:gd name="connsiteY2" fmla="*/ 19 h 1886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907" h="188613">
                      <a:moveTo>
                        <a:pt x="30005" y="19"/>
                      </a:moveTo>
                      <a:cubicBezTo>
                        <a:pt x="111253" y="-1982"/>
                        <a:pt x="145067" y="157657"/>
                        <a:pt x="82583" y="186518"/>
                      </a:cubicBezTo>
                      <a:cubicBezTo>
                        <a:pt x="2192" y="209188"/>
                        <a:pt x="-27717" y="41357"/>
                        <a:pt x="30005" y="19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8" name="任意多边形: 形状 137">
                  <a:extLst>
                    <a:ext uri="{FF2B5EF4-FFF2-40B4-BE49-F238E27FC236}">
                      <a16:creationId xmlns:a16="http://schemas.microsoft.com/office/drawing/2014/main" id="{EA431475-942F-4F6F-8587-7078C9A6A2AB}"/>
                    </a:ext>
                  </a:extLst>
                </p:cNvPr>
                <p:cNvSpPr/>
                <p:nvPr/>
              </p:nvSpPr>
              <p:spPr>
                <a:xfrm>
                  <a:off x="3125787" y="6238208"/>
                  <a:ext cx="39607" cy="71913"/>
                </a:xfrm>
                <a:custGeom>
                  <a:avLst/>
                  <a:gdLst>
                    <a:gd name="connsiteX0" fmla="*/ 22574 w 39607"/>
                    <a:gd name="connsiteY0" fmla="*/ 0 h 71913"/>
                    <a:gd name="connsiteX1" fmla="*/ 0 w 39607"/>
                    <a:gd name="connsiteY1" fmla="*/ 69056 h 71913"/>
                    <a:gd name="connsiteX2" fmla="*/ 16574 w 39607"/>
                    <a:gd name="connsiteY2" fmla="*/ 71914 h 71913"/>
                    <a:gd name="connsiteX3" fmla="*/ 28670 w 39607"/>
                    <a:gd name="connsiteY3" fmla="*/ 1334 h 71913"/>
                    <a:gd name="connsiteX4" fmla="*/ 22574 w 39607"/>
                    <a:gd name="connsiteY4" fmla="*/ 0 h 71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607" h="71913">
                      <a:moveTo>
                        <a:pt x="22574" y="0"/>
                      </a:moveTo>
                      <a:cubicBezTo>
                        <a:pt x="10763" y="16193"/>
                        <a:pt x="3524" y="46006"/>
                        <a:pt x="0" y="69056"/>
                      </a:cubicBezTo>
                      <a:cubicBezTo>
                        <a:pt x="4572" y="71247"/>
                        <a:pt x="8572" y="71914"/>
                        <a:pt x="16574" y="71914"/>
                      </a:cubicBezTo>
                      <a:cubicBezTo>
                        <a:pt x="25813" y="60579"/>
                        <a:pt x="55436" y="14764"/>
                        <a:pt x="28670" y="1334"/>
                      </a:cubicBezTo>
                      <a:cubicBezTo>
                        <a:pt x="26575" y="857"/>
                        <a:pt x="24479" y="381"/>
                        <a:pt x="22574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9" name="任意多边形: 形状 138">
                  <a:extLst>
                    <a:ext uri="{FF2B5EF4-FFF2-40B4-BE49-F238E27FC236}">
                      <a16:creationId xmlns:a16="http://schemas.microsoft.com/office/drawing/2014/main" id="{387840E1-FAE5-42CF-BE6D-83C42D4F204C}"/>
                    </a:ext>
                  </a:extLst>
                </p:cNvPr>
                <p:cNvSpPr/>
                <p:nvPr/>
              </p:nvSpPr>
              <p:spPr>
                <a:xfrm>
                  <a:off x="3175317" y="6244113"/>
                  <a:ext cx="123253" cy="195287"/>
                </a:xfrm>
                <a:custGeom>
                  <a:avLst/>
                  <a:gdLst>
                    <a:gd name="connsiteX0" fmla="*/ 42100 w 123253"/>
                    <a:gd name="connsiteY0" fmla="*/ 0 h 195287"/>
                    <a:gd name="connsiteX1" fmla="*/ 123254 w 123253"/>
                    <a:gd name="connsiteY1" fmla="*/ 19431 h 195287"/>
                    <a:gd name="connsiteX2" fmla="*/ 117253 w 123253"/>
                    <a:gd name="connsiteY2" fmla="*/ 48006 h 195287"/>
                    <a:gd name="connsiteX3" fmla="*/ 108204 w 123253"/>
                    <a:gd name="connsiteY3" fmla="*/ 48006 h 195287"/>
                    <a:gd name="connsiteX4" fmla="*/ 90202 w 123253"/>
                    <a:gd name="connsiteY4" fmla="*/ 16478 h 195287"/>
                    <a:gd name="connsiteX5" fmla="*/ 72200 w 123253"/>
                    <a:gd name="connsiteY5" fmla="*/ 22479 h 195287"/>
                    <a:gd name="connsiteX6" fmla="*/ 61627 w 123253"/>
                    <a:gd name="connsiteY6" fmla="*/ 84106 h 195287"/>
                    <a:gd name="connsiteX7" fmla="*/ 72200 w 123253"/>
                    <a:gd name="connsiteY7" fmla="*/ 84106 h 195287"/>
                    <a:gd name="connsiteX8" fmla="*/ 93154 w 123253"/>
                    <a:gd name="connsiteY8" fmla="*/ 58674 h 195287"/>
                    <a:gd name="connsiteX9" fmla="*/ 93154 w 123253"/>
                    <a:gd name="connsiteY9" fmla="*/ 60103 h 195287"/>
                    <a:gd name="connsiteX10" fmla="*/ 75152 w 123253"/>
                    <a:gd name="connsiteY10" fmla="*/ 139827 h 195287"/>
                    <a:gd name="connsiteX11" fmla="*/ 73628 w 123253"/>
                    <a:gd name="connsiteY11" fmla="*/ 139827 h 195287"/>
                    <a:gd name="connsiteX12" fmla="*/ 70580 w 123253"/>
                    <a:gd name="connsiteY12" fmla="*/ 138398 h 195287"/>
                    <a:gd name="connsiteX13" fmla="*/ 58579 w 123253"/>
                    <a:gd name="connsiteY13" fmla="*/ 100775 h 195287"/>
                    <a:gd name="connsiteX14" fmla="*/ 54007 w 123253"/>
                    <a:gd name="connsiteY14" fmla="*/ 103727 h 195287"/>
                    <a:gd name="connsiteX15" fmla="*/ 46577 w 123253"/>
                    <a:gd name="connsiteY15" fmla="*/ 178975 h 195287"/>
                    <a:gd name="connsiteX16" fmla="*/ 94679 w 123253"/>
                    <a:gd name="connsiteY16" fmla="*/ 153353 h 195287"/>
                    <a:gd name="connsiteX17" fmla="*/ 97631 w 123253"/>
                    <a:gd name="connsiteY17" fmla="*/ 160782 h 195287"/>
                    <a:gd name="connsiteX18" fmla="*/ 85630 w 123253"/>
                    <a:gd name="connsiteY18" fmla="*/ 195263 h 195287"/>
                    <a:gd name="connsiteX19" fmla="*/ 0 w 123253"/>
                    <a:gd name="connsiteY19" fmla="*/ 177260 h 195287"/>
                    <a:gd name="connsiteX20" fmla="*/ 0 w 123253"/>
                    <a:gd name="connsiteY20" fmla="*/ 174403 h 195287"/>
                    <a:gd name="connsiteX21" fmla="*/ 45053 w 123253"/>
                    <a:gd name="connsiteY21" fmla="*/ 27051 h 195287"/>
                    <a:gd name="connsiteX22" fmla="*/ 42100 w 123253"/>
                    <a:gd name="connsiteY22" fmla="*/ 0 h 195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23253" h="195287">
                      <a:moveTo>
                        <a:pt x="42100" y="0"/>
                      </a:moveTo>
                      <a:cubicBezTo>
                        <a:pt x="70866" y="1810"/>
                        <a:pt x="103727" y="7334"/>
                        <a:pt x="123254" y="19431"/>
                      </a:cubicBezTo>
                      <a:cubicBezTo>
                        <a:pt x="121158" y="29146"/>
                        <a:pt x="119348" y="38576"/>
                        <a:pt x="117253" y="48006"/>
                      </a:cubicBezTo>
                      <a:lnTo>
                        <a:pt x="108204" y="48006"/>
                      </a:lnTo>
                      <a:cubicBezTo>
                        <a:pt x="108395" y="28099"/>
                        <a:pt x="100298" y="25432"/>
                        <a:pt x="90202" y="16478"/>
                      </a:cubicBezTo>
                      <a:cubicBezTo>
                        <a:pt x="79153" y="16478"/>
                        <a:pt x="78010" y="18288"/>
                        <a:pt x="72200" y="22479"/>
                      </a:cubicBezTo>
                      <a:cubicBezTo>
                        <a:pt x="68675" y="43053"/>
                        <a:pt x="65151" y="63627"/>
                        <a:pt x="61627" y="84106"/>
                      </a:cubicBezTo>
                      <a:lnTo>
                        <a:pt x="72200" y="84106"/>
                      </a:lnTo>
                      <a:cubicBezTo>
                        <a:pt x="81725" y="77058"/>
                        <a:pt x="82296" y="59722"/>
                        <a:pt x="93154" y="58674"/>
                      </a:cubicBezTo>
                      <a:lnTo>
                        <a:pt x="93154" y="60103"/>
                      </a:lnTo>
                      <a:cubicBezTo>
                        <a:pt x="87154" y="86678"/>
                        <a:pt x="81153" y="113252"/>
                        <a:pt x="75152" y="139827"/>
                      </a:cubicBezTo>
                      <a:lnTo>
                        <a:pt x="73628" y="139827"/>
                      </a:lnTo>
                      <a:cubicBezTo>
                        <a:pt x="72581" y="139351"/>
                        <a:pt x="71533" y="138875"/>
                        <a:pt x="70580" y="138398"/>
                      </a:cubicBezTo>
                      <a:cubicBezTo>
                        <a:pt x="71723" y="118682"/>
                        <a:pt x="70009" y="107728"/>
                        <a:pt x="58579" y="100775"/>
                      </a:cubicBezTo>
                      <a:cubicBezTo>
                        <a:pt x="57055" y="101727"/>
                        <a:pt x="55626" y="102870"/>
                        <a:pt x="54007" y="103727"/>
                      </a:cubicBezTo>
                      <a:cubicBezTo>
                        <a:pt x="50292" y="125159"/>
                        <a:pt x="34481" y="158306"/>
                        <a:pt x="46577" y="178975"/>
                      </a:cubicBezTo>
                      <a:cubicBezTo>
                        <a:pt x="77057" y="182023"/>
                        <a:pt x="77438" y="165545"/>
                        <a:pt x="94679" y="153353"/>
                      </a:cubicBezTo>
                      <a:cubicBezTo>
                        <a:pt x="96774" y="156496"/>
                        <a:pt x="96583" y="155543"/>
                        <a:pt x="97631" y="160782"/>
                      </a:cubicBezTo>
                      <a:lnTo>
                        <a:pt x="85630" y="195263"/>
                      </a:lnTo>
                      <a:cubicBezTo>
                        <a:pt x="56293" y="195834"/>
                        <a:pt x="23050" y="186595"/>
                        <a:pt x="0" y="177260"/>
                      </a:cubicBezTo>
                      <a:lnTo>
                        <a:pt x="0" y="174403"/>
                      </a:lnTo>
                      <a:cubicBezTo>
                        <a:pt x="28861" y="146114"/>
                        <a:pt x="36957" y="73724"/>
                        <a:pt x="45053" y="27051"/>
                      </a:cubicBezTo>
                      <a:cubicBezTo>
                        <a:pt x="47911" y="11525"/>
                        <a:pt x="39053" y="8192"/>
                        <a:pt x="42100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0" name="任意多边形: 形状 139">
                  <a:extLst>
                    <a:ext uri="{FF2B5EF4-FFF2-40B4-BE49-F238E27FC236}">
                      <a16:creationId xmlns:a16="http://schemas.microsoft.com/office/drawing/2014/main" id="{C05F9B1C-1F21-4C8E-80A9-7A1E49B179B6}"/>
                    </a:ext>
                  </a:extLst>
                </p:cNvPr>
                <p:cNvSpPr/>
                <p:nvPr/>
              </p:nvSpPr>
              <p:spPr>
                <a:xfrm>
                  <a:off x="3837000" y="6245637"/>
                  <a:ext cx="64512" cy="169735"/>
                </a:xfrm>
                <a:custGeom>
                  <a:avLst/>
                  <a:gdLst>
                    <a:gd name="connsiteX0" fmla="*/ 14687 w 64512"/>
                    <a:gd name="connsiteY0" fmla="*/ 0 h 169735"/>
                    <a:gd name="connsiteX1" fmla="*/ 1161 w 64512"/>
                    <a:gd name="connsiteY1" fmla="*/ 8954 h 169735"/>
                    <a:gd name="connsiteX2" fmla="*/ 40119 w 64512"/>
                    <a:gd name="connsiteY2" fmla="*/ 169736 h 169735"/>
                    <a:gd name="connsiteX3" fmla="*/ 55263 w 64512"/>
                    <a:gd name="connsiteY3" fmla="*/ 166878 h 169735"/>
                    <a:gd name="connsiteX4" fmla="*/ 14687 w 64512"/>
                    <a:gd name="connsiteY4" fmla="*/ 0 h 1697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4512" h="169735">
                      <a:moveTo>
                        <a:pt x="14687" y="0"/>
                      </a:moveTo>
                      <a:cubicBezTo>
                        <a:pt x="10210" y="2858"/>
                        <a:pt x="5733" y="5905"/>
                        <a:pt x="1161" y="8954"/>
                      </a:cubicBezTo>
                      <a:cubicBezTo>
                        <a:pt x="-4173" y="72104"/>
                        <a:pt x="8877" y="134493"/>
                        <a:pt x="40119" y="169736"/>
                      </a:cubicBezTo>
                      <a:cubicBezTo>
                        <a:pt x="45167" y="168878"/>
                        <a:pt x="50215" y="167735"/>
                        <a:pt x="55263" y="166878"/>
                      </a:cubicBezTo>
                      <a:cubicBezTo>
                        <a:pt x="79552" y="119253"/>
                        <a:pt x="52501" y="16669"/>
                        <a:pt x="1468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1" name="任意多边形: 形状 140">
                  <a:extLst>
                    <a:ext uri="{FF2B5EF4-FFF2-40B4-BE49-F238E27FC236}">
                      <a16:creationId xmlns:a16="http://schemas.microsoft.com/office/drawing/2014/main" id="{B8DA4CAB-D97F-46FD-9589-567C6ED524BC}"/>
                    </a:ext>
                  </a:extLst>
                </p:cNvPr>
                <p:cNvSpPr/>
                <p:nvPr/>
              </p:nvSpPr>
              <p:spPr>
                <a:xfrm>
                  <a:off x="3706050" y="6253162"/>
                  <a:ext cx="91054" cy="193042"/>
                </a:xfrm>
                <a:custGeom>
                  <a:avLst/>
                  <a:gdLst>
                    <a:gd name="connsiteX0" fmla="*/ 53912 w 91054"/>
                    <a:gd name="connsiteY0" fmla="*/ 0 h 193042"/>
                    <a:gd name="connsiteX1" fmla="*/ 84106 w 91054"/>
                    <a:gd name="connsiteY1" fmla="*/ 1429 h 193042"/>
                    <a:gd name="connsiteX2" fmla="*/ 90202 w 91054"/>
                    <a:gd name="connsiteY2" fmla="*/ 46672 h 193042"/>
                    <a:gd name="connsiteX3" fmla="*/ 88583 w 91054"/>
                    <a:gd name="connsiteY3" fmla="*/ 46672 h 193042"/>
                    <a:gd name="connsiteX4" fmla="*/ 85630 w 91054"/>
                    <a:gd name="connsiteY4" fmla="*/ 46672 h 193042"/>
                    <a:gd name="connsiteX5" fmla="*/ 42005 w 91054"/>
                    <a:gd name="connsiteY5" fmla="*/ 12097 h 193042"/>
                    <a:gd name="connsiteX6" fmla="*/ 40481 w 91054"/>
                    <a:gd name="connsiteY6" fmla="*/ 15049 h 193042"/>
                    <a:gd name="connsiteX7" fmla="*/ 48006 w 91054"/>
                    <a:gd name="connsiteY7" fmla="*/ 84106 h 193042"/>
                    <a:gd name="connsiteX8" fmla="*/ 50959 w 91054"/>
                    <a:gd name="connsiteY8" fmla="*/ 85630 h 193042"/>
                    <a:gd name="connsiteX9" fmla="*/ 55531 w 91054"/>
                    <a:gd name="connsiteY9" fmla="*/ 84106 h 193042"/>
                    <a:gd name="connsiteX10" fmla="*/ 67628 w 91054"/>
                    <a:gd name="connsiteY10" fmla="*/ 49625 h 193042"/>
                    <a:gd name="connsiteX11" fmla="*/ 70580 w 91054"/>
                    <a:gd name="connsiteY11" fmla="*/ 51054 h 193042"/>
                    <a:gd name="connsiteX12" fmla="*/ 70580 w 91054"/>
                    <a:gd name="connsiteY12" fmla="*/ 54102 h 193042"/>
                    <a:gd name="connsiteX13" fmla="*/ 78200 w 91054"/>
                    <a:gd name="connsiteY13" fmla="*/ 130778 h 193042"/>
                    <a:gd name="connsiteX14" fmla="*/ 75152 w 91054"/>
                    <a:gd name="connsiteY14" fmla="*/ 129349 h 193042"/>
                    <a:gd name="connsiteX15" fmla="*/ 58579 w 91054"/>
                    <a:gd name="connsiteY15" fmla="*/ 100679 h 193042"/>
                    <a:gd name="connsiteX16" fmla="*/ 50959 w 91054"/>
                    <a:gd name="connsiteY16" fmla="*/ 102298 h 193042"/>
                    <a:gd name="connsiteX17" fmla="*/ 58579 w 91054"/>
                    <a:gd name="connsiteY17" fmla="*/ 168307 h 193042"/>
                    <a:gd name="connsiteX18" fmla="*/ 75152 w 91054"/>
                    <a:gd name="connsiteY18" fmla="*/ 186309 h 193042"/>
                    <a:gd name="connsiteX19" fmla="*/ 24003 w 91054"/>
                    <a:gd name="connsiteY19" fmla="*/ 192405 h 193042"/>
                    <a:gd name="connsiteX20" fmla="*/ 24003 w 91054"/>
                    <a:gd name="connsiteY20" fmla="*/ 187928 h 193042"/>
                    <a:gd name="connsiteX21" fmla="*/ 0 w 91054"/>
                    <a:gd name="connsiteY21" fmla="*/ 15049 h 193042"/>
                    <a:gd name="connsiteX22" fmla="*/ 2953 w 91054"/>
                    <a:gd name="connsiteY22" fmla="*/ 7429 h 193042"/>
                    <a:gd name="connsiteX23" fmla="*/ 53912 w 91054"/>
                    <a:gd name="connsiteY23" fmla="*/ 0 h 1930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91054" h="193042">
                      <a:moveTo>
                        <a:pt x="53912" y="0"/>
                      </a:moveTo>
                      <a:cubicBezTo>
                        <a:pt x="64008" y="476"/>
                        <a:pt x="73914" y="953"/>
                        <a:pt x="84106" y="1429"/>
                      </a:cubicBezTo>
                      <a:cubicBezTo>
                        <a:pt x="86582" y="15716"/>
                        <a:pt x="93440" y="33242"/>
                        <a:pt x="90202" y="46672"/>
                      </a:cubicBezTo>
                      <a:lnTo>
                        <a:pt x="88583" y="46672"/>
                      </a:lnTo>
                      <a:lnTo>
                        <a:pt x="85630" y="46672"/>
                      </a:lnTo>
                      <a:cubicBezTo>
                        <a:pt x="79058" y="22860"/>
                        <a:pt x="70771" y="9049"/>
                        <a:pt x="42005" y="12097"/>
                      </a:cubicBezTo>
                      <a:cubicBezTo>
                        <a:pt x="41529" y="13049"/>
                        <a:pt x="41053" y="13906"/>
                        <a:pt x="40481" y="15049"/>
                      </a:cubicBezTo>
                      <a:cubicBezTo>
                        <a:pt x="36290" y="36862"/>
                        <a:pt x="44672" y="62865"/>
                        <a:pt x="48006" y="84106"/>
                      </a:cubicBezTo>
                      <a:cubicBezTo>
                        <a:pt x="49054" y="84677"/>
                        <a:pt x="50006" y="85154"/>
                        <a:pt x="50959" y="85630"/>
                      </a:cubicBezTo>
                      <a:cubicBezTo>
                        <a:pt x="52483" y="85154"/>
                        <a:pt x="53912" y="84677"/>
                        <a:pt x="55531" y="84106"/>
                      </a:cubicBezTo>
                      <a:cubicBezTo>
                        <a:pt x="62008" y="74866"/>
                        <a:pt x="62675" y="62198"/>
                        <a:pt x="67628" y="49625"/>
                      </a:cubicBezTo>
                      <a:cubicBezTo>
                        <a:pt x="68485" y="50197"/>
                        <a:pt x="69628" y="50578"/>
                        <a:pt x="70580" y="51054"/>
                      </a:cubicBezTo>
                      <a:lnTo>
                        <a:pt x="70580" y="54102"/>
                      </a:lnTo>
                      <a:cubicBezTo>
                        <a:pt x="74200" y="62579"/>
                        <a:pt x="81725" y="121634"/>
                        <a:pt x="78200" y="130778"/>
                      </a:cubicBezTo>
                      <a:cubicBezTo>
                        <a:pt x="77153" y="130302"/>
                        <a:pt x="76105" y="129826"/>
                        <a:pt x="75152" y="129349"/>
                      </a:cubicBezTo>
                      <a:cubicBezTo>
                        <a:pt x="72295" y="116681"/>
                        <a:pt x="67532" y="107252"/>
                        <a:pt x="58579" y="100679"/>
                      </a:cubicBezTo>
                      <a:cubicBezTo>
                        <a:pt x="56007" y="101251"/>
                        <a:pt x="53530" y="101727"/>
                        <a:pt x="50959" y="102298"/>
                      </a:cubicBezTo>
                      <a:cubicBezTo>
                        <a:pt x="53435" y="124206"/>
                        <a:pt x="55912" y="146304"/>
                        <a:pt x="58579" y="168307"/>
                      </a:cubicBezTo>
                      <a:cubicBezTo>
                        <a:pt x="62484" y="177641"/>
                        <a:pt x="71723" y="176213"/>
                        <a:pt x="75152" y="186309"/>
                      </a:cubicBezTo>
                      <a:cubicBezTo>
                        <a:pt x="55245" y="186595"/>
                        <a:pt x="38481" y="195453"/>
                        <a:pt x="24003" y="192405"/>
                      </a:cubicBezTo>
                      <a:lnTo>
                        <a:pt x="24003" y="187928"/>
                      </a:lnTo>
                      <a:cubicBezTo>
                        <a:pt x="42958" y="172688"/>
                        <a:pt x="16669" y="21241"/>
                        <a:pt x="0" y="15049"/>
                      </a:cubicBezTo>
                      <a:cubicBezTo>
                        <a:pt x="953" y="9430"/>
                        <a:pt x="571" y="10382"/>
                        <a:pt x="2953" y="7429"/>
                      </a:cubicBezTo>
                      <a:cubicBezTo>
                        <a:pt x="15145" y="9239"/>
                        <a:pt x="40291" y="6572"/>
                        <a:pt x="53912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2" name="任意多边形: 形状 141">
                  <a:extLst>
                    <a:ext uri="{FF2B5EF4-FFF2-40B4-BE49-F238E27FC236}">
                      <a16:creationId xmlns:a16="http://schemas.microsoft.com/office/drawing/2014/main" id="{37E2EC3E-162B-4860-BB17-76F28A4DB404}"/>
                    </a:ext>
                  </a:extLst>
                </p:cNvPr>
                <p:cNvSpPr/>
                <p:nvPr/>
              </p:nvSpPr>
              <p:spPr>
                <a:xfrm>
                  <a:off x="3555650" y="6269425"/>
                  <a:ext cx="107794" cy="186634"/>
                </a:xfrm>
                <a:custGeom>
                  <a:avLst/>
                  <a:gdLst>
                    <a:gd name="connsiteX0" fmla="*/ 10477 w 107794"/>
                    <a:gd name="connsiteY0" fmla="*/ 215 h 186634"/>
                    <a:gd name="connsiteX1" fmla="*/ 94679 w 107794"/>
                    <a:gd name="connsiteY1" fmla="*/ 28695 h 186634"/>
                    <a:gd name="connsiteX2" fmla="*/ 82582 w 107794"/>
                    <a:gd name="connsiteY2" fmla="*/ 176046 h 186634"/>
                    <a:gd name="connsiteX3" fmla="*/ 48006 w 107794"/>
                    <a:gd name="connsiteY3" fmla="*/ 185095 h 186634"/>
                    <a:gd name="connsiteX4" fmla="*/ 8954 w 107794"/>
                    <a:gd name="connsiteY4" fmla="*/ 183666 h 186634"/>
                    <a:gd name="connsiteX5" fmla="*/ 0 w 107794"/>
                    <a:gd name="connsiteY5" fmla="*/ 6216 h 186634"/>
                    <a:gd name="connsiteX6" fmla="*/ 10477 w 107794"/>
                    <a:gd name="connsiteY6" fmla="*/ 215 h 1866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7794" h="186634">
                      <a:moveTo>
                        <a:pt x="10477" y="215"/>
                      </a:moveTo>
                      <a:cubicBezTo>
                        <a:pt x="52483" y="-1023"/>
                        <a:pt x="80772" y="2406"/>
                        <a:pt x="94679" y="28695"/>
                      </a:cubicBezTo>
                      <a:cubicBezTo>
                        <a:pt x="115252" y="67938"/>
                        <a:pt x="111919" y="151853"/>
                        <a:pt x="82582" y="176046"/>
                      </a:cubicBezTo>
                      <a:cubicBezTo>
                        <a:pt x="72961" y="183952"/>
                        <a:pt x="60103" y="183286"/>
                        <a:pt x="48006" y="185095"/>
                      </a:cubicBezTo>
                      <a:cubicBezTo>
                        <a:pt x="37052" y="186905"/>
                        <a:pt x="17907" y="187857"/>
                        <a:pt x="8954" y="183666"/>
                      </a:cubicBezTo>
                      <a:cubicBezTo>
                        <a:pt x="27908" y="158330"/>
                        <a:pt x="16669" y="24123"/>
                        <a:pt x="0" y="6216"/>
                      </a:cubicBezTo>
                      <a:cubicBezTo>
                        <a:pt x="3429" y="4215"/>
                        <a:pt x="6858" y="2215"/>
                        <a:pt x="10477" y="215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3" name="任意多边形: 形状 142">
                  <a:extLst>
                    <a:ext uri="{FF2B5EF4-FFF2-40B4-BE49-F238E27FC236}">
                      <a16:creationId xmlns:a16="http://schemas.microsoft.com/office/drawing/2014/main" id="{8E8AEE5C-DD7B-41ED-AD42-FE5424B3D09A}"/>
                    </a:ext>
                  </a:extLst>
                </p:cNvPr>
                <p:cNvSpPr/>
                <p:nvPr/>
              </p:nvSpPr>
              <p:spPr>
                <a:xfrm>
                  <a:off x="3327336" y="6271164"/>
                  <a:ext cx="100488" cy="184879"/>
                </a:xfrm>
                <a:custGeom>
                  <a:avLst/>
                  <a:gdLst>
                    <a:gd name="connsiteX0" fmla="*/ 58388 w 100488"/>
                    <a:gd name="connsiteY0" fmla="*/ 0 h 184879"/>
                    <a:gd name="connsiteX1" fmla="*/ 100489 w 100488"/>
                    <a:gd name="connsiteY1" fmla="*/ 181927 h 184879"/>
                    <a:gd name="connsiteX2" fmla="*/ 98965 w 100488"/>
                    <a:gd name="connsiteY2" fmla="*/ 184880 h 184879"/>
                    <a:gd name="connsiteX3" fmla="*/ 55340 w 100488"/>
                    <a:gd name="connsiteY3" fmla="*/ 183356 h 184879"/>
                    <a:gd name="connsiteX4" fmla="*/ 53816 w 100488"/>
                    <a:gd name="connsiteY4" fmla="*/ 180308 h 184879"/>
                    <a:gd name="connsiteX5" fmla="*/ 64484 w 100488"/>
                    <a:gd name="connsiteY5" fmla="*/ 171355 h 184879"/>
                    <a:gd name="connsiteX6" fmla="*/ 53816 w 100488"/>
                    <a:gd name="connsiteY6" fmla="*/ 129254 h 184879"/>
                    <a:gd name="connsiteX7" fmla="*/ 28289 w 100488"/>
                    <a:gd name="connsiteY7" fmla="*/ 130683 h 184879"/>
                    <a:gd name="connsiteX8" fmla="*/ 17907 w 100488"/>
                    <a:gd name="connsiteY8" fmla="*/ 165354 h 184879"/>
                    <a:gd name="connsiteX9" fmla="*/ 26860 w 100488"/>
                    <a:gd name="connsiteY9" fmla="*/ 181927 h 184879"/>
                    <a:gd name="connsiteX10" fmla="*/ 20860 w 100488"/>
                    <a:gd name="connsiteY10" fmla="*/ 183356 h 184879"/>
                    <a:gd name="connsiteX11" fmla="*/ 0 w 100488"/>
                    <a:gd name="connsiteY11" fmla="*/ 178879 h 184879"/>
                    <a:gd name="connsiteX12" fmla="*/ 0 w 100488"/>
                    <a:gd name="connsiteY12" fmla="*/ 177355 h 184879"/>
                    <a:gd name="connsiteX13" fmla="*/ 58388 w 100488"/>
                    <a:gd name="connsiteY13" fmla="*/ 0 h 1848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0488" h="184879">
                      <a:moveTo>
                        <a:pt x="58388" y="0"/>
                      </a:moveTo>
                      <a:cubicBezTo>
                        <a:pt x="74295" y="13525"/>
                        <a:pt x="83248" y="152019"/>
                        <a:pt x="100489" y="181927"/>
                      </a:cubicBezTo>
                      <a:cubicBezTo>
                        <a:pt x="100013" y="182784"/>
                        <a:pt x="99441" y="183928"/>
                        <a:pt x="98965" y="184880"/>
                      </a:cubicBezTo>
                      <a:cubicBezTo>
                        <a:pt x="84487" y="184404"/>
                        <a:pt x="69913" y="183832"/>
                        <a:pt x="55340" y="183356"/>
                      </a:cubicBezTo>
                      <a:cubicBezTo>
                        <a:pt x="54864" y="182308"/>
                        <a:pt x="54292" y="181451"/>
                        <a:pt x="53816" y="180308"/>
                      </a:cubicBezTo>
                      <a:cubicBezTo>
                        <a:pt x="58102" y="177451"/>
                        <a:pt x="61627" y="176022"/>
                        <a:pt x="64484" y="171355"/>
                      </a:cubicBezTo>
                      <a:cubicBezTo>
                        <a:pt x="69056" y="154876"/>
                        <a:pt x="60865" y="138493"/>
                        <a:pt x="53816" y="129254"/>
                      </a:cubicBezTo>
                      <a:cubicBezTo>
                        <a:pt x="45244" y="129826"/>
                        <a:pt x="36767" y="130302"/>
                        <a:pt x="28289" y="130683"/>
                      </a:cubicBezTo>
                      <a:cubicBezTo>
                        <a:pt x="23336" y="141160"/>
                        <a:pt x="18764" y="150781"/>
                        <a:pt x="17907" y="165354"/>
                      </a:cubicBezTo>
                      <a:cubicBezTo>
                        <a:pt x="20860" y="170878"/>
                        <a:pt x="23908" y="176403"/>
                        <a:pt x="26860" y="181927"/>
                      </a:cubicBezTo>
                      <a:cubicBezTo>
                        <a:pt x="24765" y="182308"/>
                        <a:pt x="22955" y="182784"/>
                        <a:pt x="20860" y="183356"/>
                      </a:cubicBezTo>
                      <a:cubicBezTo>
                        <a:pt x="14097" y="181927"/>
                        <a:pt x="6953" y="180308"/>
                        <a:pt x="0" y="178879"/>
                      </a:cubicBezTo>
                      <a:lnTo>
                        <a:pt x="0" y="177355"/>
                      </a:lnTo>
                      <a:cubicBezTo>
                        <a:pt x="33338" y="130969"/>
                        <a:pt x="31528" y="54292"/>
                        <a:pt x="58388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2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4" name="任意多边形: 形状 143">
                  <a:extLst>
                    <a:ext uri="{FF2B5EF4-FFF2-40B4-BE49-F238E27FC236}">
                      <a16:creationId xmlns:a16="http://schemas.microsoft.com/office/drawing/2014/main" id="{D6F80E83-4881-4607-8434-6513F92D9449}"/>
                    </a:ext>
                  </a:extLst>
                </p:cNvPr>
                <p:cNvSpPr/>
                <p:nvPr/>
              </p:nvSpPr>
              <p:spPr>
                <a:xfrm>
                  <a:off x="3445922" y="6272498"/>
                  <a:ext cx="99250" cy="185750"/>
                </a:xfrm>
                <a:custGeom>
                  <a:avLst/>
                  <a:gdLst>
                    <a:gd name="connsiteX0" fmla="*/ 88583 w 99250"/>
                    <a:gd name="connsiteY0" fmla="*/ 0 h 185750"/>
                    <a:gd name="connsiteX1" fmla="*/ 99250 w 99250"/>
                    <a:gd name="connsiteY1" fmla="*/ 1619 h 185750"/>
                    <a:gd name="connsiteX2" fmla="*/ 90202 w 99250"/>
                    <a:gd name="connsiteY2" fmla="*/ 18002 h 185750"/>
                    <a:gd name="connsiteX3" fmla="*/ 88678 w 99250"/>
                    <a:gd name="connsiteY3" fmla="*/ 184976 h 185750"/>
                    <a:gd name="connsiteX4" fmla="*/ 22670 w 99250"/>
                    <a:gd name="connsiteY4" fmla="*/ 61627 h 185750"/>
                    <a:gd name="connsiteX5" fmla="*/ 19621 w 99250"/>
                    <a:gd name="connsiteY5" fmla="*/ 63246 h 185750"/>
                    <a:gd name="connsiteX6" fmla="*/ 28575 w 99250"/>
                    <a:gd name="connsiteY6" fmla="*/ 183452 h 185750"/>
                    <a:gd name="connsiteX7" fmla="*/ 27051 w 99250"/>
                    <a:gd name="connsiteY7" fmla="*/ 184880 h 185750"/>
                    <a:gd name="connsiteX8" fmla="*/ 1619 w 99250"/>
                    <a:gd name="connsiteY8" fmla="*/ 181832 h 185750"/>
                    <a:gd name="connsiteX9" fmla="*/ 4572 w 99250"/>
                    <a:gd name="connsiteY9" fmla="*/ 177355 h 185750"/>
                    <a:gd name="connsiteX10" fmla="*/ 10573 w 99250"/>
                    <a:gd name="connsiteY10" fmla="*/ 31528 h 185750"/>
                    <a:gd name="connsiteX11" fmla="*/ 0 w 99250"/>
                    <a:gd name="connsiteY11" fmla="*/ 5905 h 185750"/>
                    <a:gd name="connsiteX12" fmla="*/ 1524 w 99250"/>
                    <a:gd name="connsiteY12" fmla="*/ 4477 h 185750"/>
                    <a:gd name="connsiteX13" fmla="*/ 25527 w 99250"/>
                    <a:gd name="connsiteY13" fmla="*/ 1524 h 185750"/>
                    <a:gd name="connsiteX14" fmla="*/ 78105 w 99250"/>
                    <a:gd name="connsiteY14" fmla="*/ 94774 h 185750"/>
                    <a:gd name="connsiteX15" fmla="*/ 81058 w 99250"/>
                    <a:gd name="connsiteY15" fmla="*/ 90202 h 185750"/>
                    <a:gd name="connsiteX16" fmla="*/ 70580 w 99250"/>
                    <a:gd name="connsiteY16" fmla="*/ 4572 h 185750"/>
                    <a:gd name="connsiteX17" fmla="*/ 72104 w 99250"/>
                    <a:gd name="connsiteY17" fmla="*/ 1619 h 185750"/>
                    <a:gd name="connsiteX18" fmla="*/ 88583 w 99250"/>
                    <a:gd name="connsiteY18" fmla="*/ 0 h 1857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99250" h="185750">
                      <a:moveTo>
                        <a:pt x="88583" y="0"/>
                      </a:moveTo>
                      <a:cubicBezTo>
                        <a:pt x="92202" y="667"/>
                        <a:pt x="95631" y="1143"/>
                        <a:pt x="99250" y="1619"/>
                      </a:cubicBezTo>
                      <a:cubicBezTo>
                        <a:pt x="97155" y="9620"/>
                        <a:pt x="92107" y="10954"/>
                        <a:pt x="90202" y="18002"/>
                      </a:cubicBezTo>
                      <a:cubicBezTo>
                        <a:pt x="79438" y="59341"/>
                        <a:pt x="106204" y="165545"/>
                        <a:pt x="88678" y="184976"/>
                      </a:cubicBezTo>
                      <a:cubicBezTo>
                        <a:pt x="55054" y="156686"/>
                        <a:pt x="54578" y="91916"/>
                        <a:pt x="22670" y="61627"/>
                      </a:cubicBezTo>
                      <a:cubicBezTo>
                        <a:pt x="21622" y="62294"/>
                        <a:pt x="20574" y="62770"/>
                        <a:pt x="19621" y="63246"/>
                      </a:cubicBezTo>
                      <a:cubicBezTo>
                        <a:pt x="18288" y="102584"/>
                        <a:pt x="18669" y="151067"/>
                        <a:pt x="28575" y="183452"/>
                      </a:cubicBezTo>
                      <a:lnTo>
                        <a:pt x="27051" y="184880"/>
                      </a:lnTo>
                      <a:cubicBezTo>
                        <a:pt x="15050" y="185738"/>
                        <a:pt x="7144" y="187262"/>
                        <a:pt x="1619" y="181832"/>
                      </a:cubicBezTo>
                      <a:cubicBezTo>
                        <a:pt x="2572" y="180404"/>
                        <a:pt x="3429" y="178784"/>
                        <a:pt x="4572" y="177355"/>
                      </a:cubicBezTo>
                      <a:cubicBezTo>
                        <a:pt x="13621" y="171355"/>
                        <a:pt x="14192" y="48863"/>
                        <a:pt x="10573" y="31528"/>
                      </a:cubicBezTo>
                      <a:lnTo>
                        <a:pt x="0" y="5905"/>
                      </a:lnTo>
                      <a:cubicBezTo>
                        <a:pt x="476" y="5429"/>
                        <a:pt x="1048" y="5048"/>
                        <a:pt x="1524" y="4477"/>
                      </a:cubicBezTo>
                      <a:cubicBezTo>
                        <a:pt x="11239" y="4858"/>
                        <a:pt x="19526" y="4001"/>
                        <a:pt x="25527" y="1524"/>
                      </a:cubicBezTo>
                      <a:cubicBezTo>
                        <a:pt x="51530" y="23717"/>
                        <a:pt x="52007" y="72676"/>
                        <a:pt x="78105" y="94774"/>
                      </a:cubicBezTo>
                      <a:cubicBezTo>
                        <a:pt x="79058" y="93154"/>
                        <a:pt x="80105" y="91726"/>
                        <a:pt x="81058" y="90202"/>
                      </a:cubicBezTo>
                      <a:cubicBezTo>
                        <a:pt x="92202" y="65627"/>
                        <a:pt x="82487" y="19907"/>
                        <a:pt x="70580" y="4572"/>
                      </a:cubicBezTo>
                      <a:cubicBezTo>
                        <a:pt x="71152" y="3715"/>
                        <a:pt x="71628" y="2572"/>
                        <a:pt x="72104" y="1619"/>
                      </a:cubicBezTo>
                      <a:cubicBezTo>
                        <a:pt x="77629" y="1143"/>
                        <a:pt x="83153" y="667"/>
                        <a:pt x="88583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5" name="任意多边形: 形状 144">
                  <a:extLst>
                    <a:ext uri="{FF2B5EF4-FFF2-40B4-BE49-F238E27FC236}">
                      <a16:creationId xmlns:a16="http://schemas.microsoft.com/office/drawing/2014/main" id="{7C3ED6BA-70E9-413E-B4D4-26D99C629E75}"/>
                    </a:ext>
                  </a:extLst>
                </p:cNvPr>
                <p:cNvSpPr/>
                <p:nvPr/>
              </p:nvSpPr>
              <p:spPr>
                <a:xfrm>
                  <a:off x="3592869" y="6280118"/>
                  <a:ext cx="44135" cy="163959"/>
                </a:xfrm>
                <a:custGeom>
                  <a:avLst/>
                  <a:gdLst>
                    <a:gd name="connsiteX0" fmla="*/ 6406 w 44135"/>
                    <a:gd name="connsiteY0" fmla="*/ 0 h 163959"/>
                    <a:gd name="connsiteX1" fmla="*/ 119 w 44135"/>
                    <a:gd name="connsiteY1" fmla="*/ 6001 h 163959"/>
                    <a:gd name="connsiteX2" fmla="*/ 21360 w 44135"/>
                    <a:gd name="connsiteY2" fmla="*/ 163830 h 163959"/>
                    <a:gd name="connsiteX3" fmla="*/ 6406 w 44135"/>
                    <a:gd name="connsiteY3" fmla="*/ 0 h 1639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4135" h="163959">
                      <a:moveTo>
                        <a:pt x="6406" y="0"/>
                      </a:moveTo>
                      <a:cubicBezTo>
                        <a:pt x="4310" y="2096"/>
                        <a:pt x="2215" y="4001"/>
                        <a:pt x="119" y="6001"/>
                      </a:cubicBezTo>
                      <a:cubicBezTo>
                        <a:pt x="-452" y="35528"/>
                        <a:pt x="214" y="168688"/>
                        <a:pt x="21360" y="163830"/>
                      </a:cubicBezTo>
                      <a:cubicBezTo>
                        <a:pt x="58602" y="145733"/>
                        <a:pt x="47744" y="5429"/>
                        <a:pt x="640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6" name="任意多边形: 形状 145">
                  <a:extLst>
                    <a:ext uri="{FF2B5EF4-FFF2-40B4-BE49-F238E27FC236}">
                      <a16:creationId xmlns:a16="http://schemas.microsoft.com/office/drawing/2014/main" id="{06D8BEEB-6576-4EE4-A73B-95D1B4CE9BC8}"/>
                    </a:ext>
                  </a:extLst>
                </p:cNvPr>
                <p:cNvSpPr/>
                <p:nvPr/>
              </p:nvSpPr>
              <p:spPr>
                <a:xfrm>
                  <a:off x="3362128" y="6343268"/>
                  <a:ext cx="20643" cy="45148"/>
                </a:xfrm>
                <a:custGeom>
                  <a:avLst/>
                  <a:gdLst>
                    <a:gd name="connsiteX0" fmla="*/ 10071 w 20643"/>
                    <a:gd name="connsiteY0" fmla="*/ 0 h 45148"/>
                    <a:gd name="connsiteX1" fmla="*/ 1117 w 20643"/>
                    <a:gd name="connsiteY1" fmla="*/ 45149 h 45148"/>
                    <a:gd name="connsiteX2" fmla="*/ 19120 w 20643"/>
                    <a:gd name="connsiteY2" fmla="*/ 42196 h 45148"/>
                    <a:gd name="connsiteX3" fmla="*/ 20644 w 20643"/>
                    <a:gd name="connsiteY3" fmla="*/ 37624 h 45148"/>
                    <a:gd name="connsiteX4" fmla="*/ 10071 w 20643"/>
                    <a:gd name="connsiteY4" fmla="*/ 0 h 45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0643" h="45148">
                      <a:moveTo>
                        <a:pt x="10071" y="0"/>
                      </a:moveTo>
                      <a:cubicBezTo>
                        <a:pt x="3975" y="9906"/>
                        <a:pt x="-2693" y="30956"/>
                        <a:pt x="1117" y="45149"/>
                      </a:cubicBezTo>
                      <a:cubicBezTo>
                        <a:pt x="7118" y="44101"/>
                        <a:pt x="13119" y="43053"/>
                        <a:pt x="19120" y="42196"/>
                      </a:cubicBezTo>
                      <a:cubicBezTo>
                        <a:pt x="19691" y="40672"/>
                        <a:pt x="20263" y="39148"/>
                        <a:pt x="20644" y="37624"/>
                      </a:cubicBezTo>
                      <a:cubicBezTo>
                        <a:pt x="19596" y="25527"/>
                        <a:pt x="17310" y="3429"/>
                        <a:pt x="10071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0" name="图形 7">
              <a:extLst>
                <a:ext uri="{FF2B5EF4-FFF2-40B4-BE49-F238E27FC236}">
                  <a16:creationId xmlns:a16="http://schemas.microsoft.com/office/drawing/2014/main" id="{AF3837D3-9D5B-40B8-97D4-1CA07C4B1D4E}"/>
                </a:ext>
              </a:extLst>
            </p:cNvPr>
            <p:cNvGrpSpPr/>
            <p:nvPr/>
          </p:nvGrpSpPr>
          <p:grpSpPr>
            <a:xfrm>
              <a:off x="8282628" y="-820039"/>
              <a:ext cx="1923862" cy="470602"/>
              <a:chOff x="1816114" y="6783404"/>
              <a:chExt cx="3505376" cy="857460"/>
            </a:xfrm>
            <a:solidFill>
              <a:schemeClr val="tx1"/>
            </a:solidFill>
          </p:grpSpPr>
          <p:grpSp>
            <p:nvGrpSpPr>
              <p:cNvPr id="11" name="图形 7">
                <a:extLst>
                  <a:ext uri="{FF2B5EF4-FFF2-40B4-BE49-F238E27FC236}">
                    <a16:creationId xmlns:a16="http://schemas.microsoft.com/office/drawing/2014/main" id="{CF010880-78F6-45C0-AB6B-B0E185F65C14}"/>
                  </a:ext>
                </a:extLst>
              </p:cNvPr>
              <p:cNvGrpSpPr/>
              <p:nvPr/>
            </p:nvGrpSpPr>
            <p:grpSpPr>
              <a:xfrm>
                <a:off x="1816114" y="6783404"/>
                <a:ext cx="3467184" cy="594778"/>
                <a:chOff x="1816114" y="6783404"/>
                <a:chExt cx="3467184" cy="594778"/>
              </a:xfrm>
              <a:grpFill/>
            </p:grpSpPr>
            <p:sp>
              <p:nvSpPr>
                <p:cNvPr id="53" name="任意多边形: 形状 52">
                  <a:extLst>
                    <a:ext uri="{FF2B5EF4-FFF2-40B4-BE49-F238E27FC236}">
                      <a16:creationId xmlns:a16="http://schemas.microsoft.com/office/drawing/2014/main" id="{CF1AF3CF-BFBC-4A75-8B90-169D492F00CA}"/>
                    </a:ext>
                  </a:extLst>
                </p:cNvPr>
                <p:cNvSpPr/>
                <p:nvPr/>
              </p:nvSpPr>
              <p:spPr>
                <a:xfrm>
                  <a:off x="1816114" y="6806036"/>
                  <a:ext cx="395784" cy="572067"/>
                </a:xfrm>
                <a:custGeom>
                  <a:avLst/>
                  <a:gdLst>
                    <a:gd name="connsiteX0" fmla="*/ 380414 w 395784"/>
                    <a:gd name="connsiteY0" fmla="*/ 53 h 572067"/>
                    <a:gd name="connsiteX1" fmla="*/ 291355 w 395784"/>
                    <a:gd name="connsiteY1" fmla="*/ 55107 h 572067"/>
                    <a:gd name="connsiteX2" fmla="*/ 240111 w 395784"/>
                    <a:gd name="connsiteY2" fmla="*/ 97874 h 572067"/>
                    <a:gd name="connsiteX3" fmla="*/ 226490 w 395784"/>
                    <a:gd name="connsiteY3" fmla="*/ 125402 h 572067"/>
                    <a:gd name="connsiteX4" fmla="*/ 155910 w 395784"/>
                    <a:gd name="connsiteY4" fmla="*/ 265229 h 572067"/>
                    <a:gd name="connsiteX5" fmla="*/ 124287 w 395784"/>
                    <a:gd name="connsiteY5" fmla="*/ 333047 h 572067"/>
                    <a:gd name="connsiteX6" fmla="*/ 110666 w 395784"/>
                    <a:gd name="connsiteY6" fmla="*/ 322665 h 572067"/>
                    <a:gd name="connsiteX7" fmla="*/ 128383 w 395784"/>
                    <a:gd name="connsiteY7" fmla="*/ 222747 h 572067"/>
                    <a:gd name="connsiteX8" fmla="*/ 96283 w 395784"/>
                    <a:gd name="connsiteY8" fmla="*/ 220366 h 572067"/>
                    <a:gd name="connsiteX9" fmla="*/ 23417 w 395784"/>
                    <a:gd name="connsiteY9" fmla="*/ 307996 h 572067"/>
                    <a:gd name="connsiteX10" fmla="*/ 75043 w 395784"/>
                    <a:gd name="connsiteY10" fmla="*/ 313330 h 572067"/>
                    <a:gd name="connsiteX11" fmla="*/ 81805 w 395784"/>
                    <a:gd name="connsiteY11" fmla="*/ 295423 h 572067"/>
                    <a:gd name="connsiteX12" fmla="*/ 94759 w 395784"/>
                    <a:gd name="connsiteY12" fmla="*/ 309329 h 572067"/>
                    <a:gd name="connsiteX13" fmla="*/ 90283 w 395784"/>
                    <a:gd name="connsiteY13" fmla="*/ 382862 h 572067"/>
                    <a:gd name="connsiteX14" fmla="*/ 84663 w 395784"/>
                    <a:gd name="connsiteY14" fmla="*/ 393911 h 572067"/>
                    <a:gd name="connsiteX15" fmla="*/ 21036 w 395784"/>
                    <a:gd name="connsiteY15" fmla="*/ 538692 h 572067"/>
                    <a:gd name="connsiteX16" fmla="*/ 33133 w 395784"/>
                    <a:gd name="connsiteY16" fmla="*/ 540596 h 572067"/>
                    <a:gd name="connsiteX17" fmla="*/ 72471 w 395784"/>
                    <a:gd name="connsiteY17" fmla="*/ 500973 h 572067"/>
                    <a:gd name="connsiteX18" fmla="*/ 87520 w 395784"/>
                    <a:gd name="connsiteY18" fmla="*/ 523261 h 572067"/>
                    <a:gd name="connsiteX19" fmla="*/ 98284 w 395784"/>
                    <a:gd name="connsiteY19" fmla="*/ 570315 h 572067"/>
                    <a:gd name="connsiteX20" fmla="*/ 112571 w 395784"/>
                    <a:gd name="connsiteY20" fmla="*/ 491066 h 572067"/>
                    <a:gd name="connsiteX21" fmla="*/ 111619 w 395784"/>
                    <a:gd name="connsiteY21" fmla="*/ 448871 h 572067"/>
                    <a:gd name="connsiteX22" fmla="*/ 122953 w 395784"/>
                    <a:gd name="connsiteY22" fmla="*/ 388101 h 572067"/>
                    <a:gd name="connsiteX23" fmla="*/ 222299 w 395784"/>
                    <a:gd name="connsiteY23" fmla="*/ 189600 h 572067"/>
                    <a:gd name="connsiteX24" fmla="*/ 261542 w 395784"/>
                    <a:gd name="connsiteY24" fmla="*/ 135689 h 572067"/>
                    <a:gd name="connsiteX25" fmla="*/ 265352 w 395784"/>
                    <a:gd name="connsiteY25" fmla="*/ 148928 h 572067"/>
                    <a:gd name="connsiteX26" fmla="*/ 188390 w 395784"/>
                    <a:gd name="connsiteY26" fmla="*/ 285517 h 572067"/>
                    <a:gd name="connsiteX27" fmla="*/ 202201 w 395784"/>
                    <a:gd name="connsiteY27" fmla="*/ 331142 h 572067"/>
                    <a:gd name="connsiteX28" fmla="*/ 220013 w 395784"/>
                    <a:gd name="connsiteY28" fmla="*/ 310282 h 572067"/>
                    <a:gd name="connsiteX29" fmla="*/ 246112 w 395784"/>
                    <a:gd name="connsiteY29" fmla="*/ 255894 h 572067"/>
                    <a:gd name="connsiteX30" fmla="*/ 283831 w 395784"/>
                    <a:gd name="connsiteY30" fmla="*/ 216461 h 572067"/>
                    <a:gd name="connsiteX31" fmla="*/ 282211 w 395784"/>
                    <a:gd name="connsiteY31" fmla="*/ 233034 h 572067"/>
                    <a:gd name="connsiteX32" fmla="*/ 240778 w 395784"/>
                    <a:gd name="connsiteY32" fmla="*/ 297233 h 572067"/>
                    <a:gd name="connsiteX33" fmla="*/ 246112 w 395784"/>
                    <a:gd name="connsiteY33" fmla="*/ 310377 h 572067"/>
                    <a:gd name="connsiteX34" fmla="*/ 298309 w 395784"/>
                    <a:gd name="connsiteY34" fmla="*/ 293423 h 572067"/>
                    <a:gd name="connsiteX35" fmla="*/ 293070 w 395784"/>
                    <a:gd name="connsiteY35" fmla="*/ 282755 h 572067"/>
                    <a:gd name="connsiteX36" fmla="*/ 289927 w 395784"/>
                    <a:gd name="connsiteY36" fmla="*/ 264848 h 572067"/>
                    <a:gd name="connsiteX37" fmla="*/ 353935 w 395784"/>
                    <a:gd name="connsiteY37" fmla="*/ 162073 h 572067"/>
                    <a:gd name="connsiteX38" fmla="*/ 332218 w 395784"/>
                    <a:gd name="connsiteY38" fmla="*/ 144737 h 572067"/>
                    <a:gd name="connsiteX39" fmla="*/ 256970 w 395784"/>
                    <a:gd name="connsiteY39" fmla="*/ 218556 h 572067"/>
                    <a:gd name="connsiteX40" fmla="*/ 243635 w 395784"/>
                    <a:gd name="connsiteY40" fmla="*/ 220461 h 572067"/>
                    <a:gd name="connsiteX41" fmla="*/ 305738 w 395784"/>
                    <a:gd name="connsiteY41" fmla="*/ 128640 h 572067"/>
                    <a:gd name="connsiteX42" fmla="*/ 392035 w 395784"/>
                    <a:gd name="connsiteY42" fmla="*/ 23103 h 572067"/>
                    <a:gd name="connsiteX43" fmla="*/ 380414 w 395784"/>
                    <a:gd name="connsiteY43" fmla="*/ 53 h 5720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</a:cxnLst>
                  <a:rect l="l" t="t" r="r" b="b"/>
                  <a:pathLst>
                    <a:path w="395784" h="572067">
                      <a:moveTo>
                        <a:pt x="380414" y="53"/>
                      </a:moveTo>
                      <a:cubicBezTo>
                        <a:pt x="380414" y="53"/>
                        <a:pt x="313930" y="37772"/>
                        <a:pt x="291355" y="55107"/>
                      </a:cubicBezTo>
                      <a:cubicBezTo>
                        <a:pt x="291355" y="55107"/>
                        <a:pt x="258875" y="88826"/>
                        <a:pt x="240111" y="97874"/>
                      </a:cubicBezTo>
                      <a:cubicBezTo>
                        <a:pt x="240111" y="97874"/>
                        <a:pt x="225823" y="110924"/>
                        <a:pt x="226490" y="125402"/>
                      </a:cubicBezTo>
                      <a:cubicBezTo>
                        <a:pt x="226490" y="125402"/>
                        <a:pt x="176770" y="232272"/>
                        <a:pt x="155910" y="265229"/>
                      </a:cubicBezTo>
                      <a:cubicBezTo>
                        <a:pt x="155910" y="265229"/>
                        <a:pt x="136098" y="313140"/>
                        <a:pt x="124287" y="333047"/>
                      </a:cubicBezTo>
                      <a:cubicBezTo>
                        <a:pt x="124287" y="333047"/>
                        <a:pt x="110571" y="346572"/>
                        <a:pt x="110666" y="322665"/>
                      </a:cubicBezTo>
                      <a:cubicBezTo>
                        <a:pt x="110666" y="322665"/>
                        <a:pt x="126097" y="235225"/>
                        <a:pt x="128383" y="222747"/>
                      </a:cubicBezTo>
                      <a:cubicBezTo>
                        <a:pt x="128383" y="222747"/>
                        <a:pt x="117429" y="201411"/>
                        <a:pt x="96283" y="220366"/>
                      </a:cubicBezTo>
                      <a:cubicBezTo>
                        <a:pt x="96283" y="220366"/>
                        <a:pt x="55897" y="277040"/>
                        <a:pt x="23417" y="307996"/>
                      </a:cubicBezTo>
                      <a:cubicBezTo>
                        <a:pt x="23417" y="307996"/>
                        <a:pt x="31894" y="343048"/>
                        <a:pt x="75043" y="313330"/>
                      </a:cubicBezTo>
                      <a:cubicBezTo>
                        <a:pt x="75043" y="313330"/>
                        <a:pt x="84187" y="306948"/>
                        <a:pt x="81805" y="295423"/>
                      </a:cubicBezTo>
                      <a:cubicBezTo>
                        <a:pt x="81805" y="295423"/>
                        <a:pt x="100665" y="282278"/>
                        <a:pt x="94759" y="309329"/>
                      </a:cubicBezTo>
                      <a:cubicBezTo>
                        <a:pt x="94759" y="309329"/>
                        <a:pt x="102951" y="364575"/>
                        <a:pt x="90283" y="382862"/>
                      </a:cubicBezTo>
                      <a:cubicBezTo>
                        <a:pt x="90283" y="382862"/>
                        <a:pt x="88568" y="392102"/>
                        <a:pt x="84663" y="393911"/>
                      </a:cubicBezTo>
                      <a:cubicBezTo>
                        <a:pt x="84663" y="393911"/>
                        <a:pt x="-50878" y="536310"/>
                        <a:pt x="21036" y="538692"/>
                      </a:cubicBezTo>
                      <a:lnTo>
                        <a:pt x="33133" y="540596"/>
                      </a:lnTo>
                      <a:lnTo>
                        <a:pt x="72471" y="500973"/>
                      </a:lnTo>
                      <a:cubicBezTo>
                        <a:pt x="72471" y="500973"/>
                        <a:pt x="92854" y="483637"/>
                        <a:pt x="87520" y="523261"/>
                      </a:cubicBezTo>
                      <a:cubicBezTo>
                        <a:pt x="87520" y="523261"/>
                        <a:pt x="84663" y="573743"/>
                        <a:pt x="98284" y="570315"/>
                      </a:cubicBezTo>
                      <a:cubicBezTo>
                        <a:pt x="98284" y="570315"/>
                        <a:pt x="114286" y="590888"/>
                        <a:pt x="112571" y="491066"/>
                      </a:cubicBezTo>
                      <a:cubicBezTo>
                        <a:pt x="112571" y="491066"/>
                        <a:pt x="107904" y="455348"/>
                        <a:pt x="111619" y="448871"/>
                      </a:cubicBezTo>
                      <a:cubicBezTo>
                        <a:pt x="115524" y="442584"/>
                        <a:pt x="99236" y="436774"/>
                        <a:pt x="122953" y="388101"/>
                      </a:cubicBezTo>
                      <a:cubicBezTo>
                        <a:pt x="122953" y="388101"/>
                        <a:pt x="161053" y="268943"/>
                        <a:pt x="222299" y="189600"/>
                      </a:cubicBezTo>
                      <a:cubicBezTo>
                        <a:pt x="222299" y="189600"/>
                        <a:pt x="243064" y="146833"/>
                        <a:pt x="261542" y="135689"/>
                      </a:cubicBezTo>
                      <a:cubicBezTo>
                        <a:pt x="261542" y="135689"/>
                        <a:pt x="273448" y="137117"/>
                        <a:pt x="265352" y="148928"/>
                      </a:cubicBezTo>
                      <a:cubicBezTo>
                        <a:pt x="265352" y="148928"/>
                        <a:pt x="196010" y="247798"/>
                        <a:pt x="188390" y="285517"/>
                      </a:cubicBezTo>
                      <a:cubicBezTo>
                        <a:pt x="188390" y="285517"/>
                        <a:pt x="169626" y="340571"/>
                        <a:pt x="202201" y="331142"/>
                      </a:cubicBezTo>
                      <a:cubicBezTo>
                        <a:pt x="202201" y="331142"/>
                        <a:pt x="209250" y="331332"/>
                        <a:pt x="220013" y="310282"/>
                      </a:cubicBezTo>
                      <a:cubicBezTo>
                        <a:pt x="220013" y="310282"/>
                        <a:pt x="239539" y="269134"/>
                        <a:pt x="246112" y="255894"/>
                      </a:cubicBezTo>
                      <a:cubicBezTo>
                        <a:pt x="246112" y="255894"/>
                        <a:pt x="262780" y="227415"/>
                        <a:pt x="283831" y="216461"/>
                      </a:cubicBezTo>
                      <a:cubicBezTo>
                        <a:pt x="283831" y="216461"/>
                        <a:pt x="293546" y="218270"/>
                        <a:pt x="282211" y="233034"/>
                      </a:cubicBezTo>
                      <a:lnTo>
                        <a:pt x="240778" y="297233"/>
                      </a:lnTo>
                      <a:lnTo>
                        <a:pt x="246112" y="310377"/>
                      </a:lnTo>
                      <a:cubicBezTo>
                        <a:pt x="246112" y="310377"/>
                        <a:pt x="302690" y="313997"/>
                        <a:pt x="298309" y="293423"/>
                      </a:cubicBezTo>
                      <a:cubicBezTo>
                        <a:pt x="298309" y="293423"/>
                        <a:pt x="298309" y="284755"/>
                        <a:pt x="293070" y="282755"/>
                      </a:cubicBezTo>
                      <a:cubicBezTo>
                        <a:pt x="293070" y="282755"/>
                        <a:pt x="281449" y="273706"/>
                        <a:pt x="289927" y="264848"/>
                      </a:cubicBezTo>
                      <a:lnTo>
                        <a:pt x="353935" y="162073"/>
                      </a:lnTo>
                      <a:cubicBezTo>
                        <a:pt x="353935" y="162073"/>
                        <a:pt x="350601" y="136832"/>
                        <a:pt x="332218" y="144737"/>
                      </a:cubicBezTo>
                      <a:cubicBezTo>
                        <a:pt x="332218" y="144737"/>
                        <a:pt x="290022" y="159882"/>
                        <a:pt x="256970" y="218556"/>
                      </a:cubicBezTo>
                      <a:cubicBezTo>
                        <a:pt x="256970" y="218556"/>
                        <a:pt x="247445" y="233415"/>
                        <a:pt x="243635" y="220461"/>
                      </a:cubicBezTo>
                      <a:cubicBezTo>
                        <a:pt x="243635" y="220461"/>
                        <a:pt x="297928" y="136832"/>
                        <a:pt x="305738" y="128640"/>
                      </a:cubicBezTo>
                      <a:cubicBezTo>
                        <a:pt x="305738" y="128640"/>
                        <a:pt x="336790" y="67680"/>
                        <a:pt x="392035" y="23103"/>
                      </a:cubicBezTo>
                      <a:cubicBezTo>
                        <a:pt x="391844" y="23199"/>
                        <a:pt x="406036" y="-1281"/>
                        <a:pt x="380414" y="5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4" name="任意多边形: 形状 53">
                  <a:extLst>
                    <a:ext uri="{FF2B5EF4-FFF2-40B4-BE49-F238E27FC236}">
                      <a16:creationId xmlns:a16="http://schemas.microsoft.com/office/drawing/2014/main" id="{CCFAED88-DE01-450E-A713-1D0B5AF70F08}"/>
                    </a:ext>
                  </a:extLst>
                </p:cNvPr>
                <p:cNvSpPr/>
                <p:nvPr/>
              </p:nvSpPr>
              <p:spPr>
                <a:xfrm>
                  <a:off x="1882679" y="6876468"/>
                  <a:ext cx="66975" cy="41062"/>
                </a:xfrm>
                <a:custGeom>
                  <a:avLst/>
                  <a:gdLst>
                    <a:gd name="connsiteX0" fmla="*/ 50673 w 66975"/>
                    <a:gd name="connsiteY0" fmla="*/ 41062 h 41062"/>
                    <a:gd name="connsiteX1" fmla="*/ 58865 w 66975"/>
                    <a:gd name="connsiteY1" fmla="*/ 7534 h 41062"/>
                    <a:gd name="connsiteX2" fmla="*/ 19050 w 66975"/>
                    <a:gd name="connsiteY2" fmla="*/ 105 h 41062"/>
                    <a:gd name="connsiteX3" fmla="*/ 0 w 66975"/>
                    <a:gd name="connsiteY3" fmla="*/ 9344 h 41062"/>
                    <a:gd name="connsiteX4" fmla="*/ 10382 w 66975"/>
                    <a:gd name="connsiteY4" fmla="*/ 28966 h 41062"/>
                    <a:gd name="connsiteX5" fmla="*/ 50673 w 66975"/>
                    <a:gd name="connsiteY5" fmla="*/ 41062 h 41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6975" h="41062">
                      <a:moveTo>
                        <a:pt x="50673" y="41062"/>
                      </a:moveTo>
                      <a:cubicBezTo>
                        <a:pt x="50673" y="41062"/>
                        <a:pt x="81058" y="36300"/>
                        <a:pt x="58865" y="7534"/>
                      </a:cubicBezTo>
                      <a:cubicBezTo>
                        <a:pt x="58865" y="7534"/>
                        <a:pt x="25146" y="-1038"/>
                        <a:pt x="19050" y="105"/>
                      </a:cubicBezTo>
                      <a:cubicBezTo>
                        <a:pt x="19050" y="105"/>
                        <a:pt x="2858" y="7725"/>
                        <a:pt x="0" y="9344"/>
                      </a:cubicBezTo>
                      <a:lnTo>
                        <a:pt x="10382" y="28966"/>
                      </a:lnTo>
                      <a:lnTo>
                        <a:pt x="50673" y="41062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5" name="任意多边形: 形状 54">
                  <a:extLst>
                    <a:ext uri="{FF2B5EF4-FFF2-40B4-BE49-F238E27FC236}">
                      <a16:creationId xmlns:a16="http://schemas.microsoft.com/office/drawing/2014/main" id="{C8EDCAD5-9C33-4C08-B891-950364518434}"/>
                    </a:ext>
                  </a:extLst>
                </p:cNvPr>
                <p:cNvSpPr/>
                <p:nvPr/>
              </p:nvSpPr>
              <p:spPr>
                <a:xfrm>
                  <a:off x="2059273" y="7201185"/>
                  <a:ext cx="380" cy="666"/>
                </a:xfrm>
                <a:custGeom>
                  <a:avLst/>
                  <a:gdLst>
                    <a:gd name="connsiteX0" fmla="*/ 286 w 380"/>
                    <a:gd name="connsiteY0" fmla="*/ 0 h 666"/>
                    <a:gd name="connsiteX1" fmla="*/ 0 w 380"/>
                    <a:gd name="connsiteY1" fmla="*/ 667 h 666"/>
                    <a:gd name="connsiteX2" fmla="*/ 381 w 380"/>
                    <a:gd name="connsiteY2" fmla="*/ 190 h 666"/>
                    <a:gd name="connsiteX3" fmla="*/ 286 w 380"/>
                    <a:gd name="connsiteY3" fmla="*/ 0 h 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80" h="666">
                      <a:moveTo>
                        <a:pt x="286" y="0"/>
                      </a:moveTo>
                      <a:cubicBezTo>
                        <a:pt x="286" y="95"/>
                        <a:pt x="190" y="381"/>
                        <a:pt x="0" y="667"/>
                      </a:cubicBezTo>
                      <a:cubicBezTo>
                        <a:pt x="95" y="476"/>
                        <a:pt x="286" y="286"/>
                        <a:pt x="381" y="190"/>
                      </a:cubicBezTo>
                      <a:cubicBezTo>
                        <a:pt x="381" y="95"/>
                        <a:pt x="381" y="95"/>
                        <a:pt x="286" y="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6" name="任意多边形: 形状 55">
                  <a:extLst>
                    <a:ext uri="{FF2B5EF4-FFF2-40B4-BE49-F238E27FC236}">
                      <a16:creationId xmlns:a16="http://schemas.microsoft.com/office/drawing/2014/main" id="{6FC56094-17DB-4184-8606-1191F39AC088}"/>
                    </a:ext>
                  </a:extLst>
                </p:cNvPr>
                <p:cNvSpPr/>
                <p:nvPr/>
              </p:nvSpPr>
              <p:spPr>
                <a:xfrm>
                  <a:off x="1980215" y="7089171"/>
                  <a:ext cx="229461" cy="256702"/>
                </a:xfrm>
                <a:custGeom>
                  <a:avLst/>
                  <a:gdLst>
                    <a:gd name="connsiteX0" fmla="*/ 218789 w 229461"/>
                    <a:gd name="connsiteY0" fmla="*/ 0 h 256702"/>
                    <a:gd name="connsiteX1" fmla="*/ 102299 w 229461"/>
                    <a:gd name="connsiteY1" fmla="*/ 50673 h 256702"/>
                    <a:gd name="connsiteX2" fmla="*/ 39434 w 229461"/>
                    <a:gd name="connsiteY2" fmla="*/ 132683 h 256702"/>
                    <a:gd name="connsiteX3" fmla="*/ 32957 w 229461"/>
                    <a:gd name="connsiteY3" fmla="*/ 137732 h 256702"/>
                    <a:gd name="connsiteX4" fmla="*/ 27432 w 229461"/>
                    <a:gd name="connsiteY4" fmla="*/ 114776 h 256702"/>
                    <a:gd name="connsiteX5" fmla="*/ 2096 w 229461"/>
                    <a:gd name="connsiteY5" fmla="*/ 112586 h 256702"/>
                    <a:gd name="connsiteX6" fmla="*/ 0 w 229461"/>
                    <a:gd name="connsiteY6" fmla="*/ 210217 h 256702"/>
                    <a:gd name="connsiteX7" fmla="*/ 14764 w 229461"/>
                    <a:gd name="connsiteY7" fmla="*/ 247460 h 256702"/>
                    <a:gd name="connsiteX8" fmla="*/ 39434 w 229461"/>
                    <a:gd name="connsiteY8" fmla="*/ 251460 h 256702"/>
                    <a:gd name="connsiteX9" fmla="*/ 50864 w 229461"/>
                    <a:gd name="connsiteY9" fmla="*/ 236792 h 256702"/>
                    <a:gd name="connsiteX10" fmla="*/ 72676 w 229461"/>
                    <a:gd name="connsiteY10" fmla="*/ 233744 h 256702"/>
                    <a:gd name="connsiteX11" fmla="*/ 101251 w 229461"/>
                    <a:gd name="connsiteY11" fmla="*/ 236125 h 256702"/>
                    <a:gd name="connsiteX12" fmla="*/ 112967 w 229461"/>
                    <a:gd name="connsiteY12" fmla="*/ 244983 h 256702"/>
                    <a:gd name="connsiteX13" fmla="*/ 176784 w 229461"/>
                    <a:gd name="connsiteY13" fmla="*/ 244126 h 256702"/>
                    <a:gd name="connsiteX14" fmla="*/ 224028 w 229461"/>
                    <a:gd name="connsiteY14" fmla="*/ 112681 h 256702"/>
                    <a:gd name="connsiteX15" fmla="*/ 218789 w 229461"/>
                    <a:gd name="connsiteY15" fmla="*/ 0 h 256702"/>
                    <a:gd name="connsiteX16" fmla="*/ 74771 w 229461"/>
                    <a:gd name="connsiteY16" fmla="*/ 213170 h 256702"/>
                    <a:gd name="connsiteX17" fmla="*/ 67532 w 229461"/>
                    <a:gd name="connsiteY17" fmla="*/ 210788 h 256702"/>
                    <a:gd name="connsiteX18" fmla="*/ 56388 w 229461"/>
                    <a:gd name="connsiteY18" fmla="*/ 216694 h 256702"/>
                    <a:gd name="connsiteX19" fmla="*/ 48768 w 229461"/>
                    <a:gd name="connsiteY19" fmla="*/ 196310 h 256702"/>
                    <a:gd name="connsiteX20" fmla="*/ 68199 w 229461"/>
                    <a:gd name="connsiteY20" fmla="*/ 185261 h 256702"/>
                    <a:gd name="connsiteX21" fmla="*/ 74771 w 229461"/>
                    <a:gd name="connsiteY21" fmla="*/ 213170 h 256702"/>
                    <a:gd name="connsiteX22" fmla="*/ 80486 w 229461"/>
                    <a:gd name="connsiteY22" fmla="*/ 139351 h 256702"/>
                    <a:gd name="connsiteX23" fmla="*/ 75914 w 229461"/>
                    <a:gd name="connsiteY23" fmla="*/ 146113 h 256702"/>
                    <a:gd name="connsiteX24" fmla="*/ 75914 w 229461"/>
                    <a:gd name="connsiteY24" fmla="*/ 146113 h 256702"/>
                    <a:gd name="connsiteX25" fmla="*/ 70104 w 229461"/>
                    <a:gd name="connsiteY25" fmla="*/ 140113 h 256702"/>
                    <a:gd name="connsiteX26" fmla="*/ 79439 w 229461"/>
                    <a:gd name="connsiteY26" fmla="*/ 111824 h 256702"/>
                    <a:gd name="connsiteX27" fmla="*/ 79629 w 229461"/>
                    <a:gd name="connsiteY27" fmla="*/ 112109 h 256702"/>
                    <a:gd name="connsiteX28" fmla="*/ 79724 w 229461"/>
                    <a:gd name="connsiteY28" fmla="*/ 112014 h 256702"/>
                    <a:gd name="connsiteX29" fmla="*/ 82106 w 229461"/>
                    <a:gd name="connsiteY29" fmla="*/ 116777 h 256702"/>
                    <a:gd name="connsiteX30" fmla="*/ 80486 w 229461"/>
                    <a:gd name="connsiteY30" fmla="*/ 139351 h 256702"/>
                    <a:gd name="connsiteX31" fmla="*/ 108109 w 229461"/>
                    <a:gd name="connsiteY31" fmla="*/ 142018 h 256702"/>
                    <a:gd name="connsiteX32" fmla="*/ 106871 w 229461"/>
                    <a:gd name="connsiteY32" fmla="*/ 141446 h 256702"/>
                    <a:gd name="connsiteX33" fmla="*/ 104299 w 229461"/>
                    <a:gd name="connsiteY33" fmla="*/ 129540 h 256702"/>
                    <a:gd name="connsiteX34" fmla="*/ 107156 w 229461"/>
                    <a:gd name="connsiteY34" fmla="*/ 127445 h 256702"/>
                    <a:gd name="connsiteX35" fmla="*/ 110395 w 229461"/>
                    <a:gd name="connsiteY35" fmla="*/ 116967 h 256702"/>
                    <a:gd name="connsiteX36" fmla="*/ 109633 w 229461"/>
                    <a:gd name="connsiteY36" fmla="*/ 112871 h 256702"/>
                    <a:gd name="connsiteX37" fmla="*/ 113252 w 229461"/>
                    <a:gd name="connsiteY37" fmla="*/ 111538 h 256702"/>
                    <a:gd name="connsiteX38" fmla="*/ 121920 w 229461"/>
                    <a:gd name="connsiteY38" fmla="*/ 113252 h 256702"/>
                    <a:gd name="connsiteX39" fmla="*/ 125254 w 229461"/>
                    <a:gd name="connsiteY39" fmla="*/ 126683 h 256702"/>
                    <a:gd name="connsiteX40" fmla="*/ 115062 w 229461"/>
                    <a:gd name="connsiteY40" fmla="*/ 137446 h 256702"/>
                    <a:gd name="connsiteX41" fmla="*/ 108109 w 229461"/>
                    <a:gd name="connsiteY41" fmla="*/ 142018 h 256702"/>
                    <a:gd name="connsiteX42" fmla="*/ 192310 w 229461"/>
                    <a:gd name="connsiteY42" fmla="*/ 110300 h 256702"/>
                    <a:gd name="connsiteX43" fmla="*/ 157829 w 229461"/>
                    <a:gd name="connsiteY43" fmla="*/ 217075 h 256702"/>
                    <a:gd name="connsiteX44" fmla="*/ 138875 w 229461"/>
                    <a:gd name="connsiteY44" fmla="*/ 230696 h 256702"/>
                    <a:gd name="connsiteX45" fmla="*/ 115824 w 229461"/>
                    <a:gd name="connsiteY45" fmla="*/ 221742 h 256702"/>
                    <a:gd name="connsiteX46" fmla="*/ 117348 w 229461"/>
                    <a:gd name="connsiteY46" fmla="*/ 191738 h 256702"/>
                    <a:gd name="connsiteX47" fmla="*/ 155258 w 229461"/>
                    <a:gd name="connsiteY47" fmla="*/ 178879 h 256702"/>
                    <a:gd name="connsiteX48" fmla="*/ 163640 w 229461"/>
                    <a:gd name="connsiteY48" fmla="*/ 88106 h 256702"/>
                    <a:gd name="connsiteX49" fmla="*/ 150876 w 229461"/>
                    <a:gd name="connsiteY49" fmla="*/ 62579 h 256702"/>
                    <a:gd name="connsiteX50" fmla="*/ 114300 w 229461"/>
                    <a:gd name="connsiteY50" fmla="*/ 80772 h 256702"/>
                    <a:gd name="connsiteX51" fmla="*/ 108585 w 229461"/>
                    <a:gd name="connsiteY51" fmla="*/ 71723 h 256702"/>
                    <a:gd name="connsiteX52" fmla="*/ 212217 w 229461"/>
                    <a:gd name="connsiteY52" fmla="*/ 20384 h 256702"/>
                    <a:gd name="connsiteX53" fmla="*/ 192310 w 229461"/>
                    <a:gd name="connsiteY53" fmla="*/ 110300 h 256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</a:cxnLst>
                  <a:rect l="l" t="t" r="r" b="b"/>
                  <a:pathLst>
                    <a:path w="229461" h="256702">
                      <a:moveTo>
                        <a:pt x="218789" y="0"/>
                      </a:moveTo>
                      <a:cubicBezTo>
                        <a:pt x="176689" y="1048"/>
                        <a:pt x="106871" y="50006"/>
                        <a:pt x="102299" y="50673"/>
                      </a:cubicBezTo>
                      <a:cubicBezTo>
                        <a:pt x="73343" y="72771"/>
                        <a:pt x="40291" y="129826"/>
                        <a:pt x="39434" y="132683"/>
                      </a:cubicBezTo>
                      <a:cubicBezTo>
                        <a:pt x="38767" y="135636"/>
                        <a:pt x="32957" y="137732"/>
                        <a:pt x="32957" y="137732"/>
                      </a:cubicBezTo>
                      <a:cubicBezTo>
                        <a:pt x="27527" y="138875"/>
                        <a:pt x="27432" y="114776"/>
                        <a:pt x="27432" y="114776"/>
                      </a:cubicBezTo>
                      <a:cubicBezTo>
                        <a:pt x="13145" y="95250"/>
                        <a:pt x="2096" y="112586"/>
                        <a:pt x="2096" y="112586"/>
                      </a:cubicBezTo>
                      <a:cubicBezTo>
                        <a:pt x="3620" y="119825"/>
                        <a:pt x="0" y="210217"/>
                        <a:pt x="0" y="210217"/>
                      </a:cubicBezTo>
                      <a:cubicBezTo>
                        <a:pt x="2572" y="246412"/>
                        <a:pt x="14764" y="247460"/>
                        <a:pt x="14764" y="247460"/>
                      </a:cubicBezTo>
                      <a:cubicBezTo>
                        <a:pt x="32290" y="262985"/>
                        <a:pt x="39434" y="251460"/>
                        <a:pt x="39434" y="251460"/>
                      </a:cubicBezTo>
                      <a:cubicBezTo>
                        <a:pt x="44101" y="234601"/>
                        <a:pt x="50864" y="236792"/>
                        <a:pt x="50864" y="236792"/>
                      </a:cubicBezTo>
                      <a:cubicBezTo>
                        <a:pt x="61341" y="244507"/>
                        <a:pt x="72676" y="233744"/>
                        <a:pt x="72676" y="233744"/>
                      </a:cubicBezTo>
                      <a:cubicBezTo>
                        <a:pt x="82677" y="231934"/>
                        <a:pt x="101251" y="236125"/>
                        <a:pt x="101251" y="236125"/>
                      </a:cubicBezTo>
                      <a:cubicBezTo>
                        <a:pt x="101060" y="248031"/>
                        <a:pt x="112967" y="244983"/>
                        <a:pt x="112967" y="244983"/>
                      </a:cubicBezTo>
                      <a:cubicBezTo>
                        <a:pt x="146304" y="271844"/>
                        <a:pt x="176784" y="244126"/>
                        <a:pt x="176784" y="244126"/>
                      </a:cubicBezTo>
                      <a:cubicBezTo>
                        <a:pt x="201359" y="218885"/>
                        <a:pt x="224028" y="112681"/>
                        <a:pt x="224028" y="112681"/>
                      </a:cubicBezTo>
                      <a:cubicBezTo>
                        <a:pt x="238792" y="10192"/>
                        <a:pt x="218789" y="0"/>
                        <a:pt x="218789" y="0"/>
                      </a:cubicBezTo>
                      <a:close/>
                      <a:moveTo>
                        <a:pt x="74771" y="213170"/>
                      </a:moveTo>
                      <a:cubicBezTo>
                        <a:pt x="63437" y="224885"/>
                        <a:pt x="71342" y="211550"/>
                        <a:pt x="67532" y="210788"/>
                      </a:cubicBezTo>
                      <a:cubicBezTo>
                        <a:pt x="63532" y="210026"/>
                        <a:pt x="58674" y="214789"/>
                        <a:pt x="56388" y="216694"/>
                      </a:cubicBezTo>
                      <a:cubicBezTo>
                        <a:pt x="53912" y="218599"/>
                        <a:pt x="40767" y="211741"/>
                        <a:pt x="48768" y="196310"/>
                      </a:cubicBezTo>
                      <a:cubicBezTo>
                        <a:pt x="56769" y="180880"/>
                        <a:pt x="68199" y="185261"/>
                        <a:pt x="68199" y="185261"/>
                      </a:cubicBezTo>
                      <a:cubicBezTo>
                        <a:pt x="68199" y="185261"/>
                        <a:pt x="85820" y="201263"/>
                        <a:pt x="74771" y="213170"/>
                      </a:cubicBezTo>
                      <a:close/>
                      <a:moveTo>
                        <a:pt x="80486" y="139351"/>
                      </a:moveTo>
                      <a:cubicBezTo>
                        <a:pt x="79343" y="143828"/>
                        <a:pt x="77819" y="146113"/>
                        <a:pt x="75914" y="146113"/>
                      </a:cubicBezTo>
                      <a:lnTo>
                        <a:pt x="75914" y="146113"/>
                      </a:lnTo>
                      <a:cubicBezTo>
                        <a:pt x="72866" y="146113"/>
                        <a:pt x="70199" y="140303"/>
                        <a:pt x="70104" y="140113"/>
                      </a:cubicBezTo>
                      <a:cubicBezTo>
                        <a:pt x="66199" y="133350"/>
                        <a:pt x="78867" y="112681"/>
                        <a:pt x="79439" y="111824"/>
                      </a:cubicBezTo>
                      <a:cubicBezTo>
                        <a:pt x="79534" y="111919"/>
                        <a:pt x="79534" y="112014"/>
                        <a:pt x="79629" y="112109"/>
                      </a:cubicBezTo>
                      <a:cubicBezTo>
                        <a:pt x="79629" y="112109"/>
                        <a:pt x="79724" y="112014"/>
                        <a:pt x="79724" y="112014"/>
                      </a:cubicBezTo>
                      <a:cubicBezTo>
                        <a:pt x="80772" y="113443"/>
                        <a:pt x="81629" y="115062"/>
                        <a:pt x="82106" y="116777"/>
                      </a:cubicBezTo>
                      <a:cubicBezTo>
                        <a:pt x="85058" y="126302"/>
                        <a:pt x="80486" y="139160"/>
                        <a:pt x="80486" y="139351"/>
                      </a:cubicBezTo>
                      <a:close/>
                      <a:moveTo>
                        <a:pt x="108109" y="142018"/>
                      </a:moveTo>
                      <a:cubicBezTo>
                        <a:pt x="107633" y="142018"/>
                        <a:pt x="107156" y="141827"/>
                        <a:pt x="106871" y="141446"/>
                      </a:cubicBezTo>
                      <a:cubicBezTo>
                        <a:pt x="106680" y="141065"/>
                        <a:pt x="101441" y="132779"/>
                        <a:pt x="104299" y="129540"/>
                      </a:cubicBezTo>
                      <a:cubicBezTo>
                        <a:pt x="104966" y="128778"/>
                        <a:pt x="106013" y="128111"/>
                        <a:pt x="107156" y="127445"/>
                      </a:cubicBezTo>
                      <a:cubicBezTo>
                        <a:pt x="110395" y="125540"/>
                        <a:pt x="114109" y="123539"/>
                        <a:pt x="110395" y="116967"/>
                      </a:cubicBezTo>
                      <a:cubicBezTo>
                        <a:pt x="109347" y="115157"/>
                        <a:pt x="109157" y="113824"/>
                        <a:pt x="109633" y="112871"/>
                      </a:cubicBezTo>
                      <a:cubicBezTo>
                        <a:pt x="110204" y="112014"/>
                        <a:pt x="111347" y="111538"/>
                        <a:pt x="113252" y="111538"/>
                      </a:cubicBezTo>
                      <a:cubicBezTo>
                        <a:pt x="116872" y="111538"/>
                        <a:pt x="121730" y="113157"/>
                        <a:pt x="121920" y="113252"/>
                      </a:cubicBezTo>
                      <a:cubicBezTo>
                        <a:pt x="122111" y="113443"/>
                        <a:pt x="126873" y="119825"/>
                        <a:pt x="125254" y="126683"/>
                      </a:cubicBezTo>
                      <a:cubicBezTo>
                        <a:pt x="124206" y="131064"/>
                        <a:pt x="120777" y="134684"/>
                        <a:pt x="115062" y="137446"/>
                      </a:cubicBezTo>
                      <a:cubicBezTo>
                        <a:pt x="115062" y="137541"/>
                        <a:pt x="110490" y="142018"/>
                        <a:pt x="108109" y="142018"/>
                      </a:cubicBezTo>
                      <a:close/>
                      <a:moveTo>
                        <a:pt x="192310" y="110300"/>
                      </a:moveTo>
                      <a:cubicBezTo>
                        <a:pt x="192310" y="110300"/>
                        <a:pt x="169069" y="200882"/>
                        <a:pt x="157829" y="217075"/>
                      </a:cubicBezTo>
                      <a:cubicBezTo>
                        <a:pt x="157829" y="217075"/>
                        <a:pt x="137732" y="226504"/>
                        <a:pt x="138875" y="230696"/>
                      </a:cubicBezTo>
                      <a:cubicBezTo>
                        <a:pt x="138875" y="230696"/>
                        <a:pt x="120777" y="236792"/>
                        <a:pt x="115824" y="221742"/>
                      </a:cubicBezTo>
                      <a:cubicBezTo>
                        <a:pt x="115824" y="221742"/>
                        <a:pt x="106775" y="214408"/>
                        <a:pt x="117348" y="191738"/>
                      </a:cubicBezTo>
                      <a:cubicBezTo>
                        <a:pt x="117348" y="191738"/>
                        <a:pt x="144113" y="178975"/>
                        <a:pt x="155258" y="178879"/>
                      </a:cubicBezTo>
                      <a:cubicBezTo>
                        <a:pt x="155258" y="178879"/>
                        <a:pt x="131064" y="127635"/>
                        <a:pt x="163640" y="88106"/>
                      </a:cubicBezTo>
                      <a:cubicBezTo>
                        <a:pt x="163640" y="88106"/>
                        <a:pt x="167926" y="72676"/>
                        <a:pt x="150876" y="62579"/>
                      </a:cubicBezTo>
                      <a:cubicBezTo>
                        <a:pt x="150876" y="62579"/>
                        <a:pt x="130683" y="65913"/>
                        <a:pt x="114300" y="80772"/>
                      </a:cubicBezTo>
                      <a:cubicBezTo>
                        <a:pt x="114300" y="80772"/>
                        <a:pt x="102108" y="94012"/>
                        <a:pt x="108585" y="71723"/>
                      </a:cubicBezTo>
                      <a:cubicBezTo>
                        <a:pt x="108585" y="71723"/>
                        <a:pt x="193548" y="3810"/>
                        <a:pt x="212217" y="20384"/>
                      </a:cubicBezTo>
                      <a:cubicBezTo>
                        <a:pt x="212408" y="20479"/>
                        <a:pt x="229076" y="20193"/>
                        <a:pt x="192310" y="11030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7" name="任意多边形: 形状 56">
                  <a:extLst>
                    <a:ext uri="{FF2B5EF4-FFF2-40B4-BE49-F238E27FC236}">
                      <a16:creationId xmlns:a16="http://schemas.microsoft.com/office/drawing/2014/main" id="{08D77546-7C6F-4C95-B270-0E75E92E3E24}"/>
                    </a:ext>
                  </a:extLst>
                </p:cNvPr>
                <p:cNvSpPr/>
                <p:nvPr/>
              </p:nvSpPr>
              <p:spPr>
                <a:xfrm>
                  <a:off x="2084006" y="7201024"/>
                  <a:ext cx="21736" cy="29842"/>
                </a:xfrm>
                <a:custGeom>
                  <a:avLst/>
                  <a:gdLst>
                    <a:gd name="connsiteX0" fmla="*/ 18225 w 21736"/>
                    <a:gd name="connsiteY0" fmla="*/ 1686 h 29842"/>
                    <a:gd name="connsiteX1" fmla="*/ 6985 w 21736"/>
                    <a:gd name="connsiteY1" fmla="*/ 5115 h 29842"/>
                    <a:gd name="connsiteX2" fmla="*/ 794 w 21736"/>
                    <a:gd name="connsiteY2" fmla="*/ 17878 h 29842"/>
                    <a:gd name="connsiteX3" fmla="*/ 3366 w 21736"/>
                    <a:gd name="connsiteY3" fmla="*/ 29404 h 29842"/>
                    <a:gd name="connsiteX4" fmla="*/ 11271 w 21736"/>
                    <a:gd name="connsiteY4" fmla="*/ 25403 h 29842"/>
                    <a:gd name="connsiteX5" fmla="*/ 18225 w 21736"/>
                    <a:gd name="connsiteY5" fmla="*/ 1686 h 29842"/>
                    <a:gd name="connsiteX6" fmla="*/ 11081 w 21736"/>
                    <a:gd name="connsiteY6" fmla="*/ 25213 h 29842"/>
                    <a:gd name="connsiteX7" fmla="*/ 3556 w 21736"/>
                    <a:gd name="connsiteY7" fmla="*/ 29308 h 29842"/>
                    <a:gd name="connsiteX8" fmla="*/ 889 w 21736"/>
                    <a:gd name="connsiteY8" fmla="*/ 18164 h 29842"/>
                    <a:gd name="connsiteX9" fmla="*/ 3747 w 21736"/>
                    <a:gd name="connsiteY9" fmla="*/ 16259 h 29842"/>
                    <a:gd name="connsiteX10" fmla="*/ 7080 w 21736"/>
                    <a:gd name="connsiteY10" fmla="*/ 5115 h 29842"/>
                    <a:gd name="connsiteX11" fmla="*/ 6318 w 21736"/>
                    <a:gd name="connsiteY11" fmla="*/ 1495 h 29842"/>
                    <a:gd name="connsiteX12" fmla="*/ 9557 w 21736"/>
                    <a:gd name="connsiteY12" fmla="*/ 447 h 29842"/>
                    <a:gd name="connsiteX13" fmla="*/ 17939 w 21736"/>
                    <a:gd name="connsiteY13" fmla="*/ 2067 h 29842"/>
                    <a:gd name="connsiteX14" fmla="*/ 21082 w 21736"/>
                    <a:gd name="connsiteY14" fmla="*/ 14925 h 29842"/>
                    <a:gd name="connsiteX15" fmla="*/ 11081 w 21736"/>
                    <a:gd name="connsiteY15" fmla="*/ 25213 h 298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1736" h="29842">
                      <a:moveTo>
                        <a:pt x="18225" y="1686"/>
                      </a:moveTo>
                      <a:cubicBezTo>
                        <a:pt x="18225" y="1686"/>
                        <a:pt x="1842" y="-3839"/>
                        <a:pt x="6985" y="5115"/>
                      </a:cubicBezTo>
                      <a:cubicBezTo>
                        <a:pt x="12033" y="14068"/>
                        <a:pt x="3461" y="15021"/>
                        <a:pt x="794" y="17878"/>
                      </a:cubicBezTo>
                      <a:cubicBezTo>
                        <a:pt x="-1968" y="21021"/>
                        <a:pt x="3366" y="29404"/>
                        <a:pt x="3366" y="29404"/>
                      </a:cubicBezTo>
                      <a:cubicBezTo>
                        <a:pt x="4890" y="31499"/>
                        <a:pt x="11271" y="25403"/>
                        <a:pt x="11271" y="25403"/>
                      </a:cubicBezTo>
                      <a:cubicBezTo>
                        <a:pt x="29655" y="16545"/>
                        <a:pt x="18225" y="1686"/>
                        <a:pt x="18225" y="1686"/>
                      </a:cubicBezTo>
                      <a:close/>
                      <a:moveTo>
                        <a:pt x="11081" y="25213"/>
                      </a:moveTo>
                      <a:cubicBezTo>
                        <a:pt x="11081" y="25308"/>
                        <a:pt x="4699" y="30928"/>
                        <a:pt x="3556" y="29308"/>
                      </a:cubicBezTo>
                      <a:cubicBezTo>
                        <a:pt x="3556" y="29308"/>
                        <a:pt x="-1683" y="21021"/>
                        <a:pt x="889" y="18164"/>
                      </a:cubicBezTo>
                      <a:cubicBezTo>
                        <a:pt x="1556" y="17402"/>
                        <a:pt x="2604" y="16830"/>
                        <a:pt x="3747" y="16259"/>
                      </a:cubicBezTo>
                      <a:cubicBezTo>
                        <a:pt x="6985" y="14354"/>
                        <a:pt x="11081" y="11973"/>
                        <a:pt x="7080" y="5115"/>
                      </a:cubicBezTo>
                      <a:cubicBezTo>
                        <a:pt x="6128" y="3496"/>
                        <a:pt x="5937" y="2257"/>
                        <a:pt x="6318" y="1495"/>
                      </a:cubicBezTo>
                      <a:cubicBezTo>
                        <a:pt x="6795" y="733"/>
                        <a:pt x="7842" y="447"/>
                        <a:pt x="9557" y="447"/>
                      </a:cubicBezTo>
                      <a:cubicBezTo>
                        <a:pt x="13081" y="447"/>
                        <a:pt x="17939" y="2162"/>
                        <a:pt x="17939" y="2067"/>
                      </a:cubicBezTo>
                      <a:cubicBezTo>
                        <a:pt x="18034" y="2067"/>
                        <a:pt x="22701" y="8258"/>
                        <a:pt x="21082" y="14925"/>
                      </a:cubicBezTo>
                      <a:cubicBezTo>
                        <a:pt x="20130" y="18926"/>
                        <a:pt x="16701" y="22450"/>
                        <a:pt x="11081" y="252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8" name="任意多边形: 形状 57">
                  <a:extLst>
                    <a:ext uri="{FF2B5EF4-FFF2-40B4-BE49-F238E27FC236}">
                      <a16:creationId xmlns:a16="http://schemas.microsoft.com/office/drawing/2014/main" id="{1AA6DE8A-DCDB-4BB9-9361-1ED84CB597D5}"/>
                    </a:ext>
                  </a:extLst>
                </p:cNvPr>
                <p:cNvSpPr/>
                <p:nvPr/>
              </p:nvSpPr>
              <p:spPr>
                <a:xfrm>
                  <a:off x="2049706" y="7201185"/>
                  <a:ext cx="13499" cy="33742"/>
                </a:xfrm>
                <a:custGeom>
                  <a:avLst/>
                  <a:gdLst>
                    <a:gd name="connsiteX0" fmla="*/ 10520 w 13499"/>
                    <a:gd name="connsiteY0" fmla="*/ 27146 h 33742"/>
                    <a:gd name="connsiteX1" fmla="*/ 6329 w 13499"/>
                    <a:gd name="connsiteY1" fmla="*/ 33528 h 33742"/>
                    <a:gd name="connsiteX2" fmla="*/ 900 w 13499"/>
                    <a:gd name="connsiteY2" fmla="*/ 27813 h 33742"/>
                    <a:gd name="connsiteX3" fmla="*/ 9567 w 13499"/>
                    <a:gd name="connsiteY3" fmla="*/ 667 h 33742"/>
                    <a:gd name="connsiteX4" fmla="*/ 709 w 13499"/>
                    <a:gd name="connsiteY4" fmla="*/ 27908 h 33742"/>
                    <a:gd name="connsiteX5" fmla="*/ 10805 w 13499"/>
                    <a:gd name="connsiteY5" fmla="*/ 27146 h 33742"/>
                    <a:gd name="connsiteX6" fmla="*/ 12520 w 13499"/>
                    <a:gd name="connsiteY6" fmla="*/ 4667 h 33742"/>
                    <a:gd name="connsiteX7" fmla="*/ 10043 w 13499"/>
                    <a:gd name="connsiteY7" fmla="*/ 0 h 33742"/>
                    <a:gd name="connsiteX8" fmla="*/ 9948 w 13499"/>
                    <a:gd name="connsiteY8" fmla="*/ 190 h 33742"/>
                    <a:gd name="connsiteX9" fmla="*/ 10520 w 13499"/>
                    <a:gd name="connsiteY9" fmla="*/ 27146 h 337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499" h="33742">
                      <a:moveTo>
                        <a:pt x="10520" y="27146"/>
                      </a:moveTo>
                      <a:cubicBezTo>
                        <a:pt x="9377" y="31337"/>
                        <a:pt x="8043" y="33528"/>
                        <a:pt x="6329" y="33528"/>
                      </a:cubicBezTo>
                      <a:cubicBezTo>
                        <a:pt x="3566" y="33528"/>
                        <a:pt x="995" y="27908"/>
                        <a:pt x="900" y="27813"/>
                      </a:cubicBezTo>
                      <a:cubicBezTo>
                        <a:pt x="-2434" y="21907"/>
                        <a:pt x="7757" y="4191"/>
                        <a:pt x="9567" y="667"/>
                      </a:cubicBezTo>
                      <a:cubicBezTo>
                        <a:pt x="7281" y="4572"/>
                        <a:pt x="-2720" y="22003"/>
                        <a:pt x="709" y="27908"/>
                      </a:cubicBezTo>
                      <a:cubicBezTo>
                        <a:pt x="709" y="27908"/>
                        <a:pt x="7091" y="41529"/>
                        <a:pt x="10805" y="27146"/>
                      </a:cubicBezTo>
                      <a:cubicBezTo>
                        <a:pt x="10805" y="27146"/>
                        <a:pt x="15473" y="14192"/>
                        <a:pt x="12520" y="4667"/>
                      </a:cubicBezTo>
                      <a:cubicBezTo>
                        <a:pt x="11949" y="2953"/>
                        <a:pt x="11187" y="1334"/>
                        <a:pt x="10043" y="0"/>
                      </a:cubicBezTo>
                      <a:cubicBezTo>
                        <a:pt x="10043" y="0"/>
                        <a:pt x="10043" y="0"/>
                        <a:pt x="9948" y="190"/>
                      </a:cubicBezTo>
                      <a:cubicBezTo>
                        <a:pt x="16806" y="9144"/>
                        <a:pt x="10520" y="26956"/>
                        <a:pt x="10520" y="2714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9" name="任意多边形: 形状 58">
                  <a:extLst>
                    <a:ext uri="{FF2B5EF4-FFF2-40B4-BE49-F238E27FC236}">
                      <a16:creationId xmlns:a16="http://schemas.microsoft.com/office/drawing/2014/main" id="{F93FE391-1F79-40EE-8B95-5B93EE4DBCF1}"/>
                    </a:ext>
                  </a:extLst>
                </p:cNvPr>
                <p:cNvSpPr/>
                <p:nvPr/>
              </p:nvSpPr>
              <p:spPr>
                <a:xfrm>
                  <a:off x="2442240" y="6871538"/>
                  <a:ext cx="379877" cy="506266"/>
                </a:xfrm>
                <a:custGeom>
                  <a:avLst/>
                  <a:gdLst>
                    <a:gd name="connsiteX0" fmla="*/ 369412 w 379877"/>
                    <a:gd name="connsiteY0" fmla="*/ 46946 h 506266"/>
                    <a:gd name="connsiteX1" fmla="*/ 346266 w 379877"/>
                    <a:gd name="connsiteY1" fmla="*/ 42469 h 506266"/>
                    <a:gd name="connsiteX2" fmla="*/ 308833 w 379877"/>
                    <a:gd name="connsiteY2" fmla="*/ 35706 h 506266"/>
                    <a:gd name="connsiteX3" fmla="*/ 296736 w 379877"/>
                    <a:gd name="connsiteY3" fmla="*/ 4273 h 506266"/>
                    <a:gd name="connsiteX4" fmla="*/ 263303 w 379877"/>
                    <a:gd name="connsiteY4" fmla="*/ 15608 h 506266"/>
                    <a:gd name="connsiteX5" fmla="*/ 263780 w 379877"/>
                    <a:gd name="connsiteY5" fmla="*/ 24752 h 506266"/>
                    <a:gd name="connsiteX6" fmla="*/ 268257 w 379877"/>
                    <a:gd name="connsiteY6" fmla="*/ 85807 h 506266"/>
                    <a:gd name="connsiteX7" fmla="*/ 229204 w 379877"/>
                    <a:gd name="connsiteY7" fmla="*/ 95904 h 506266"/>
                    <a:gd name="connsiteX8" fmla="*/ 228918 w 379877"/>
                    <a:gd name="connsiteY8" fmla="*/ 119716 h 506266"/>
                    <a:gd name="connsiteX9" fmla="*/ 260255 w 379877"/>
                    <a:gd name="connsiteY9" fmla="*/ 127908 h 506266"/>
                    <a:gd name="connsiteX10" fmla="*/ 261970 w 379877"/>
                    <a:gd name="connsiteY10" fmla="*/ 183534 h 506266"/>
                    <a:gd name="connsiteX11" fmla="*/ 185484 w 379877"/>
                    <a:gd name="connsiteY11" fmla="*/ 238017 h 506266"/>
                    <a:gd name="connsiteX12" fmla="*/ 159576 w 379877"/>
                    <a:gd name="connsiteY12" fmla="*/ 195250 h 506266"/>
                    <a:gd name="connsiteX13" fmla="*/ 121000 w 379877"/>
                    <a:gd name="connsiteY13" fmla="*/ 133147 h 506266"/>
                    <a:gd name="connsiteX14" fmla="*/ 93378 w 379877"/>
                    <a:gd name="connsiteY14" fmla="*/ 142005 h 506266"/>
                    <a:gd name="connsiteX15" fmla="*/ 129192 w 379877"/>
                    <a:gd name="connsiteY15" fmla="*/ 299167 h 506266"/>
                    <a:gd name="connsiteX16" fmla="*/ 155480 w 379877"/>
                    <a:gd name="connsiteY16" fmla="*/ 372415 h 506266"/>
                    <a:gd name="connsiteX17" fmla="*/ 132430 w 379877"/>
                    <a:gd name="connsiteY17" fmla="*/ 378701 h 506266"/>
                    <a:gd name="connsiteX18" fmla="*/ 119667 w 379877"/>
                    <a:gd name="connsiteY18" fmla="*/ 397084 h 506266"/>
                    <a:gd name="connsiteX19" fmla="*/ 127477 w 379877"/>
                    <a:gd name="connsiteY19" fmla="*/ 399275 h 506266"/>
                    <a:gd name="connsiteX20" fmla="*/ 162815 w 379877"/>
                    <a:gd name="connsiteY20" fmla="*/ 427279 h 506266"/>
                    <a:gd name="connsiteX21" fmla="*/ 175769 w 379877"/>
                    <a:gd name="connsiteY21" fmla="*/ 424612 h 506266"/>
                    <a:gd name="connsiteX22" fmla="*/ 177007 w 379877"/>
                    <a:gd name="connsiteY22" fmla="*/ 449853 h 506266"/>
                    <a:gd name="connsiteX23" fmla="*/ 48991 w 379877"/>
                    <a:gd name="connsiteY23" fmla="*/ 446043 h 506266"/>
                    <a:gd name="connsiteX24" fmla="*/ 37942 w 379877"/>
                    <a:gd name="connsiteY24" fmla="*/ 426326 h 506266"/>
                    <a:gd name="connsiteX25" fmla="*/ 1747 w 379877"/>
                    <a:gd name="connsiteY25" fmla="*/ 465188 h 506266"/>
                    <a:gd name="connsiteX26" fmla="*/ 48610 w 379877"/>
                    <a:gd name="connsiteY26" fmla="*/ 479571 h 506266"/>
                    <a:gd name="connsiteX27" fmla="*/ 149384 w 379877"/>
                    <a:gd name="connsiteY27" fmla="*/ 481762 h 506266"/>
                    <a:gd name="connsiteX28" fmla="*/ 197962 w 379877"/>
                    <a:gd name="connsiteY28" fmla="*/ 470617 h 506266"/>
                    <a:gd name="connsiteX29" fmla="*/ 216917 w 379877"/>
                    <a:gd name="connsiteY29" fmla="*/ 494716 h 506266"/>
                    <a:gd name="connsiteX30" fmla="*/ 240824 w 379877"/>
                    <a:gd name="connsiteY30" fmla="*/ 505765 h 506266"/>
                    <a:gd name="connsiteX31" fmla="*/ 244539 w 379877"/>
                    <a:gd name="connsiteY31" fmla="*/ 477095 h 506266"/>
                    <a:gd name="connsiteX32" fmla="*/ 302642 w 379877"/>
                    <a:gd name="connsiteY32" fmla="*/ 484333 h 506266"/>
                    <a:gd name="connsiteX33" fmla="*/ 373127 w 379877"/>
                    <a:gd name="connsiteY33" fmla="*/ 459092 h 506266"/>
                    <a:gd name="connsiteX34" fmla="*/ 362459 w 379877"/>
                    <a:gd name="connsiteY34" fmla="*/ 450424 h 506266"/>
                    <a:gd name="connsiteX35" fmla="*/ 249778 w 379877"/>
                    <a:gd name="connsiteY35" fmla="*/ 449948 h 506266"/>
                    <a:gd name="connsiteX36" fmla="*/ 261303 w 379877"/>
                    <a:gd name="connsiteY36" fmla="*/ 407276 h 506266"/>
                    <a:gd name="connsiteX37" fmla="*/ 311976 w 379877"/>
                    <a:gd name="connsiteY37" fmla="*/ 331172 h 506266"/>
                    <a:gd name="connsiteX38" fmla="*/ 309595 w 379877"/>
                    <a:gd name="connsiteY38" fmla="*/ 323266 h 506266"/>
                    <a:gd name="connsiteX39" fmla="*/ 294831 w 379877"/>
                    <a:gd name="connsiteY39" fmla="*/ 294596 h 506266"/>
                    <a:gd name="connsiteX40" fmla="*/ 282639 w 379877"/>
                    <a:gd name="connsiteY40" fmla="*/ 281451 h 506266"/>
                    <a:gd name="connsiteX41" fmla="*/ 295593 w 379877"/>
                    <a:gd name="connsiteY41" fmla="*/ 265068 h 506266"/>
                    <a:gd name="connsiteX42" fmla="*/ 308262 w 379877"/>
                    <a:gd name="connsiteY42" fmla="*/ 235922 h 506266"/>
                    <a:gd name="connsiteX43" fmla="*/ 304642 w 379877"/>
                    <a:gd name="connsiteY43" fmla="*/ 214300 h 506266"/>
                    <a:gd name="connsiteX44" fmla="*/ 353220 w 379877"/>
                    <a:gd name="connsiteY44" fmla="*/ 158579 h 506266"/>
                    <a:gd name="connsiteX45" fmla="*/ 350076 w 379877"/>
                    <a:gd name="connsiteY45" fmla="*/ 137433 h 506266"/>
                    <a:gd name="connsiteX46" fmla="*/ 358839 w 379877"/>
                    <a:gd name="connsiteY46" fmla="*/ 120383 h 506266"/>
                    <a:gd name="connsiteX47" fmla="*/ 375127 w 379877"/>
                    <a:gd name="connsiteY47" fmla="*/ 99142 h 506266"/>
                    <a:gd name="connsiteX48" fmla="*/ 369412 w 379877"/>
                    <a:gd name="connsiteY48" fmla="*/ 46946 h 506266"/>
                    <a:gd name="connsiteX49" fmla="*/ 130525 w 379877"/>
                    <a:gd name="connsiteY49" fmla="*/ 258115 h 506266"/>
                    <a:gd name="connsiteX50" fmla="*/ 116999 w 379877"/>
                    <a:gd name="connsiteY50" fmla="*/ 180391 h 506266"/>
                    <a:gd name="connsiteX51" fmla="*/ 131954 w 379877"/>
                    <a:gd name="connsiteY51" fmla="*/ 190202 h 506266"/>
                    <a:gd name="connsiteX52" fmla="*/ 135383 w 379877"/>
                    <a:gd name="connsiteY52" fmla="*/ 231254 h 506266"/>
                    <a:gd name="connsiteX53" fmla="*/ 147384 w 379877"/>
                    <a:gd name="connsiteY53" fmla="*/ 289166 h 506266"/>
                    <a:gd name="connsiteX54" fmla="*/ 130525 w 379877"/>
                    <a:gd name="connsiteY54" fmla="*/ 258115 h 506266"/>
                    <a:gd name="connsiteX55" fmla="*/ 229014 w 379877"/>
                    <a:gd name="connsiteY55" fmla="*/ 308121 h 506266"/>
                    <a:gd name="connsiteX56" fmla="*/ 235776 w 379877"/>
                    <a:gd name="connsiteY56" fmla="*/ 352603 h 506266"/>
                    <a:gd name="connsiteX57" fmla="*/ 215297 w 379877"/>
                    <a:gd name="connsiteY57" fmla="*/ 377749 h 506266"/>
                    <a:gd name="connsiteX58" fmla="*/ 213202 w 379877"/>
                    <a:gd name="connsiteY58" fmla="*/ 404800 h 506266"/>
                    <a:gd name="connsiteX59" fmla="*/ 216155 w 379877"/>
                    <a:gd name="connsiteY59" fmla="*/ 427088 h 506266"/>
                    <a:gd name="connsiteX60" fmla="*/ 205201 w 379877"/>
                    <a:gd name="connsiteY60" fmla="*/ 423088 h 506266"/>
                    <a:gd name="connsiteX61" fmla="*/ 206820 w 379877"/>
                    <a:gd name="connsiteY61" fmla="*/ 414991 h 506266"/>
                    <a:gd name="connsiteX62" fmla="*/ 199772 w 379877"/>
                    <a:gd name="connsiteY62" fmla="*/ 396323 h 506266"/>
                    <a:gd name="connsiteX63" fmla="*/ 183579 w 379877"/>
                    <a:gd name="connsiteY63" fmla="*/ 369367 h 506266"/>
                    <a:gd name="connsiteX64" fmla="*/ 184722 w 379877"/>
                    <a:gd name="connsiteY64" fmla="*/ 279070 h 506266"/>
                    <a:gd name="connsiteX65" fmla="*/ 188247 w 379877"/>
                    <a:gd name="connsiteY65" fmla="*/ 272021 h 506266"/>
                    <a:gd name="connsiteX66" fmla="*/ 227013 w 379877"/>
                    <a:gd name="connsiteY66" fmla="*/ 246113 h 506266"/>
                    <a:gd name="connsiteX67" fmla="*/ 232538 w 379877"/>
                    <a:gd name="connsiteY67" fmla="*/ 248114 h 506266"/>
                    <a:gd name="connsiteX68" fmla="*/ 255303 w 379877"/>
                    <a:gd name="connsiteY68" fmla="*/ 241446 h 506266"/>
                    <a:gd name="connsiteX69" fmla="*/ 229680 w 379877"/>
                    <a:gd name="connsiteY69" fmla="*/ 279927 h 506266"/>
                    <a:gd name="connsiteX70" fmla="*/ 241491 w 379877"/>
                    <a:gd name="connsiteY70" fmla="*/ 292690 h 506266"/>
                    <a:gd name="connsiteX71" fmla="*/ 229014 w 379877"/>
                    <a:gd name="connsiteY71" fmla="*/ 308121 h 506266"/>
                    <a:gd name="connsiteX72" fmla="*/ 284163 w 379877"/>
                    <a:gd name="connsiteY72" fmla="*/ 328123 h 506266"/>
                    <a:gd name="connsiteX73" fmla="*/ 292926 w 379877"/>
                    <a:gd name="connsiteY73" fmla="*/ 337744 h 506266"/>
                    <a:gd name="connsiteX74" fmla="*/ 276353 w 379877"/>
                    <a:gd name="connsiteY74" fmla="*/ 358223 h 506266"/>
                    <a:gd name="connsiteX75" fmla="*/ 252350 w 379877"/>
                    <a:gd name="connsiteY75" fmla="*/ 371939 h 506266"/>
                    <a:gd name="connsiteX76" fmla="*/ 270828 w 379877"/>
                    <a:gd name="connsiteY76" fmla="*/ 337267 h 506266"/>
                    <a:gd name="connsiteX77" fmla="*/ 284163 w 379877"/>
                    <a:gd name="connsiteY77" fmla="*/ 328123 h 506266"/>
                    <a:gd name="connsiteX78" fmla="*/ 355791 w 379877"/>
                    <a:gd name="connsiteY78" fmla="*/ 98285 h 506266"/>
                    <a:gd name="connsiteX79" fmla="*/ 302166 w 379877"/>
                    <a:gd name="connsiteY79" fmla="*/ 155245 h 506266"/>
                    <a:gd name="connsiteX80" fmla="*/ 297594 w 379877"/>
                    <a:gd name="connsiteY80" fmla="*/ 143434 h 506266"/>
                    <a:gd name="connsiteX81" fmla="*/ 319120 w 379877"/>
                    <a:gd name="connsiteY81" fmla="*/ 106858 h 506266"/>
                    <a:gd name="connsiteX82" fmla="*/ 351124 w 379877"/>
                    <a:gd name="connsiteY82" fmla="*/ 68186 h 506266"/>
                    <a:gd name="connsiteX83" fmla="*/ 355791 w 379877"/>
                    <a:gd name="connsiteY83" fmla="*/ 98285 h 5062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</a:cxnLst>
                  <a:rect l="l" t="t" r="r" b="b"/>
                  <a:pathLst>
                    <a:path w="379877" h="506266">
                      <a:moveTo>
                        <a:pt x="369412" y="46946"/>
                      </a:moveTo>
                      <a:cubicBezTo>
                        <a:pt x="369412" y="46946"/>
                        <a:pt x="345599" y="46660"/>
                        <a:pt x="346266" y="42469"/>
                      </a:cubicBezTo>
                      <a:cubicBezTo>
                        <a:pt x="347219" y="38468"/>
                        <a:pt x="322549" y="54851"/>
                        <a:pt x="308833" y="35706"/>
                      </a:cubicBezTo>
                      <a:cubicBezTo>
                        <a:pt x="308833" y="35706"/>
                        <a:pt x="305214" y="11989"/>
                        <a:pt x="296736" y="4273"/>
                      </a:cubicBezTo>
                      <a:cubicBezTo>
                        <a:pt x="296736" y="4273"/>
                        <a:pt x="275686" y="-10776"/>
                        <a:pt x="263303" y="15608"/>
                      </a:cubicBezTo>
                      <a:cubicBezTo>
                        <a:pt x="263303" y="15608"/>
                        <a:pt x="264447" y="19609"/>
                        <a:pt x="263780" y="24752"/>
                      </a:cubicBezTo>
                      <a:cubicBezTo>
                        <a:pt x="262922" y="29800"/>
                        <a:pt x="283973" y="43898"/>
                        <a:pt x="268257" y="85807"/>
                      </a:cubicBezTo>
                      <a:cubicBezTo>
                        <a:pt x="268257" y="85807"/>
                        <a:pt x="251302" y="100381"/>
                        <a:pt x="229204" y="95904"/>
                      </a:cubicBezTo>
                      <a:cubicBezTo>
                        <a:pt x="229204" y="95904"/>
                        <a:pt x="202534" y="110477"/>
                        <a:pt x="228918" y="119716"/>
                      </a:cubicBezTo>
                      <a:lnTo>
                        <a:pt x="260255" y="127908"/>
                      </a:lnTo>
                      <a:cubicBezTo>
                        <a:pt x="260255" y="127908"/>
                        <a:pt x="270733" y="155721"/>
                        <a:pt x="261970" y="183534"/>
                      </a:cubicBezTo>
                      <a:cubicBezTo>
                        <a:pt x="261970" y="183534"/>
                        <a:pt x="223489" y="230111"/>
                        <a:pt x="185484" y="238017"/>
                      </a:cubicBezTo>
                      <a:cubicBezTo>
                        <a:pt x="185484" y="238017"/>
                        <a:pt x="160148" y="248875"/>
                        <a:pt x="159576" y="195250"/>
                      </a:cubicBezTo>
                      <a:cubicBezTo>
                        <a:pt x="159576" y="195250"/>
                        <a:pt x="156814" y="152197"/>
                        <a:pt x="121000" y="133147"/>
                      </a:cubicBezTo>
                      <a:cubicBezTo>
                        <a:pt x="121000" y="133147"/>
                        <a:pt x="97188" y="133814"/>
                        <a:pt x="93378" y="142005"/>
                      </a:cubicBezTo>
                      <a:cubicBezTo>
                        <a:pt x="93378" y="142005"/>
                        <a:pt x="81376" y="194869"/>
                        <a:pt x="129192" y="299167"/>
                      </a:cubicBezTo>
                      <a:cubicBezTo>
                        <a:pt x="129192" y="299167"/>
                        <a:pt x="163482" y="357365"/>
                        <a:pt x="155480" y="372415"/>
                      </a:cubicBezTo>
                      <a:cubicBezTo>
                        <a:pt x="155480" y="372415"/>
                        <a:pt x="153957" y="391274"/>
                        <a:pt x="132430" y="378701"/>
                      </a:cubicBezTo>
                      <a:cubicBezTo>
                        <a:pt x="132430" y="378701"/>
                        <a:pt x="90044" y="383749"/>
                        <a:pt x="119667" y="397084"/>
                      </a:cubicBezTo>
                      <a:lnTo>
                        <a:pt x="127477" y="399275"/>
                      </a:lnTo>
                      <a:cubicBezTo>
                        <a:pt x="127477" y="399275"/>
                        <a:pt x="158338" y="420516"/>
                        <a:pt x="162815" y="427279"/>
                      </a:cubicBezTo>
                      <a:cubicBezTo>
                        <a:pt x="162815" y="427279"/>
                        <a:pt x="169482" y="429565"/>
                        <a:pt x="175769" y="424612"/>
                      </a:cubicBezTo>
                      <a:cubicBezTo>
                        <a:pt x="182246" y="419849"/>
                        <a:pt x="197581" y="442328"/>
                        <a:pt x="177007" y="449853"/>
                      </a:cubicBezTo>
                      <a:cubicBezTo>
                        <a:pt x="177007" y="449853"/>
                        <a:pt x="55278" y="451853"/>
                        <a:pt x="48991" y="446043"/>
                      </a:cubicBezTo>
                      <a:cubicBezTo>
                        <a:pt x="48991" y="446043"/>
                        <a:pt x="33561" y="431089"/>
                        <a:pt x="37942" y="426326"/>
                      </a:cubicBezTo>
                      <a:cubicBezTo>
                        <a:pt x="37942" y="426326"/>
                        <a:pt x="-9588" y="429565"/>
                        <a:pt x="1747" y="465188"/>
                      </a:cubicBezTo>
                      <a:cubicBezTo>
                        <a:pt x="1747" y="465188"/>
                        <a:pt x="1461" y="479381"/>
                        <a:pt x="48610" y="479571"/>
                      </a:cubicBezTo>
                      <a:lnTo>
                        <a:pt x="149384" y="481762"/>
                      </a:lnTo>
                      <a:cubicBezTo>
                        <a:pt x="149384" y="481762"/>
                        <a:pt x="192723" y="464903"/>
                        <a:pt x="197962" y="470617"/>
                      </a:cubicBezTo>
                      <a:cubicBezTo>
                        <a:pt x="197962" y="470617"/>
                        <a:pt x="216726" y="480905"/>
                        <a:pt x="216917" y="494716"/>
                      </a:cubicBezTo>
                      <a:cubicBezTo>
                        <a:pt x="216917" y="494716"/>
                        <a:pt x="230728" y="509098"/>
                        <a:pt x="240824" y="505765"/>
                      </a:cubicBezTo>
                      <a:cubicBezTo>
                        <a:pt x="240824" y="505765"/>
                        <a:pt x="250540" y="499097"/>
                        <a:pt x="244539" y="477095"/>
                      </a:cubicBezTo>
                      <a:cubicBezTo>
                        <a:pt x="244539" y="477095"/>
                        <a:pt x="283116" y="468522"/>
                        <a:pt x="302642" y="484333"/>
                      </a:cubicBezTo>
                      <a:cubicBezTo>
                        <a:pt x="302642" y="484333"/>
                        <a:pt x="330074" y="486048"/>
                        <a:pt x="373127" y="459092"/>
                      </a:cubicBezTo>
                      <a:cubicBezTo>
                        <a:pt x="373127" y="459092"/>
                        <a:pt x="375032" y="448234"/>
                        <a:pt x="362459" y="450424"/>
                      </a:cubicBezTo>
                      <a:cubicBezTo>
                        <a:pt x="362459" y="450424"/>
                        <a:pt x="300356" y="469760"/>
                        <a:pt x="249778" y="449948"/>
                      </a:cubicBezTo>
                      <a:cubicBezTo>
                        <a:pt x="249778" y="449948"/>
                        <a:pt x="224918" y="438042"/>
                        <a:pt x="261303" y="407276"/>
                      </a:cubicBezTo>
                      <a:cubicBezTo>
                        <a:pt x="261303" y="407276"/>
                        <a:pt x="303309" y="372700"/>
                        <a:pt x="311976" y="331172"/>
                      </a:cubicBezTo>
                      <a:lnTo>
                        <a:pt x="309595" y="323266"/>
                      </a:lnTo>
                      <a:cubicBezTo>
                        <a:pt x="309595" y="323266"/>
                        <a:pt x="293212" y="301644"/>
                        <a:pt x="294831" y="294596"/>
                      </a:cubicBezTo>
                      <a:cubicBezTo>
                        <a:pt x="296546" y="287357"/>
                        <a:pt x="286735" y="282308"/>
                        <a:pt x="282639" y="281451"/>
                      </a:cubicBezTo>
                      <a:cubicBezTo>
                        <a:pt x="278448" y="280689"/>
                        <a:pt x="277210" y="274593"/>
                        <a:pt x="295593" y="265068"/>
                      </a:cubicBezTo>
                      <a:cubicBezTo>
                        <a:pt x="295593" y="265068"/>
                        <a:pt x="313500" y="247447"/>
                        <a:pt x="308262" y="235922"/>
                      </a:cubicBezTo>
                      <a:lnTo>
                        <a:pt x="304642" y="214300"/>
                      </a:lnTo>
                      <a:cubicBezTo>
                        <a:pt x="304642" y="214300"/>
                        <a:pt x="347219" y="172675"/>
                        <a:pt x="353220" y="158579"/>
                      </a:cubicBezTo>
                      <a:lnTo>
                        <a:pt x="350076" y="137433"/>
                      </a:lnTo>
                      <a:lnTo>
                        <a:pt x="358839" y="120383"/>
                      </a:lnTo>
                      <a:cubicBezTo>
                        <a:pt x="358839" y="120383"/>
                        <a:pt x="373127" y="101238"/>
                        <a:pt x="375127" y="99142"/>
                      </a:cubicBezTo>
                      <a:cubicBezTo>
                        <a:pt x="376937" y="97238"/>
                        <a:pt x="387605" y="53518"/>
                        <a:pt x="369412" y="46946"/>
                      </a:cubicBezTo>
                      <a:close/>
                      <a:moveTo>
                        <a:pt x="130525" y="258115"/>
                      </a:moveTo>
                      <a:cubicBezTo>
                        <a:pt x="97473" y="195536"/>
                        <a:pt x="116999" y="180391"/>
                        <a:pt x="116999" y="180391"/>
                      </a:cubicBezTo>
                      <a:cubicBezTo>
                        <a:pt x="124239" y="180391"/>
                        <a:pt x="131954" y="190202"/>
                        <a:pt x="131954" y="190202"/>
                      </a:cubicBezTo>
                      <a:cubicBezTo>
                        <a:pt x="129477" y="194488"/>
                        <a:pt x="135383" y="231254"/>
                        <a:pt x="135383" y="231254"/>
                      </a:cubicBezTo>
                      <a:cubicBezTo>
                        <a:pt x="145003" y="263068"/>
                        <a:pt x="147384" y="289166"/>
                        <a:pt x="147384" y="289166"/>
                      </a:cubicBezTo>
                      <a:cubicBezTo>
                        <a:pt x="140145" y="286214"/>
                        <a:pt x="130525" y="258115"/>
                        <a:pt x="130525" y="258115"/>
                      </a:cubicBezTo>
                      <a:close/>
                      <a:moveTo>
                        <a:pt x="229014" y="308121"/>
                      </a:moveTo>
                      <a:cubicBezTo>
                        <a:pt x="244444" y="334410"/>
                        <a:pt x="235776" y="352603"/>
                        <a:pt x="235776" y="352603"/>
                      </a:cubicBezTo>
                      <a:lnTo>
                        <a:pt x="215297" y="377749"/>
                      </a:lnTo>
                      <a:cubicBezTo>
                        <a:pt x="208535" y="385178"/>
                        <a:pt x="209106" y="393179"/>
                        <a:pt x="213202" y="404800"/>
                      </a:cubicBezTo>
                      <a:cubicBezTo>
                        <a:pt x="217107" y="416325"/>
                        <a:pt x="213583" y="422516"/>
                        <a:pt x="216155" y="427088"/>
                      </a:cubicBezTo>
                      <a:cubicBezTo>
                        <a:pt x="208440" y="433089"/>
                        <a:pt x="205201" y="423088"/>
                        <a:pt x="205201" y="423088"/>
                      </a:cubicBezTo>
                      <a:lnTo>
                        <a:pt x="206820" y="414991"/>
                      </a:lnTo>
                      <a:cubicBezTo>
                        <a:pt x="198248" y="409277"/>
                        <a:pt x="199772" y="396323"/>
                        <a:pt x="199772" y="396323"/>
                      </a:cubicBezTo>
                      <a:cubicBezTo>
                        <a:pt x="185675" y="390036"/>
                        <a:pt x="183579" y="369367"/>
                        <a:pt x="183579" y="369367"/>
                      </a:cubicBezTo>
                      <a:cubicBezTo>
                        <a:pt x="181389" y="354889"/>
                        <a:pt x="187008" y="283928"/>
                        <a:pt x="184722" y="279070"/>
                      </a:cubicBezTo>
                      <a:cubicBezTo>
                        <a:pt x="182722" y="274117"/>
                        <a:pt x="188247" y="272021"/>
                        <a:pt x="188247" y="272021"/>
                      </a:cubicBezTo>
                      <a:lnTo>
                        <a:pt x="227013" y="246113"/>
                      </a:lnTo>
                      <a:lnTo>
                        <a:pt x="232538" y="248114"/>
                      </a:lnTo>
                      <a:cubicBezTo>
                        <a:pt x="244444" y="235731"/>
                        <a:pt x="255303" y="241446"/>
                        <a:pt x="255303" y="241446"/>
                      </a:cubicBezTo>
                      <a:cubicBezTo>
                        <a:pt x="265304" y="248875"/>
                        <a:pt x="229680" y="279927"/>
                        <a:pt x="229680" y="279927"/>
                      </a:cubicBezTo>
                      <a:lnTo>
                        <a:pt x="241491" y="292690"/>
                      </a:lnTo>
                      <a:lnTo>
                        <a:pt x="229014" y="308121"/>
                      </a:lnTo>
                      <a:close/>
                      <a:moveTo>
                        <a:pt x="284163" y="328123"/>
                      </a:moveTo>
                      <a:cubicBezTo>
                        <a:pt x="294069" y="329933"/>
                        <a:pt x="292926" y="337744"/>
                        <a:pt x="292926" y="337744"/>
                      </a:cubicBezTo>
                      <a:lnTo>
                        <a:pt x="276353" y="358223"/>
                      </a:lnTo>
                      <a:cubicBezTo>
                        <a:pt x="270638" y="357461"/>
                        <a:pt x="252350" y="371939"/>
                        <a:pt x="252350" y="371939"/>
                      </a:cubicBezTo>
                      <a:cubicBezTo>
                        <a:pt x="246730" y="355937"/>
                        <a:pt x="270828" y="337267"/>
                        <a:pt x="270828" y="337267"/>
                      </a:cubicBezTo>
                      <a:cubicBezTo>
                        <a:pt x="277686" y="336887"/>
                        <a:pt x="284163" y="328123"/>
                        <a:pt x="284163" y="328123"/>
                      </a:cubicBezTo>
                      <a:close/>
                      <a:moveTo>
                        <a:pt x="355791" y="98285"/>
                      </a:moveTo>
                      <a:cubicBezTo>
                        <a:pt x="347219" y="119526"/>
                        <a:pt x="302166" y="155245"/>
                        <a:pt x="302166" y="155245"/>
                      </a:cubicBezTo>
                      <a:cubicBezTo>
                        <a:pt x="297022" y="154483"/>
                        <a:pt x="297594" y="143434"/>
                        <a:pt x="297594" y="143434"/>
                      </a:cubicBezTo>
                      <a:cubicBezTo>
                        <a:pt x="303975" y="139529"/>
                        <a:pt x="319120" y="106858"/>
                        <a:pt x="319120" y="106858"/>
                      </a:cubicBezTo>
                      <a:cubicBezTo>
                        <a:pt x="324359" y="89332"/>
                        <a:pt x="351124" y="68186"/>
                        <a:pt x="351124" y="68186"/>
                      </a:cubicBezTo>
                      <a:cubicBezTo>
                        <a:pt x="369412" y="68281"/>
                        <a:pt x="355791" y="98285"/>
                        <a:pt x="355791" y="9828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60" name="任意多边形: 形状 59">
                  <a:extLst>
                    <a:ext uri="{FF2B5EF4-FFF2-40B4-BE49-F238E27FC236}">
                      <a16:creationId xmlns:a16="http://schemas.microsoft.com/office/drawing/2014/main" id="{3B0FD507-C6F0-408D-9873-54E0A5D1040A}"/>
                    </a:ext>
                  </a:extLst>
                </p:cNvPr>
                <p:cNvSpPr/>
                <p:nvPr/>
              </p:nvSpPr>
              <p:spPr>
                <a:xfrm>
                  <a:off x="3141232" y="6964108"/>
                  <a:ext cx="36884" cy="79914"/>
                </a:xfrm>
                <a:custGeom>
                  <a:avLst/>
                  <a:gdLst>
                    <a:gd name="connsiteX0" fmla="*/ 23798 w 36884"/>
                    <a:gd name="connsiteY0" fmla="*/ 79915 h 79914"/>
                    <a:gd name="connsiteX1" fmla="*/ 27417 w 36884"/>
                    <a:gd name="connsiteY1" fmla="*/ 35052 h 79914"/>
                    <a:gd name="connsiteX2" fmla="*/ 7700 w 36884"/>
                    <a:gd name="connsiteY2" fmla="*/ 0 h 79914"/>
                    <a:gd name="connsiteX3" fmla="*/ 23798 w 36884"/>
                    <a:gd name="connsiteY3" fmla="*/ 79915 h 79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6884" h="79914">
                      <a:moveTo>
                        <a:pt x="23798" y="79915"/>
                      </a:moveTo>
                      <a:cubicBezTo>
                        <a:pt x="23798" y="79915"/>
                        <a:pt x="50658" y="73057"/>
                        <a:pt x="27417" y="35052"/>
                      </a:cubicBezTo>
                      <a:cubicBezTo>
                        <a:pt x="27417" y="35052"/>
                        <a:pt x="28656" y="5334"/>
                        <a:pt x="7700" y="0"/>
                      </a:cubicBezTo>
                      <a:cubicBezTo>
                        <a:pt x="7605" y="0"/>
                        <a:pt x="-17636" y="59912"/>
                        <a:pt x="23798" y="799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61" name="任意多边形: 形状 60">
                  <a:extLst>
                    <a:ext uri="{FF2B5EF4-FFF2-40B4-BE49-F238E27FC236}">
                      <a16:creationId xmlns:a16="http://schemas.microsoft.com/office/drawing/2014/main" id="{21BEB886-641F-46B9-BD48-415F25B2A60C}"/>
                    </a:ext>
                  </a:extLst>
                </p:cNvPr>
                <p:cNvSpPr/>
                <p:nvPr/>
              </p:nvSpPr>
              <p:spPr>
                <a:xfrm>
                  <a:off x="3052769" y="6803409"/>
                  <a:ext cx="377753" cy="574469"/>
                </a:xfrm>
                <a:custGeom>
                  <a:avLst/>
                  <a:gdLst>
                    <a:gd name="connsiteX0" fmla="*/ 308762 w 377753"/>
                    <a:gd name="connsiteY0" fmla="*/ 101454 h 574469"/>
                    <a:gd name="connsiteX1" fmla="*/ 287712 w 377753"/>
                    <a:gd name="connsiteY1" fmla="*/ 97072 h 574469"/>
                    <a:gd name="connsiteX2" fmla="*/ 298475 w 377753"/>
                    <a:gd name="connsiteY2" fmla="*/ 77927 h 574469"/>
                    <a:gd name="connsiteX3" fmla="*/ 310381 w 377753"/>
                    <a:gd name="connsiteY3" fmla="*/ 44113 h 574469"/>
                    <a:gd name="connsiteX4" fmla="*/ 284854 w 377753"/>
                    <a:gd name="connsiteY4" fmla="*/ 489 h 574469"/>
                    <a:gd name="connsiteX5" fmla="*/ 268948 w 377753"/>
                    <a:gd name="connsiteY5" fmla="*/ 64402 h 574469"/>
                    <a:gd name="connsiteX6" fmla="*/ 245230 w 377753"/>
                    <a:gd name="connsiteY6" fmla="*/ 109645 h 574469"/>
                    <a:gd name="connsiteX7" fmla="*/ 171793 w 377753"/>
                    <a:gd name="connsiteY7" fmla="*/ 124314 h 574469"/>
                    <a:gd name="connsiteX8" fmla="*/ 161982 w 377753"/>
                    <a:gd name="connsiteY8" fmla="*/ 100978 h 574469"/>
                    <a:gd name="connsiteX9" fmla="*/ 148361 w 377753"/>
                    <a:gd name="connsiteY9" fmla="*/ 135935 h 574469"/>
                    <a:gd name="connsiteX10" fmla="*/ 119215 w 377753"/>
                    <a:gd name="connsiteY10" fmla="*/ 151555 h 574469"/>
                    <a:gd name="connsiteX11" fmla="*/ 133883 w 377753"/>
                    <a:gd name="connsiteY11" fmla="*/ 167462 h 574469"/>
                    <a:gd name="connsiteX12" fmla="*/ 141122 w 377753"/>
                    <a:gd name="connsiteY12" fmla="*/ 188608 h 574469"/>
                    <a:gd name="connsiteX13" fmla="*/ 172174 w 377753"/>
                    <a:gd name="connsiteY13" fmla="*/ 178416 h 574469"/>
                    <a:gd name="connsiteX14" fmla="*/ 224371 w 377753"/>
                    <a:gd name="connsiteY14" fmla="*/ 148031 h 574469"/>
                    <a:gd name="connsiteX15" fmla="*/ 222370 w 377753"/>
                    <a:gd name="connsiteY15" fmla="*/ 160033 h 574469"/>
                    <a:gd name="connsiteX16" fmla="*/ 196081 w 377753"/>
                    <a:gd name="connsiteY16" fmla="*/ 178702 h 574469"/>
                    <a:gd name="connsiteX17" fmla="*/ 190366 w 377753"/>
                    <a:gd name="connsiteY17" fmla="*/ 192894 h 574469"/>
                    <a:gd name="connsiteX18" fmla="*/ 193605 w 377753"/>
                    <a:gd name="connsiteY18" fmla="*/ 197752 h 574469"/>
                    <a:gd name="connsiteX19" fmla="*/ 185699 w 377753"/>
                    <a:gd name="connsiteY19" fmla="*/ 227375 h 574469"/>
                    <a:gd name="connsiteX20" fmla="*/ 174364 w 377753"/>
                    <a:gd name="connsiteY20" fmla="*/ 248520 h 574469"/>
                    <a:gd name="connsiteX21" fmla="*/ 147885 w 377753"/>
                    <a:gd name="connsiteY21" fmla="*/ 281667 h 574469"/>
                    <a:gd name="connsiteX22" fmla="*/ 147218 w 377753"/>
                    <a:gd name="connsiteY22" fmla="*/ 284810 h 574469"/>
                    <a:gd name="connsiteX23" fmla="*/ 163315 w 377753"/>
                    <a:gd name="connsiteY23" fmla="*/ 288525 h 574469"/>
                    <a:gd name="connsiteX24" fmla="*/ 182365 w 377753"/>
                    <a:gd name="connsiteY24" fmla="*/ 282143 h 574469"/>
                    <a:gd name="connsiteX25" fmla="*/ 198748 w 377753"/>
                    <a:gd name="connsiteY25" fmla="*/ 279286 h 574469"/>
                    <a:gd name="connsiteX26" fmla="*/ 226657 w 377753"/>
                    <a:gd name="connsiteY26" fmla="*/ 288335 h 574469"/>
                    <a:gd name="connsiteX27" fmla="*/ 205416 w 377753"/>
                    <a:gd name="connsiteY27" fmla="*/ 313100 h 574469"/>
                    <a:gd name="connsiteX28" fmla="*/ 107308 w 377753"/>
                    <a:gd name="connsiteY28" fmla="*/ 391681 h 574469"/>
                    <a:gd name="connsiteX29" fmla="*/ 35680 w 377753"/>
                    <a:gd name="connsiteY29" fmla="*/ 477406 h 574469"/>
                    <a:gd name="connsiteX30" fmla="*/ 14249 w 377753"/>
                    <a:gd name="connsiteY30" fmla="*/ 521506 h 574469"/>
                    <a:gd name="connsiteX31" fmla="*/ 10058 w 377753"/>
                    <a:gd name="connsiteY31" fmla="*/ 545033 h 574469"/>
                    <a:gd name="connsiteX32" fmla="*/ 35204 w 377753"/>
                    <a:gd name="connsiteY32" fmla="*/ 533508 h 574469"/>
                    <a:gd name="connsiteX33" fmla="*/ 155600 w 377753"/>
                    <a:gd name="connsiteY33" fmla="*/ 395967 h 574469"/>
                    <a:gd name="connsiteX34" fmla="*/ 173507 w 377753"/>
                    <a:gd name="connsiteY34" fmla="*/ 385109 h 574469"/>
                    <a:gd name="connsiteX35" fmla="*/ 180079 w 377753"/>
                    <a:gd name="connsiteY35" fmla="*/ 367106 h 574469"/>
                    <a:gd name="connsiteX36" fmla="*/ 213036 w 377753"/>
                    <a:gd name="connsiteY36" fmla="*/ 345389 h 574469"/>
                    <a:gd name="connsiteX37" fmla="*/ 270853 w 377753"/>
                    <a:gd name="connsiteY37" fmla="*/ 348818 h 574469"/>
                    <a:gd name="connsiteX38" fmla="*/ 245707 w 377753"/>
                    <a:gd name="connsiteY38" fmla="*/ 367392 h 574469"/>
                    <a:gd name="connsiteX39" fmla="*/ 237896 w 377753"/>
                    <a:gd name="connsiteY39" fmla="*/ 385299 h 574469"/>
                    <a:gd name="connsiteX40" fmla="*/ 226276 w 377753"/>
                    <a:gd name="connsiteY40" fmla="*/ 386537 h 574469"/>
                    <a:gd name="connsiteX41" fmla="*/ 183413 w 377753"/>
                    <a:gd name="connsiteY41" fmla="*/ 386632 h 574469"/>
                    <a:gd name="connsiteX42" fmla="*/ 134359 w 377753"/>
                    <a:gd name="connsiteY42" fmla="*/ 503314 h 574469"/>
                    <a:gd name="connsiteX43" fmla="*/ 121310 w 377753"/>
                    <a:gd name="connsiteY43" fmla="*/ 519506 h 574469"/>
                    <a:gd name="connsiteX44" fmla="*/ 102070 w 377753"/>
                    <a:gd name="connsiteY44" fmla="*/ 571608 h 574469"/>
                    <a:gd name="connsiteX45" fmla="*/ 150076 w 377753"/>
                    <a:gd name="connsiteY45" fmla="*/ 562940 h 574469"/>
                    <a:gd name="connsiteX46" fmla="*/ 215512 w 377753"/>
                    <a:gd name="connsiteY46" fmla="*/ 511505 h 574469"/>
                    <a:gd name="connsiteX47" fmla="*/ 240563 w 377753"/>
                    <a:gd name="connsiteY47" fmla="*/ 542080 h 574469"/>
                    <a:gd name="connsiteX48" fmla="*/ 297237 w 377753"/>
                    <a:gd name="connsiteY48" fmla="*/ 537604 h 574469"/>
                    <a:gd name="connsiteX49" fmla="*/ 280473 w 377753"/>
                    <a:gd name="connsiteY49" fmla="*/ 507981 h 574469"/>
                    <a:gd name="connsiteX50" fmla="*/ 270948 w 377753"/>
                    <a:gd name="connsiteY50" fmla="*/ 504076 h 574469"/>
                    <a:gd name="connsiteX51" fmla="*/ 264185 w 377753"/>
                    <a:gd name="connsiteY51" fmla="*/ 483692 h 574469"/>
                    <a:gd name="connsiteX52" fmla="*/ 291808 w 377753"/>
                    <a:gd name="connsiteY52" fmla="*/ 473215 h 574469"/>
                    <a:gd name="connsiteX53" fmla="*/ 309143 w 377753"/>
                    <a:gd name="connsiteY53" fmla="*/ 438639 h 574469"/>
                    <a:gd name="connsiteX54" fmla="*/ 282378 w 377753"/>
                    <a:gd name="connsiteY54" fmla="*/ 421303 h 574469"/>
                    <a:gd name="connsiteX55" fmla="*/ 248659 w 377753"/>
                    <a:gd name="connsiteY55" fmla="*/ 419303 h 574469"/>
                    <a:gd name="connsiteX56" fmla="*/ 257327 w 377753"/>
                    <a:gd name="connsiteY56" fmla="*/ 405206 h 574469"/>
                    <a:gd name="connsiteX57" fmla="*/ 263137 w 377753"/>
                    <a:gd name="connsiteY57" fmla="*/ 396443 h 574469"/>
                    <a:gd name="connsiteX58" fmla="*/ 274472 w 377753"/>
                    <a:gd name="connsiteY58" fmla="*/ 381679 h 574469"/>
                    <a:gd name="connsiteX59" fmla="*/ 309238 w 377753"/>
                    <a:gd name="connsiteY59" fmla="*/ 337674 h 574469"/>
                    <a:gd name="connsiteX60" fmla="*/ 282187 w 377753"/>
                    <a:gd name="connsiteY60" fmla="*/ 312052 h 574469"/>
                    <a:gd name="connsiteX61" fmla="*/ 270757 w 377753"/>
                    <a:gd name="connsiteY61" fmla="*/ 315481 h 574469"/>
                    <a:gd name="connsiteX62" fmla="*/ 257708 w 377753"/>
                    <a:gd name="connsiteY62" fmla="*/ 310242 h 574469"/>
                    <a:gd name="connsiteX63" fmla="*/ 250850 w 377753"/>
                    <a:gd name="connsiteY63" fmla="*/ 315767 h 574469"/>
                    <a:gd name="connsiteX64" fmla="*/ 246183 w 377753"/>
                    <a:gd name="connsiteY64" fmla="*/ 299860 h 574469"/>
                    <a:gd name="connsiteX65" fmla="*/ 275044 w 377753"/>
                    <a:gd name="connsiteY65" fmla="*/ 263569 h 574469"/>
                    <a:gd name="connsiteX66" fmla="*/ 251612 w 377753"/>
                    <a:gd name="connsiteY66" fmla="*/ 251663 h 574469"/>
                    <a:gd name="connsiteX67" fmla="*/ 227895 w 377753"/>
                    <a:gd name="connsiteY67" fmla="*/ 256711 h 574469"/>
                    <a:gd name="connsiteX68" fmla="*/ 210655 w 377753"/>
                    <a:gd name="connsiteY68" fmla="*/ 260331 h 574469"/>
                    <a:gd name="connsiteX69" fmla="*/ 196177 w 377753"/>
                    <a:gd name="connsiteY69" fmla="*/ 253854 h 574469"/>
                    <a:gd name="connsiteX70" fmla="*/ 211607 w 377753"/>
                    <a:gd name="connsiteY70" fmla="*/ 241948 h 574469"/>
                    <a:gd name="connsiteX71" fmla="*/ 267233 w 377753"/>
                    <a:gd name="connsiteY71" fmla="*/ 234709 h 574469"/>
                    <a:gd name="connsiteX72" fmla="*/ 331432 w 377753"/>
                    <a:gd name="connsiteY72" fmla="*/ 188036 h 574469"/>
                    <a:gd name="connsiteX73" fmla="*/ 377056 w 377753"/>
                    <a:gd name="connsiteY73" fmla="*/ 92881 h 574469"/>
                    <a:gd name="connsiteX74" fmla="*/ 308762 w 377753"/>
                    <a:gd name="connsiteY74" fmla="*/ 101454 h 574469"/>
                    <a:gd name="connsiteX75" fmla="*/ 95116 w 377753"/>
                    <a:gd name="connsiteY75" fmla="*/ 435115 h 574469"/>
                    <a:gd name="connsiteX76" fmla="*/ 84448 w 377753"/>
                    <a:gd name="connsiteY76" fmla="*/ 452831 h 574469"/>
                    <a:gd name="connsiteX77" fmla="*/ 67589 w 377753"/>
                    <a:gd name="connsiteY77" fmla="*/ 467500 h 574469"/>
                    <a:gd name="connsiteX78" fmla="*/ 54921 w 377753"/>
                    <a:gd name="connsiteY78" fmla="*/ 472738 h 574469"/>
                    <a:gd name="connsiteX79" fmla="*/ 69208 w 377753"/>
                    <a:gd name="connsiteY79" fmla="*/ 444926 h 574469"/>
                    <a:gd name="connsiteX80" fmla="*/ 95212 w 377753"/>
                    <a:gd name="connsiteY80" fmla="*/ 421113 h 574469"/>
                    <a:gd name="connsiteX81" fmla="*/ 95116 w 377753"/>
                    <a:gd name="connsiteY81" fmla="*/ 435115 h 574469"/>
                    <a:gd name="connsiteX82" fmla="*/ 198939 w 377753"/>
                    <a:gd name="connsiteY82" fmla="*/ 452355 h 574469"/>
                    <a:gd name="connsiteX83" fmla="*/ 206654 w 377753"/>
                    <a:gd name="connsiteY83" fmla="*/ 477501 h 574469"/>
                    <a:gd name="connsiteX84" fmla="*/ 187223 w 377753"/>
                    <a:gd name="connsiteY84" fmla="*/ 502647 h 574469"/>
                    <a:gd name="connsiteX85" fmla="*/ 163601 w 377753"/>
                    <a:gd name="connsiteY85" fmla="*/ 490836 h 574469"/>
                    <a:gd name="connsiteX86" fmla="*/ 181508 w 377753"/>
                    <a:gd name="connsiteY86" fmla="*/ 436544 h 574469"/>
                    <a:gd name="connsiteX87" fmla="*/ 189795 w 377753"/>
                    <a:gd name="connsiteY87" fmla="*/ 416160 h 574469"/>
                    <a:gd name="connsiteX88" fmla="*/ 199034 w 377753"/>
                    <a:gd name="connsiteY88" fmla="*/ 405968 h 574469"/>
                    <a:gd name="connsiteX89" fmla="*/ 212560 w 377753"/>
                    <a:gd name="connsiteY89" fmla="*/ 414255 h 574469"/>
                    <a:gd name="connsiteX90" fmla="*/ 222085 w 377753"/>
                    <a:gd name="connsiteY90" fmla="*/ 423780 h 574469"/>
                    <a:gd name="connsiteX91" fmla="*/ 198939 w 377753"/>
                    <a:gd name="connsiteY91" fmla="*/ 452355 h 574469"/>
                    <a:gd name="connsiteX92" fmla="*/ 266662 w 377753"/>
                    <a:gd name="connsiteY92" fmla="*/ 458356 h 574469"/>
                    <a:gd name="connsiteX93" fmla="*/ 237229 w 377753"/>
                    <a:gd name="connsiteY93" fmla="*/ 463785 h 574469"/>
                    <a:gd name="connsiteX94" fmla="*/ 246373 w 377753"/>
                    <a:gd name="connsiteY94" fmla="*/ 445402 h 574469"/>
                    <a:gd name="connsiteX95" fmla="*/ 266662 w 377753"/>
                    <a:gd name="connsiteY95" fmla="*/ 458356 h 574469"/>
                    <a:gd name="connsiteX96" fmla="*/ 322383 w 377753"/>
                    <a:gd name="connsiteY96" fmla="*/ 132220 h 574469"/>
                    <a:gd name="connsiteX97" fmla="*/ 267614 w 377753"/>
                    <a:gd name="connsiteY97" fmla="*/ 195942 h 574469"/>
                    <a:gd name="connsiteX98" fmla="*/ 216846 w 377753"/>
                    <a:gd name="connsiteY98" fmla="*/ 217564 h 574469"/>
                    <a:gd name="connsiteX99" fmla="*/ 219132 w 377753"/>
                    <a:gd name="connsiteY99" fmla="*/ 205086 h 574469"/>
                    <a:gd name="connsiteX100" fmla="*/ 243135 w 377753"/>
                    <a:gd name="connsiteY100" fmla="*/ 187084 h 574469"/>
                    <a:gd name="connsiteX101" fmla="*/ 265995 w 377753"/>
                    <a:gd name="connsiteY101" fmla="*/ 136601 h 574469"/>
                    <a:gd name="connsiteX102" fmla="*/ 330384 w 377753"/>
                    <a:gd name="connsiteY102" fmla="*/ 123743 h 574469"/>
                    <a:gd name="connsiteX103" fmla="*/ 322383 w 377753"/>
                    <a:gd name="connsiteY103" fmla="*/ 132220 h 5744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</a:cxnLst>
                  <a:rect l="l" t="t" r="r" b="b"/>
                  <a:pathLst>
                    <a:path w="377753" h="574469">
                      <a:moveTo>
                        <a:pt x="308762" y="101454"/>
                      </a:moveTo>
                      <a:cubicBezTo>
                        <a:pt x="308762" y="101454"/>
                        <a:pt x="301142" y="112979"/>
                        <a:pt x="287712" y="97072"/>
                      </a:cubicBezTo>
                      <a:cubicBezTo>
                        <a:pt x="287712" y="97072"/>
                        <a:pt x="295808" y="79737"/>
                        <a:pt x="298475" y="77927"/>
                      </a:cubicBezTo>
                      <a:cubicBezTo>
                        <a:pt x="300856" y="76118"/>
                        <a:pt x="314191" y="62020"/>
                        <a:pt x="310381" y="44113"/>
                      </a:cubicBezTo>
                      <a:cubicBezTo>
                        <a:pt x="310381" y="44113"/>
                        <a:pt x="296475" y="-5416"/>
                        <a:pt x="284854" y="489"/>
                      </a:cubicBezTo>
                      <a:cubicBezTo>
                        <a:pt x="284854" y="489"/>
                        <a:pt x="275710" y="49447"/>
                        <a:pt x="268948" y="64402"/>
                      </a:cubicBezTo>
                      <a:cubicBezTo>
                        <a:pt x="268948" y="64402"/>
                        <a:pt x="264947" y="95263"/>
                        <a:pt x="245230" y="109645"/>
                      </a:cubicBezTo>
                      <a:cubicBezTo>
                        <a:pt x="245230" y="109645"/>
                        <a:pt x="186652" y="139840"/>
                        <a:pt x="171793" y="124314"/>
                      </a:cubicBezTo>
                      <a:cubicBezTo>
                        <a:pt x="171793" y="124314"/>
                        <a:pt x="172650" y="99454"/>
                        <a:pt x="161982" y="100978"/>
                      </a:cubicBezTo>
                      <a:cubicBezTo>
                        <a:pt x="161982" y="100978"/>
                        <a:pt x="154933" y="95168"/>
                        <a:pt x="148361" y="135935"/>
                      </a:cubicBezTo>
                      <a:cubicBezTo>
                        <a:pt x="148361" y="135935"/>
                        <a:pt x="121310" y="143650"/>
                        <a:pt x="119215" y="151555"/>
                      </a:cubicBezTo>
                      <a:cubicBezTo>
                        <a:pt x="121120" y="154127"/>
                        <a:pt x="108737" y="161366"/>
                        <a:pt x="133883" y="167462"/>
                      </a:cubicBezTo>
                      <a:cubicBezTo>
                        <a:pt x="133883" y="167462"/>
                        <a:pt x="141503" y="167653"/>
                        <a:pt x="141122" y="188608"/>
                      </a:cubicBezTo>
                      <a:cubicBezTo>
                        <a:pt x="141122" y="188608"/>
                        <a:pt x="155791" y="208610"/>
                        <a:pt x="172174" y="178416"/>
                      </a:cubicBezTo>
                      <a:cubicBezTo>
                        <a:pt x="172174" y="178416"/>
                        <a:pt x="180937" y="142602"/>
                        <a:pt x="224371" y="148031"/>
                      </a:cubicBezTo>
                      <a:cubicBezTo>
                        <a:pt x="224371" y="148031"/>
                        <a:pt x="236658" y="155175"/>
                        <a:pt x="222370" y="160033"/>
                      </a:cubicBezTo>
                      <a:cubicBezTo>
                        <a:pt x="222370" y="160033"/>
                        <a:pt x="211988" y="181654"/>
                        <a:pt x="196081" y="178702"/>
                      </a:cubicBezTo>
                      <a:cubicBezTo>
                        <a:pt x="196081" y="178702"/>
                        <a:pt x="190843" y="188798"/>
                        <a:pt x="190366" y="192894"/>
                      </a:cubicBezTo>
                      <a:cubicBezTo>
                        <a:pt x="189890" y="196799"/>
                        <a:pt x="193605" y="197752"/>
                        <a:pt x="193605" y="197752"/>
                      </a:cubicBezTo>
                      <a:cubicBezTo>
                        <a:pt x="193605" y="197752"/>
                        <a:pt x="196748" y="211849"/>
                        <a:pt x="185699" y="227375"/>
                      </a:cubicBezTo>
                      <a:cubicBezTo>
                        <a:pt x="185699" y="227375"/>
                        <a:pt x="173317" y="242234"/>
                        <a:pt x="174364" y="248520"/>
                      </a:cubicBezTo>
                      <a:cubicBezTo>
                        <a:pt x="174364" y="248520"/>
                        <a:pt x="153314" y="261093"/>
                        <a:pt x="147885" y="281667"/>
                      </a:cubicBezTo>
                      <a:cubicBezTo>
                        <a:pt x="147694" y="282715"/>
                        <a:pt x="147409" y="283762"/>
                        <a:pt x="147218" y="284810"/>
                      </a:cubicBezTo>
                      <a:cubicBezTo>
                        <a:pt x="143408" y="307385"/>
                        <a:pt x="159410" y="292240"/>
                        <a:pt x="163315" y="288525"/>
                      </a:cubicBezTo>
                      <a:cubicBezTo>
                        <a:pt x="163315" y="288525"/>
                        <a:pt x="181603" y="279476"/>
                        <a:pt x="182365" y="282143"/>
                      </a:cubicBezTo>
                      <a:cubicBezTo>
                        <a:pt x="182937" y="284810"/>
                        <a:pt x="191986" y="287096"/>
                        <a:pt x="198748" y="279286"/>
                      </a:cubicBezTo>
                      <a:lnTo>
                        <a:pt x="226657" y="288335"/>
                      </a:lnTo>
                      <a:cubicBezTo>
                        <a:pt x="226657" y="288335"/>
                        <a:pt x="223799" y="299955"/>
                        <a:pt x="205416" y="313100"/>
                      </a:cubicBezTo>
                      <a:cubicBezTo>
                        <a:pt x="205416" y="313100"/>
                        <a:pt x="160553" y="358724"/>
                        <a:pt x="107308" y="391681"/>
                      </a:cubicBezTo>
                      <a:cubicBezTo>
                        <a:pt x="107308" y="391681"/>
                        <a:pt x="56921" y="432257"/>
                        <a:pt x="35680" y="477406"/>
                      </a:cubicBezTo>
                      <a:lnTo>
                        <a:pt x="14249" y="521506"/>
                      </a:lnTo>
                      <a:cubicBezTo>
                        <a:pt x="14249" y="521506"/>
                        <a:pt x="-14802" y="534175"/>
                        <a:pt x="10058" y="545033"/>
                      </a:cubicBezTo>
                      <a:cubicBezTo>
                        <a:pt x="10058" y="545033"/>
                        <a:pt x="21583" y="545605"/>
                        <a:pt x="35204" y="533508"/>
                      </a:cubicBezTo>
                      <a:lnTo>
                        <a:pt x="155600" y="395967"/>
                      </a:lnTo>
                      <a:lnTo>
                        <a:pt x="173507" y="385109"/>
                      </a:lnTo>
                      <a:lnTo>
                        <a:pt x="180079" y="367106"/>
                      </a:lnTo>
                      <a:cubicBezTo>
                        <a:pt x="180079" y="367106"/>
                        <a:pt x="200177" y="353581"/>
                        <a:pt x="213036" y="345389"/>
                      </a:cubicBezTo>
                      <a:cubicBezTo>
                        <a:pt x="213036" y="345389"/>
                        <a:pt x="264471" y="335674"/>
                        <a:pt x="270853" y="348818"/>
                      </a:cubicBezTo>
                      <a:cubicBezTo>
                        <a:pt x="270853" y="348818"/>
                        <a:pt x="246945" y="365678"/>
                        <a:pt x="245707" y="367392"/>
                      </a:cubicBezTo>
                      <a:cubicBezTo>
                        <a:pt x="244373" y="369202"/>
                        <a:pt x="237896" y="385299"/>
                        <a:pt x="237896" y="385299"/>
                      </a:cubicBezTo>
                      <a:cubicBezTo>
                        <a:pt x="237896" y="385299"/>
                        <a:pt x="237039" y="390157"/>
                        <a:pt x="226276" y="386537"/>
                      </a:cubicBezTo>
                      <a:cubicBezTo>
                        <a:pt x="226276" y="386537"/>
                        <a:pt x="191605" y="382346"/>
                        <a:pt x="183413" y="386632"/>
                      </a:cubicBezTo>
                      <a:lnTo>
                        <a:pt x="134359" y="503314"/>
                      </a:lnTo>
                      <a:lnTo>
                        <a:pt x="121310" y="519506"/>
                      </a:lnTo>
                      <a:lnTo>
                        <a:pt x="102070" y="571608"/>
                      </a:lnTo>
                      <a:cubicBezTo>
                        <a:pt x="102070" y="571608"/>
                        <a:pt x="129311" y="582086"/>
                        <a:pt x="150076" y="562940"/>
                      </a:cubicBezTo>
                      <a:cubicBezTo>
                        <a:pt x="150076" y="562940"/>
                        <a:pt x="190652" y="515029"/>
                        <a:pt x="215512" y="511505"/>
                      </a:cubicBezTo>
                      <a:cubicBezTo>
                        <a:pt x="215512" y="511505"/>
                        <a:pt x="241897" y="528745"/>
                        <a:pt x="240563" y="542080"/>
                      </a:cubicBezTo>
                      <a:cubicBezTo>
                        <a:pt x="240563" y="542080"/>
                        <a:pt x="292474" y="556844"/>
                        <a:pt x="297237" y="537604"/>
                      </a:cubicBezTo>
                      <a:cubicBezTo>
                        <a:pt x="297237" y="537604"/>
                        <a:pt x="298475" y="524554"/>
                        <a:pt x="280473" y="507981"/>
                      </a:cubicBezTo>
                      <a:lnTo>
                        <a:pt x="270948" y="504076"/>
                      </a:lnTo>
                      <a:lnTo>
                        <a:pt x="264185" y="483692"/>
                      </a:lnTo>
                      <a:cubicBezTo>
                        <a:pt x="264185" y="483692"/>
                        <a:pt x="283140" y="472643"/>
                        <a:pt x="291808" y="473215"/>
                      </a:cubicBezTo>
                      <a:cubicBezTo>
                        <a:pt x="291808" y="473215"/>
                        <a:pt x="316858" y="461689"/>
                        <a:pt x="309143" y="438639"/>
                      </a:cubicBezTo>
                      <a:cubicBezTo>
                        <a:pt x="309143" y="438639"/>
                        <a:pt x="322859" y="434162"/>
                        <a:pt x="282378" y="421303"/>
                      </a:cubicBezTo>
                      <a:cubicBezTo>
                        <a:pt x="282378" y="421303"/>
                        <a:pt x="267614" y="431590"/>
                        <a:pt x="248659" y="419303"/>
                      </a:cubicBezTo>
                      <a:cubicBezTo>
                        <a:pt x="248659" y="419303"/>
                        <a:pt x="244087" y="414541"/>
                        <a:pt x="257327" y="405206"/>
                      </a:cubicBezTo>
                      <a:lnTo>
                        <a:pt x="263137" y="396443"/>
                      </a:lnTo>
                      <a:cubicBezTo>
                        <a:pt x="263137" y="396443"/>
                        <a:pt x="270948" y="399015"/>
                        <a:pt x="274472" y="381679"/>
                      </a:cubicBezTo>
                      <a:cubicBezTo>
                        <a:pt x="274472" y="381679"/>
                        <a:pt x="296665" y="381870"/>
                        <a:pt x="309238" y="337674"/>
                      </a:cubicBezTo>
                      <a:cubicBezTo>
                        <a:pt x="309238" y="337674"/>
                        <a:pt x="310858" y="320719"/>
                        <a:pt x="282187" y="312052"/>
                      </a:cubicBezTo>
                      <a:lnTo>
                        <a:pt x="270757" y="315481"/>
                      </a:lnTo>
                      <a:lnTo>
                        <a:pt x="257708" y="310242"/>
                      </a:lnTo>
                      <a:cubicBezTo>
                        <a:pt x="254660" y="309004"/>
                        <a:pt x="252850" y="316624"/>
                        <a:pt x="250850" y="315767"/>
                      </a:cubicBezTo>
                      <a:cubicBezTo>
                        <a:pt x="248755" y="315004"/>
                        <a:pt x="226657" y="319291"/>
                        <a:pt x="246183" y="299860"/>
                      </a:cubicBezTo>
                      <a:cubicBezTo>
                        <a:pt x="246183" y="299860"/>
                        <a:pt x="267328" y="287858"/>
                        <a:pt x="275044" y="263569"/>
                      </a:cubicBezTo>
                      <a:cubicBezTo>
                        <a:pt x="275044" y="263569"/>
                        <a:pt x="267519" y="254521"/>
                        <a:pt x="251612" y="251663"/>
                      </a:cubicBezTo>
                      <a:cubicBezTo>
                        <a:pt x="251612" y="251663"/>
                        <a:pt x="236848" y="259188"/>
                        <a:pt x="227895" y="256711"/>
                      </a:cubicBezTo>
                      <a:cubicBezTo>
                        <a:pt x="218846" y="254140"/>
                        <a:pt x="210655" y="260331"/>
                        <a:pt x="210655" y="260331"/>
                      </a:cubicBezTo>
                      <a:cubicBezTo>
                        <a:pt x="210655" y="260331"/>
                        <a:pt x="198177" y="257664"/>
                        <a:pt x="196177" y="253854"/>
                      </a:cubicBezTo>
                      <a:cubicBezTo>
                        <a:pt x="194176" y="250139"/>
                        <a:pt x="195605" y="236519"/>
                        <a:pt x="211607" y="241948"/>
                      </a:cubicBezTo>
                      <a:cubicBezTo>
                        <a:pt x="211607" y="241948"/>
                        <a:pt x="255136" y="244424"/>
                        <a:pt x="267233" y="234709"/>
                      </a:cubicBezTo>
                      <a:cubicBezTo>
                        <a:pt x="267233" y="234709"/>
                        <a:pt x="324097" y="201371"/>
                        <a:pt x="331432" y="188036"/>
                      </a:cubicBezTo>
                      <a:cubicBezTo>
                        <a:pt x="331432" y="188036"/>
                        <a:pt x="384391" y="111074"/>
                        <a:pt x="377056" y="92881"/>
                      </a:cubicBezTo>
                      <a:cubicBezTo>
                        <a:pt x="376675" y="93167"/>
                        <a:pt x="370294" y="69450"/>
                        <a:pt x="308762" y="101454"/>
                      </a:cubicBezTo>
                      <a:close/>
                      <a:moveTo>
                        <a:pt x="95116" y="435115"/>
                      </a:moveTo>
                      <a:cubicBezTo>
                        <a:pt x="91211" y="434734"/>
                        <a:pt x="84448" y="452831"/>
                        <a:pt x="84448" y="452831"/>
                      </a:cubicBezTo>
                      <a:cubicBezTo>
                        <a:pt x="80543" y="449593"/>
                        <a:pt x="67589" y="467500"/>
                        <a:pt x="67589" y="467500"/>
                      </a:cubicBezTo>
                      <a:cubicBezTo>
                        <a:pt x="59398" y="484454"/>
                        <a:pt x="54921" y="472738"/>
                        <a:pt x="54921" y="472738"/>
                      </a:cubicBezTo>
                      <a:cubicBezTo>
                        <a:pt x="59779" y="453974"/>
                        <a:pt x="69208" y="444926"/>
                        <a:pt x="69208" y="444926"/>
                      </a:cubicBezTo>
                      <a:cubicBezTo>
                        <a:pt x="71113" y="441592"/>
                        <a:pt x="95212" y="421113"/>
                        <a:pt x="95212" y="421113"/>
                      </a:cubicBezTo>
                      <a:cubicBezTo>
                        <a:pt x="107308" y="423875"/>
                        <a:pt x="99022" y="435591"/>
                        <a:pt x="95116" y="435115"/>
                      </a:cubicBezTo>
                      <a:close/>
                      <a:moveTo>
                        <a:pt x="198939" y="452355"/>
                      </a:moveTo>
                      <a:lnTo>
                        <a:pt x="206654" y="477501"/>
                      </a:lnTo>
                      <a:cubicBezTo>
                        <a:pt x="210940" y="501313"/>
                        <a:pt x="187223" y="502647"/>
                        <a:pt x="187223" y="502647"/>
                      </a:cubicBezTo>
                      <a:cubicBezTo>
                        <a:pt x="160172" y="519506"/>
                        <a:pt x="163601" y="490836"/>
                        <a:pt x="163601" y="490836"/>
                      </a:cubicBezTo>
                      <a:cubicBezTo>
                        <a:pt x="163601" y="490836"/>
                        <a:pt x="177698" y="450545"/>
                        <a:pt x="181508" y="436544"/>
                      </a:cubicBezTo>
                      <a:cubicBezTo>
                        <a:pt x="185604" y="422351"/>
                        <a:pt x="189795" y="416160"/>
                        <a:pt x="189795" y="416160"/>
                      </a:cubicBezTo>
                      <a:lnTo>
                        <a:pt x="199034" y="405968"/>
                      </a:lnTo>
                      <a:cubicBezTo>
                        <a:pt x="199034" y="405968"/>
                        <a:pt x="213703" y="410064"/>
                        <a:pt x="212560" y="414255"/>
                      </a:cubicBezTo>
                      <a:cubicBezTo>
                        <a:pt x="211417" y="418446"/>
                        <a:pt x="222085" y="423780"/>
                        <a:pt x="222085" y="423780"/>
                      </a:cubicBezTo>
                      <a:lnTo>
                        <a:pt x="198939" y="452355"/>
                      </a:lnTo>
                      <a:close/>
                      <a:moveTo>
                        <a:pt x="266662" y="458356"/>
                      </a:moveTo>
                      <a:cubicBezTo>
                        <a:pt x="266662" y="458356"/>
                        <a:pt x="247516" y="476739"/>
                        <a:pt x="237229" y="463785"/>
                      </a:cubicBezTo>
                      <a:cubicBezTo>
                        <a:pt x="237229" y="463785"/>
                        <a:pt x="227895" y="446640"/>
                        <a:pt x="246373" y="445402"/>
                      </a:cubicBezTo>
                      <a:cubicBezTo>
                        <a:pt x="246373" y="445402"/>
                        <a:pt x="269138" y="448259"/>
                        <a:pt x="266662" y="458356"/>
                      </a:cubicBezTo>
                      <a:close/>
                      <a:moveTo>
                        <a:pt x="322383" y="132220"/>
                      </a:moveTo>
                      <a:cubicBezTo>
                        <a:pt x="322383" y="132220"/>
                        <a:pt x="317811" y="157652"/>
                        <a:pt x="267614" y="195942"/>
                      </a:cubicBezTo>
                      <a:cubicBezTo>
                        <a:pt x="267614" y="195942"/>
                        <a:pt x="238849" y="219088"/>
                        <a:pt x="216846" y="217564"/>
                      </a:cubicBezTo>
                      <a:cubicBezTo>
                        <a:pt x="216846" y="217564"/>
                        <a:pt x="204844" y="211658"/>
                        <a:pt x="219132" y="205086"/>
                      </a:cubicBezTo>
                      <a:cubicBezTo>
                        <a:pt x="219132" y="205086"/>
                        <a:pt x="241516" y="199752"/>
                        <a:pt x="243135" y="187084"/>
                      </a:cubicBezTo>
                      <a:cubicBezTo>
                        <a:pt x="243135" y="187084"/>
                        <a:pt x="243611" y="154794"/>
                        <a:pt x="265995" y="136601"/>
                      </a:cubicBezTo>
                      <a:cubicBezTo>
                        <a:pt x="265995" y="136601"/>
                        <a:pt x="316382" y="115361"/>
                        <a:pt x="330384" y="123743"/>
                      </a:cubicBezTo>
                      <a:cubicBezTo>
                        <a:pt x="330479" y="123838"/>
                        <a:pt x="331432" y="134220"/>
                        <a:pt x="322383" y="13222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62" name="任意多边形: 形状 61">
                  <a:extLst>
                    <a:ext uri="{FF2B5EF4-FFF2-40B4-BE49-F238E27FC236}">
                      <a16:creationId xmlns:a16="http://schemas.microsoft.com/office/drawing/2014/main" id="{24A0DE6B-07B6-4D13-B138-612FF2A0463D}"/>
                    </a:ext>
                  </a:extLst>
                </p:cNvPr>
                <p:cNvSpPr/>
                <p:nvPr/>
              </p:nvSpPr>
              <p:spPr>
                <a:xfrm>
                  <a:off x="3196177" y="7003678"/>
                  <a:ext cx="20863" cy="20541"/>
                </a:xfrm>
                <a:custGeom>
                  <a:avLst/>
                  <a:gdLst>
                    <a:gd name="connsiteX0" fmla="*/ 19336 w 20863"/>
                    <a:gd name="connsiteY0" fmla="*/ 16342 h 20541"/>
                    <a:gd name="connsiteX1" fmla="*/ 9144 w 20863"/>
                    <a:gd name="connsiteY1" fmla="*/ 435 h 20541"/>
                    <a:gd name="connsiteX2" fmla="*/ 0 w 20863"/>
                    <a:gd name="connsiteY2" fmla="*/ 13103 h 20541"/>
                    <a:gd name="connsiteX3" fmla="*/ 19336 w 20863"/>
                    <a:gd name="connsiteY3" fmla="*/ 16342 h 20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0863" h="20541">
                      <a:moveTo>
                        <a:pt x="19336" y="16342"/>
                      </a:moveTo>
                      <a:cubicBezTo>
                        <a:pt x="25908" y="-1184"/>
                        <a:pt x="9144" y="435"/>
                        <a:pt x="9144" y="435"/>
                      </a:cubicBezTo>
                      <a:cubicBezTo>
                        <a:pt x="2286" y="-2803"/>
                        <a:pt x="0" y="13103"/>
                        <a:pt x="0" y="13103"/>
                      </a:cubicBezTo>
                      <a:cubicBezTo>
                        <a:pt x="9049" y="27677"/>
                        <a:pt x="19336" y="16342"/>
                        <a:pt x="19336" y="1634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63" name="任意多边形: 形状 62">
                  <a:extLst>
                    <a:ext uri="{FF2B5EF4-FFF2-40B4-BE49-F238E27FC236}">
                      <a16:creationId xmlns:a16="http://schemas.microsoft.com/office/drawing/2014/main" id="{DF7F2E04-D6D0-4134-AF70-09C362A54C8E}"/>
                    </a:ext>
                  </a:extLst>
                </p:cNvPr>
                <p:cNvSpPr/>
                <p:nvPr/>
              </p:nvSpPr>
              <p:spPr>
                <a:xfrm>
                  <a:off x="3660235" y="6866655"/>
                  <a:ext cx="330803" cy="511528"/>
                </a:xfrm>
                <a:custGeom>
                  <a:avLst/>
                  <a:gdLst>
                    <a:gd name="connsiteX0" fmla="*/ 276987 w 330803"/>
                    <a:gd name="connsiteY0" fmla="*/ 188798 h 511528"/>
                    <a:gd name="connsiteX1" fmla="*/ 278225 w 330803"/>
                    <a:gd name="connsiteY1" fmla="*/ 181464 h 511528"/>
                    <a:gd name="connsiteX2" fmla="*/ 330803 w 330803"/>
                    <a:gd name="connsiteY2" fmla="*/ 165176 h 511528"/>
                    <a:gd name="connsiteX3" fmla="*/ 303467 w 330803"/>
                    <a:gd name="connsiteY3" fmla="*/ 75451 h 511528"/>
                    <a:gd name="connsiteX4" fmla="*/ 297942 w 330803"/>
                    <a:gd name="connsiteY4" fmla="*/ 85928 h 511528"/>
                    <a:gd name="connsiteX5" fmla="*/ 303181 w 330803"/>
                    <a:gd name="connsiteY5" fmla="*/ 131077 h 511528"/>
                    <a:gd name="connsiteX6" fmla="*/ 265652 w 330803"/>
                    <a:gd name="connsiteY6" fmla="*/ 145745 h 511528"/>
                    <a:gd name="connsiteX7" fmla="*/ 257651 w 330803"/>
                    <a:gd name="connsiteY7" fmla="*/ 141840 h 511528"/>
                    <a:gd name="connsiteX8" fmla="*/ 268414 w 330803"/>
                    <a:gd name="connsiteY8" fmla="*/ 96691 h 511528"/>
                    <a:gd name="connsiteX9" fmla="*/ 273749 w 330803"/>
                    <a:gd name="connsiteY9" fmla="*/ 489 h 511528"/>
                    <a:gd name="connsiteX10" fmla="*/ 263652 w 330803"/>
                    <a:gd name="connsiteY10" fmla="*/ 9823 h 511528"/>
                    <a:gd name="connsiteX11" fmla="*/ 244888 w 330803"/>
                    <a:gd name="connsiteY11" fmla="*/ 94691 h 511528"/>
                    <a:gd name="connsiteX12" fmla="*/ 236315 w 330803"/>
                    <a:gd name="connsiteY12" fmla="*/ 111265 h 511528"/>
                    <a:gd name="connsiteX13" fmla="*/ 229076 w 330803"/>
                    <a:gd name="connsiteY13" fmla="*/ 170606 h 511528"/>
                    <a:gd name="connsiteX14" fmla="*/ 219456 w 330803"/>
                    <a:gd name="connsiteY14" fmla="*/ 182512 h 511528"/>
                    <a:gd name="connsiteX15" fmla="*/ 197929 w 330803"/>
                    <a:gd name="connsiteY15" fmla="*/ 194323 h 511528"/>
                    <a:gd name="connsiteX16" fmla="*/ 194500 w 330803"/>
                    <a:gd name="connsiteY16" fmla="*/ 204896 h 511528"/>
                    <a:gd name="connsiteX17" fmla="*/ 152019 w 330803"/>
                    <a:gd name="connsiteY17" fmla="*/ 214421 h 511528"/>
                    <a:gd name="connsiteX18" fmla="*/ 162211 w 330803"/>
                    <a:gd name="connsiteY18" fmla="*/ 189274 h 511528"/>
                    <a:gd name="connsiteX19" fmla="*/ 185547 w 330803"/>
                    <a:gd name="connsiteY19" fmla="*/ 172701 h 511528"/>
                    <a:gd name="connsiteX20" fmla="*/ 177641 w 330803"/>
                    <a:gd name="connsiteY20" fmla="*/ 146317 h 511528"/>
                    <a:gd name="connsiteX21" fmla="*/ 164497 w 330803"/>
                    <a:gd name="connsiteY21" fmla="*/ 120028 h 511528"/>
                    <a:gd name="connsiteX22" fmla="*/ 167830 w 330803"/>
                    <a:gd name="connsiteY22" fmla="*/ 81832 h 511528"/>
                    <a:gd name="connsiteX23" fmla="*/ 154400 w 330803"/>
                    <a:gd name="connsiteY23" fmla="*/ 57830 h 511528"/>
                    <a:gd name="connsiteX24" fmla="*/ 134969 w 330803"/>
                    <a:gd name="connsiteY24" fmla="*/ 131743 h 511528"/>
                    <a:gd name="connsiteX25" fmla="*/ 125158 w 330803"/>
                    <a:gd name="connsiteY25" fmla="*/ 147555 h 511528"/>
                    <a:gd name="connsiteX26" fmla="*/ 112109 w 330803"/>
                    <a:gd name="connsiteY26" fmla="*/ 161461 h 511528"/>
                    <a:gd name="connsiteX27" fmla="*/ 52864 w 330803"/>
                    <a:gd name="connsiteY27" fmla="*/ 169653 h 511528"/>
                    <a:gd name="connsiteX28" fmla="*/ 53150 w 330803"/>
                    <a:gd name="connsiteY28" fmla="*/ 186607 h 511528"/>
                    <a:gd name="connsiteX29" fmla="*/ 107442 w 330803"/>
                    <a:gd name="connsiteY29" fmla="*/ 227184 h 511528"/>
                    <a:gd name="connsiteX30" fmla="*/ 0 w 330803"/>
                    <a:gd name="connsiteY30" fmla="*/ 376441 h 511528"/>
                    <a:gd name="connsiteX31" fmla="*/ 1429 w 330803"/>
                    <a:gd name="connsiteY31" fmla="*/ 436639 h 511528"/>
                    <a:gd name="connsiteX32" fmla="*/ 18574 w 330803"/>
                    <a:gd name="connsiteY32" fmla="*/ 434639 h 511528"/>
                    <a:gd name="connsiteX33" fmla="*/ 58674 w 330803"/>
                    <a:gd name="connsiteY33" fmla="*/ 380441 h 511528"/>
                    <a:gd name="connsiteX34" fmla="*/ 90583 w 330803"/>
                    <a:gd name="connsiteY34" fmla="*/ 390728 h 511528"/>
                    <a:gd name="connsiteX35" fmla="*/ 100679 w 330803"/>
                    <a:gd name="connsiteY35" fmla="*/ 463975 h 511528"/>
                    <a:gd name="connsiteX36" fmla="*/ 113252 w 330803"/>
                    <a:gd name="connsiteY36" fmla="*/ 461308 h 511528"/>
                    <a:gd name="connsiteX37" fmla="*/ 113633 w 330803"/>
                    <a:gd name="connsiteY37" fmla="*/ 448069 h 511528"/>
                    <a:gd name="connsiteX38" fmla="*/ 123730 w 330803"/>
                    <a:gd name="connsiteY38" fmla="*/ 376441 h 511528"/>
                    <a:gd name="connsiteX39" fmla="*/ 162592 w 330803"/>
                    <a:gd name="connsiteY39" fmla="*/ 365011 h 511528"/>
                    <a:gd name="connsiteX40" fmla="*/ 199739 w 330803"/>
                    <a:gd name="connsiteY40" fmla="*/ 322339 h 511528"/>
                    <a:gd name="connsiteX41" fmla="*/ 206216 w 330803"/>
                    <a:gd name="connsiteY41" fmla="*/ 366154 h 511528"/>
                    <a:gd name="connsiteX42" fmla="*/ 199454 w 330803"/>
                    <a:gd name="connsiteY42" fmla="*/ 453307 h 511528"/>
                    <a:gd name="connsiteX43" fmla="*/ 213360 w 330803"/>
                    <a:gd name="connsiteY43" fmla="*/ 507981 h 511528"/>
                    <a:gd name="connsiteX44" fmla="*/ 227838 w 330803"/>
                    <a:gd name="connsiteY44" fmla="*/ 498361 h 511528"/>
                    <a:gd name="connsiteX45" fmla="*/ 224314 w 330803"/>
                    <a:gd name="connsiteY45" fmla="*/ 487502 h 511528"/>
                    <a:gd name="connsiteX46" fmla="*/ 236220 w 330803"/>
                    <a:gd name="connsiteY46" fmla="*/ 294811 h 511528"/>
                    <a:gd name="connsiteX47" fmla="*/ 242888 w 330803"/>
                    <a:gd name="connsiteY47" fmla="*/ 215373 h 511528"/>
                    <a:gd name="connsiteX48" fmla="*/ 257366 w 330803"/>
                    <a:gd name="connsiteY48" fmla="*/ 197180 h 511528"/>
                    <a:gd name="connsiteX49" fmla="*/ 258794 w 330803"/>
                    <a:gd name="connsiteY49" fmla="*/ 196514 h 511528"/>
                    <a:gd name="connsiteX50" fmla="*/ 276987 w 330803"/>
                    <a:gd name="connsiteY50" fmla="*/ 188798 h 511528"/>
                    <a:gd name="connsiteX51" fmla="*/ 215932 w 330803"/>
                    <a:gd name="connsiteY51" fmla="*/ 273380 h 511528"/>
                    <a:gd name="connsiteX52" fmla="*/ 169831 w 330803"/>
                    <a:gd name="connsiteY52" fmla="*/ 314052 h 511528"/>
                    <a:gd name="connsiteX53" fmla="*/ 156782 w 330803"/>
                    <a:gd name="connsiteY53" fmla="*/ 333197 h 511528"/>
                    <a:gd name="connsiteX54" fmla="*/ 136779 w 330803"/>
                    <a:gd name="connsiteY54" fmla="*/ 339198 h 511528"/>
                    <a:gd name="connsiteX55" fmla="*/ 127730 w 330803"/>
                    <a:gd name="connsiteY55" fmla="*/ 309194 h 511528"/>
                    <a:gd name="connsiteX56" fmla="*/ 191357 w 330803"/>
                    <a:gd name="connsiteY56" fmla="*/ 232708 h 511528"/>
                    <a:gd name="connsiteX57" fmla="*/ 215932 w 330803"/>
                    <a:gd name="connsiteY57" fmla="*/ 273380 h 5115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</a:cxnLst>
                  <a:rect l="l" t="t" r="r" b="b"/>
                  <a:pathLst>
                    <a:path w="330803" h="511528">
                      <a:moveTo>
                        <a:pt x="276987" y="188798"/>
                      </a:moveTo>
                      <a:lnTo>
                        <a:pt x="278225" y="181464"/>
                      </a:lnTo>
                      <a:cubicBezTo>
                        <a:pt x="278225" y="181464"/>
                        <a:pt x="329470" y="172225"/>
                        <a:pt x="330803" y="165176"/>
                      </a:cubicBezTo>
                      <a:cubicBezTo>
                        <a:pt x="330803" y="165176"/>
                        <a:pt x="316516" y="66688"/>
                        <a:pt x="303467" y="75451"/>
                      </a:cubicBezTo>
                      <a:cubicBezTo>
                        <a:pt x="303467" y="75451"/>
                        <a:pt x="290798" y="80499"/>
                        <a:pt x="297942" y="85928"/>
                      </a:cubicBezTo>
                      <a:cubicBezTo>
                        <a:pt x="297942" y="85928"/>
                        <a:pt x="310515" y="116313"/>
                        <a:pt x="303181" y="131077"/>
                      </a:cubicBezTo>
                      <a:cubicBezTo>
                        <a:pt x="303181" y="131077"/>
                        <a:pt x="296513" y="151079"/>
                        <a:pt x="265652" y="145745"/>
                      </a:cubicBezTo>
                      <a:lnTo>
                        <a:pt x="257651" y="141840"/>
                      </a:lnTo>
                      <a:cubicBezTo>
                        <a:pt x="257651" y="141840"/>
                        <a:pt x="271082" y="109265"/>
                        <a:pt x="268414" y="96691"/>
                      </a:cubicBezTo>
                      <a:cubicBezTo>
                        <a:pt x="268414" y="96691"/>
                        <a:pt x="279654" y="5156"/>
                        <a:pt x="273749" y="489"/>
                      </a:cubicBezTo>
                      <a:cubicBezTo>
                        <a:pt x="273749" y="489"/>
                        <a:pt x="265747" y="-3226"/>
                        <a:pt x="263652" y="9823"/>
                      </a:cubicBezTo>
                      <a:cubicBezTo>
                        <a:pt x="263652" y="9823"/>
                        <a:pt x="252032" y="87452"/>
                        <a:pt x="244888" y="94691"/>
                      </a:cubicBezTo>
                      <a:cubicBezTo>
                        <a:pt x="244888" y="94691"/>
                        <a:pt x="242316" y="108979"/>
                        <a:pt x="236315" y="111265"/>
                      </a:cubicBezTo>
                      <a:cubicBezTo>
                        <a:pt x="236315" y="111265"/>
                        <a:pt x="224885" y="153175"/>
                        <a:pt x="229076" y="170606"/>
                      </a:cubicBezTo>
                      <a:cubicBezTo>
                        <a:pt x="229076" y="170606"/>
                        <a:pt x="222599" y="174130"/>
                        <a:pt x="219456" y="182512"/>
                      </a:cubicBezTo>
                      <a:cubicBezTo>
                        <a:pt x="217646" y="186226"/>
                        <a:pt x="197929" y="194323"/>
                        <a:pt x="197929" y="194323"/>
                      </a:cubicBezTo>
                      <a:lnTo>
                        <a:pt x="194500" y="204896"/>
                      </a:lnTo>
                      <a:lnTo>
                        <a:pt x="152019" y="214421"/>
                      </a:lnTo>
                      <a:cubicBezTo>
                        <a:pt x="152019" y="214421"/>
                        <a:pt x="137922" y="194418"/>
                        <a:pt x="162211" y="189274"/>
                      </a:cubicBezTo>
                      <a:cubicBezTo>
                        <a:pt x="162211" y="189274"/>
                        <a:pt x="182118" y="174987"/>
                        <a:pt x="185547" y="172701"/>
                      </a:cubicBezTo>
                      <a:cubicBezTo>
                        <a:pt x="188881" y="170415"/>
                        <a:pt x="186023" y="154508"/>
                        <a:pt x="177641" y="146317"/>
                      </a:cubicBezTo>
                      <a:cubicBezTo>
                        <a:pt x="177641" y="146317"/>
                        <a:pt x="166307" y="138792"/>
                        <a:pt x="164497" y="120028"/>
                      </a:cubicBezTo>
                      <a:cubicBezTo>
                        <a:pt x="162592" y="101073"/>
                        <a:pt x="168878" y="84309"/>
                        <a:pt x="167830" y="81832"/>
                      </a:cubicBezTo>
                      <a:cubicBezTo>
                        <a:pt x="166783" y="79261"/>
                        <a:pt x="175546" y="51067"/>
                        <a:pt x="154400" y="57830"/>
                      </a:cubicBezTo>
                      <a:cubicBezTo>
                        <a:pt x="154400" y="57830"/>
                        <a:pt x="144304" y="116027"/>
                        <a:pt x="134969" y="131743"/>
                      </a:cubicBezTo>
                      <a:cubicBezTo>
                        <a:pt x="134969" y="131743"/>
                        <a:pt x="136684" y="144983"/>
                        <a:pt x="125158" y="147555"/>
                      </a:cubicBezTo>
                      <a:cubicBezTo>
                        <a:pt x="113633" y="150032"/>
                        <a:pt x="112109" y="159080"/>
                        <a:pt x="112109" y="161461"/>
                      </a:cubicBezTo>
                      <a:cubicBezTo>
                        <a:pt x="112014" y="163557"/>
                        <a:pt x="75914" y="179464"/>
                        <a:pt x="52864" y="169653"/>
                      </a:cubicBezTo>
                      <a:cubicBezTo>
                        <a:pt x="52864" y="169653"/>
                        <a:pt x="39529" y="176130"/>
                        <a:pt x="53150" y="186607"/>
                      </a:cubicBezTo>
                      <a:lnTo>
                        <a:pt x="107442" y="227184"/>
                      </a:lnTo>
                      <a:cubicBezTo>
                        <a:pt x="107442" y="227184"/>
                        <a:pt x="122587" y="259664"/>
                        <a:pt x="0" y="376441"/>
                      </a:cubicBezTo>
                      <a:lnTo>
                        <a:pt x="1429" y="436639"/>
                      </a:lnTo>
                      <a:lnTo>
                        <a:pt x="18574" y="434639"/>
                      </a:lnTo>
                      <a:lnTo>
                        <a:pt x="58674" y="380441"/>
                      </a:lnTo>
                      <a:cubicBezTo>
                        <a:pt x="58674" y="380441"/>
                        <a:pt x="94202" y="356915"/>
                        <a:pt x="90583" y="390728"/>
                      </a:cubicBezTo>
                      <a:cubicBezTo>
                        <a:pt x="90583" y="390728"/>
                        <a:pt x="88868" y="452546"/>
                        <a:pt x="100679" y="463975"/>
                      </a:cubicBezTo>
                      <a:lnTo>
                        <a:pt x="113252" y="461308"/>
                      </a:lnTo>
                      <a:cubicBezTo>
                        <a:pt x="113252" y="461308"/>
                        <a:pt x="113919" y="459499"/>
                        <a:pt x="113633" y="448069"/>
                      </a:cubicBezTo>
                      <a:cubicBezTo>
                        <a:pt x="113633" y="448069"/>
                        <a:pt x="112776" y="376155"/>
                        <a:pt x="123730" y="376441"/>
                      </a:cubicBezTo>
                      <a:cubicBezTo>
                        <a:pt x="123730" y="376441"/>
                        <a:pt x="159067" y="376631"/>
                        <a:pt x="162592" y="365011"/>
                      </a:cubicBezTo>
                      <a:cubicBezTo>
                        <a:pt x="162592" y="365011"/>
                        <a:pt x="178308" y="310051"/>
                        <a:pt x="199739" y="322339"/>
                      </a:cubicBezTo>
                      <a:cubicBezTo>
                        <a:pt x="199739" y="322339"/>
                        <a:pt x="212693" y="318529"/>
                        <a:pt x="206216" y="366154"/>
                      </a:cubicBezTo>
                      <a:cubicBezTo>
                        <a:pt x="206216" y="366154"/>
                        <a:pt x="205930" y="442163"/>
                        <a:pt x="199454" y="453307"/>
                      </a:cubicBezTo>
                      <a:lnTo>
                        <a:pt x="213360" y="507981"/>
                      </a:lnTo>
                      <a:cubicBezTo>
                        <a:pt x="213360" y="507981"/>
                        <a:pt x="226885" y="520554"/>
                        <a:pt x="227838" y="498361"/>
                      </a:cubicBezTo>
                      <a:lnTo>
                        <a:pt x="224314" y="487502"/>
                      </a:lnTo>
                      <a:lnTo>
                        <a:pt x="236220" y="294811"/>
                      </a:lnTo>
                      <a:cubicBezTo>
                        <a:pt x="236220" y="294811"/>
                        <a:pt x="232886" y="220707"/>
                        <a:pt x="242888" y="215373"/>
                      </a:cubicBezTo>
                      <a:cubicBezTo>
                        <a:pt x="242888" y="215373"/>
                        <a:pt x="246412" y="202800"/>
                        <a:pt x="257366" y="197180"/>
                      </a:cubicBezTo>
                      <a:cubicBezTo>
                        <a:pt x="259461" y="196704"/>
                        <a:pt x="258318" y="196799"/>
                        <a:pt x="258794" y="196514"/>
                      </a:cubicBezTo>
                      <a:cubicBezTo>
                        <a:pt x="271082" y="191275"/>
                        <a:pt x="276987" y="188798"/>
                        <a:pt x="276987" y="188798"/>
                      </a:cubicBezTo>
                      <a:close/>
                      <a:moveTo>
                        <a:pt x="215932" y="273380"/>
                      </a:moveTo>
                      <a:cubicBezTo>
                        <a:pt x="215932" y="273380"/>
                        <a:pt x="178308" y="307194"/>
                        <a:pt x="169831" y="314052"/>
                      </a:cubicBezTo>
                      <a:cubicBezTo>
                        <a:pt x="161258" y="320815"/>
                        <a:pt x="174403" y="317481"/>
                        <a:pt x="156782" y="333197"/>
                      </a:cubicBezTo>
                      <a:cubicBezTo>
                        <a:pt x="139351" y="348818"/>
                        <a:pt x="136779" y="339198"/>
                        <a:pt x="136779" y="339198"/>
                      </a:cubicBezTo>
                      <a:cubicBezTo>
                        <a:pt x="105156" y="341579"/>
                        <a:pt x="127730" y="309194"/>
                        <a:pt x="127730" y="309194"/>
                      </a:cubicBezTo>
                      <a:cubicBezTo>
                        <a:pt x="149733" y="267475"/>
                        <a:pt x="191357" y="232708"/>
                        <a:pt x="191357" y="232708"/>
                      </a:cubicBezTo>
                      <a:cubicBezTo>
                        <a:pt x="235744" y="216230"/>
                        <a:pt x="215932" y="273380"/>
                        <a:pt x="215932" y="2733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64" name="任意多边形: 形状 63">
                  <a:extLst>
                    <a:ext uri="{FF2B5EF4-FFF2-40B4-BE49-F238E27FC236}">
                      <a16:creationId xmlns:a16="http://schemas.microsoft.com/office/drawing/2014/main" id="{4270CD45-78EC-4B2E-AB4A-1006E4FFDB00}"/>
                    </a:ext>
                  </a:extLst>
                </p:cNvPr>
                <p:cNvSpPr/>
                <p:nvPr/>
              </p:nvSpPr>
              <p:spPr>
                <a:xfrm>
                  <a:off x="3932305" y="7170800"/>
                  <a:ext cx="102097" cy="51446"/>
                </a:xfrm>
                <a:custGeom>
                  <a:avLst/>
                  <a:gdLst>
                    <a:gd name="connsiteX0" fmla="*/ 85403 w 102097"/>
                    <a:gd name="connsiteY0" fmla="*/ 10763 h 51446"/>
                    <a:gd name="connsiteX1" fmla="*/ 67972 w 102097"/>
                    <a:gd name="connsiteY1" fmla="*/ 14383 h 51446"/>
                    <a:gd name="connsiteX2" fmla="*/ 52542 w 102097"/>
                    <a:gd name="connsiteY2" fmla="*/ 15240 h 51446"/>
                    <a:gd name="connsiteX3" fmla="*/ 5965 w 102097"/>
                    <a:gd name="connsiteY3" fmla="*/ 0 h 51446"/>
                    <a:gd name="connsiteX4" fmla="*/ 4250 w 102097"/>
                    <a:gd name="connsiteY4" fmla="*/ 12859 h 51446"/>
                    <a:gd name="connsiteX5" fmla="*/ 57495 w 102097"/>
                    <a:gd name="connsiteY5" fmla="*/ 51245 h 51446"/>
                    <a:gd name="connsiteX6" fmla="*/ 76450 w 102097"/>
                    <a:gd name="connsiteY6" fmla="*/ 39624 h 51446"/>
                    <a:gd name="connsiteX7" fmla="*/ 101691 w 102097"/>
                    <a:gd name="connsiteY7" fmla="*/ 13526 h 51446"/>
                    <a:gd name="connsiteX8" fmla="*/ 85403 w 102097"/>
                    <a:gd name="connsiteY8" fmla="*/ 10763 h 514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2097" h="51446">
                      <a:moveTo>
                        <a:pt x="85403" y="10763"/>
                      </a:moveTo>
                      <a:cubicBezTo>
                        <a:pt x="85403" y="10763"/>
                        <a:pt x="80164" y="18193"/>
                        <a:pt x="67972" y="14383"/>
                      </a:cubicBezTo>
                      <a:cubicBezTo>
                        <a:pt x="55876" y="10763"/>
                        <a:pt x="52542" y="15240"/>
                        <a:pt x="52542" y="15240"/>
                      </a:cubicBezTo>
                      <a:cubicBezTo>
                        <a:pt x="52542" y="15240"/>
                        <a:pt x="31587" y="14573"/>
                        <a:pt x="5965" y="0"/>
                      </a:cubicBezTo>
                      <a:cubicBezTo>
                        <a:pt x="5965" y="0"/>
                        <a:pt x="-6227" y="8192"/>
                        <a:pt x="4250" y="12859"/>
                      </a:cubicBezTo>
                      <a:cubicBezTo>
                        <a:pt x="14633" y="17717"/>
                        <a:pt x="39493" y="54483"/>
                        <a:pt x="57495" y="51245"/>
                      </a:cubicBezTo>
                      <a:cubicBezTo>
                        <a:pt x="57495" y="51245"/>
                        <a:pt x="68639" y="53245"/>
                        <a:pt x="76450" y="39624"/>
                      </a:cubicBezTo>
                      <a:cubicBezTo>
                        <a:pt x="76450" y="39624"/>
                        <a:pt x="97214" y="10096"/>
                        <a:pt x="101691" y="13526"/>
                      </a:cubicBezTo>
                      <a:cubicBezTo>
                        <a:pt x="101691" y="13621"/>
                        <a:pt x="106168" y="1905"/>
                        <a:pt x="85403" y="1076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65" name="任意多边形: 形状 64">
                  <a:extLst>
                    <a:ext uri="{FF2B5EF4-FFF2-40B4-BE49-F238E27FC236}">
                      <a16:creationId xmlns:a16="http://schemas.microsoft.com/office/drawing/2014/main" id="{513BA0ED-08ED-4B0C-933D-D8B044124D0A}"/>
                    </a:ext>
                  </a:extLst>
                </p:cNvPr>
                <p:cNvSpPr/>
                <p:nvPr/>
              </p:nvSpPr>
              <p:spPr>
                <a:xfrm>
                  <a:off x="4264823" y="6951678"/>
                  <a:ext cx="354945" cy="422099"/>
                </a:xfrm>
                <a:custGeom>
                  <a:avLst/>
                  <a:gdLst>
                    <a:gd name="connsiteX0" fmla="*/ 349531 w 354945"/>
                    <a:gd name="connsiteY0" fmla="*/ 176260 h 422099"/>
                    <a:gd name="connsiteX1" fmla="*/ 287618 w 354945"/>
                    <a:gd name="connsiteY1" fmla="*/ 139969 h 422099"/>
                    <a:gd name="connsiteX2" fmla="*/ 294667 w 354945"/>
                    <a:gd name="connsiteY2" fmla="*/ 176450 h 422099"/>
                    <a:gd name="connsiteX3" fmla="*/ 205894 w 354945"/>
                    <a:gd name="connsiteY3" fmla="*/ 226361 h 422099"/>
                    <a:gd name="connsiteX4" fmla="*/ 242470 w 354945"/>
                    <a:gd name="connsiteY4" fmla="*/ 85201 h 422099"/>
                    <a:gd name="connsiteX5" fmla="*/ 227801 w 354945"/>
                    <a:gd name="connsiteY5" fmla="*/ 49672 h 422099"/>
                    <a:gd name="connsiteX6" fmla="*/ 179509 w 354945"/>
                    <a:gd name="connsiteY6" fmla="*/ 6143 h 422099"/>
                    <a:gd name="connsiteX7" fmla="*/ 160269 w 354945"/>
                    <a:gd name="connsiteY7" fmla="*/ 242554 h 422099"/>
                    <a:gd name="connsiteX8" fmla="*/ 72734 w 354945"/>
                    <a:gd name="connsiteY8" fmla="*/ 287417 h 422099"/>
                    <a:gd name="connsiteX9" fmla="*/ 15774 w 354945"/>
                    <a:gd name="connsiteY9" fmla="*/ 293417 h 422099"/>
                    <a:gd name="connsiteX10" fmla="*/ 53779 w 354945"/>
                    <a:gd name="connsiteY10" fmla="*/ 333041 h 422099"/>
                    <a:gd name="connsiteX11" fmla="*/ 125693 w 354945"/>
                    <a:gd name="connsiteY11" fmla="*/ 311419 h 422099"/>
                    <a:gd name="connsiteX12" fmla="*/ 125693 w 354945"/>
                    <a:gd name="connsiteY12" fmla="*/ 321325 h 422099"/>
                    <a:gd name="connsiteX13" fmla="*/ 1011 w 354945"/>
                    <a:gd name="connsiteY13" fmla="*/ 400383 h 422099"/>
                    <a:gd name="connsiteX14" fmla="*/ 34539 w 354945"/>
                    <a:gd name="connsiteY14" fmla="*/ 419909 h 422099"/>
                    <a:gd name="connsiteX15" fmla="*/ 80068 w 354945"/>
                    <a:gd name="connsiteY15" fmla="*/ 422100 h 422099"/>
                    <a:gd name="connsiteX16" fmla="*/ 185129 w 354945"/>
                    <a:gd name="connsiteY16" fmla="*/ 265128 h 422099"/>
                    <a:gd name="connsiteX17" fmla="*/ 335815 w 354945"/>
                    <a:gd name="connsiteY17" fmla="*/ 203406 h 422099"/>
                    <a:gd name="connsiteX18" fmla="*/ 349531 w 354945"/>
                    <a:gd name="connsiteY18" fmla="*/ 176260 h 422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354945" h="422099">
                      <a:moveTo>
                        <a:pt x="349531" y="176260"/>
                      </a:moveTo>
                      <a:cubicBezTo>
                        <a:pt x="349531" y="176260"/>
                        <a:pt x="316860" y="174450"/>
                        <a:pt x="287618" y="139969"/>
                      </a:cubicBezTo>
                      <a:cubicBezTo>
                        <a:pt x="287618" y="139969"/>
                        <a:pt x="269902" y="132445"/>
                        <a:pt x="294667" y="176450"/>
                      </a:cubicBezTo>
                      <a:cubicBezTo>
                        <a:pt x="294667" y="176450"/>
                        <a:pt x="304287" y="197691"/>
                        <a:pt x="205894" y="226361"/>
                      </a:cubicBezTo>
                      <a:cubicBezTo>
                        <a:pt x="205894" y="226361"/>
                        <a:pt x="211990" y="132445"/>
                        <a:pt x="242470" y="85201"/>
                      </a:cubicBezTo>
                      <a:cubicBezTo>
                        <a:pt x="242470" y="85201"/>
                        <a:pt x="251899" y="73009"/>
                        <a:pt x="227801" y="49672"/>
                      </a:cubicBezTo>
                      <a:cubicBezTo>
                        <a:pt x="227801" y="49672"/>
                        <a:pt x="187796" y="-20813"/>
                        <a:pt x="179509" y="6143"/>
                      </a:cubicBezTo>
                      <a:cubicBezTo>
                        <a:pt x="179509" y="6143"/>
                        <a:pt x="226372" y="67960"/>
                        <a:pt x="160269" y="242554"/>
                      </a:cubicBezTo>
                      <a:lnTo>
                        <a:pt x="72734" y="287417"/>
                      </a:lnTo>
                      <a:cubicBezTo>
                        <a:pt x="72734" y="287417"/>
                        <a:pt x="23775" y="287893"/>
                        <a:pt x="15774" y="293417"/>
                      </a:cubicBezTo>
                      <a:cubicBezTo>
                        <a:pt x="15774" y="293417"/>
                        <a:pt x="18537" y="324850"/>
                        <a:pt x="53779" y="333041"/>
                      </a:cubicBezTo>
                      <a:cubicBezTo>
                        <a:pt x="53779" y="333041"/>
                        <a:pt x="112167" y="308848"/>
                        <a:pt x="125693" y="311419"/>
                      </a:cubicBezTo>
                      <a:cubicBezTo>
                        <a:pt x="125693" y="311419"/>
                        <a:pt x="137695" y="313896"/>
                        <a:pt x="125693" y="321325"/>
                      </a:cubicBezTo>
                      <a:cubicBezTo>
                        <a:pt x="125693" y="321325"/>
                        <a:pt x="106072" y="411337"/>
                        <a:pt x="1011" y="400383"/>
                      </a:cubicBezTo>
                      <a:cubicBezTo>
                        <a:pt x="1011" y="400383"/>
                        <a:pt x="-9086" y="411908"/>
                        <a:pt x="34539" y="419909"/>
                      </a:cubicBezTo>
                      <a:lnTo>
                        <a:pt x="80068" y="422100"/>
                      </a:lnTo>
                      <a:cubicBezTo>
                        <a:pt x="80068" y="422100"/>
                        <a:pt x="135123" y="420481"/>
                        <a:pt x="185129" y="265128"/>
                      </a:cubicBezTo>
                      <a:lnTo>
                        <a:pt x="335815" y="203406"/>
                      </a:lnTo>
                      <a:cubicBezTo>
                        <a:pt x="335815" y="203406"/>
                        <a:pt x="367247" y="192262"/>
                        <a:pt x="349531" y="17626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66" name="任意多边形: 形状 65">
                  <a:extLst>
                    <a:ext uri="{FF2B5EF4-FFF2-40B4-BE49-F238E27FC236}">
                      <a16:creationId xmlns:a16="http://schemas.microsoft.com/office/drawing/2014/main" id="{AD908100-D0FF-461F-8A61-E131286908CA}"/>
                    </a:ext>
                  </a:extLst>
                </p:cNvPr>
                <p:cNvSpPr/>
                <p:nvPr/>
              </p:nvSpPr>
              <p:spPr>
                <a:xfrm>
                  <a:off x="4504912" y="7262329"/>
                  <a:ext cx="163353" cy="115793"/>
                </a:xfrm>
                <a:custGeom>
                  <a:avLst/>
                  <a:gdLst>
                    <a:gd name="connsiteX0" fmla="*/ 150685 w 163353"/>
                    <a:gd name="connsiteY0" fmla="*/ 44108 h 115793"/>
                    <a:gd name="connsiteX1" fmla="*/ 25717 w 163353"/>
                    <a:gd name="connsiteY1" fmla="*/ 10199 h 115793"/>
                    <a:gd name="connsiteX2" fmla="*/ 0 w 163353"/>
                    <a:gd name="connsiteY2" fmla="*/ 7532 h 115793"/>
                    <a:gd name="connsiteX3" fmla="*/ 46291 w 163353"/>
                    <a:gd name="connsiteY3" fmla="*/ 95162 h 115793"/>
                    <a:gd name="connsiteX4" fmla="*/ 99822 w 163353"/>
                    <a:gd name="connsiteY4" fmla="*/ 106116 h 115793"/>
                    <a:gd name="connsiteX5" fmla="*/ 163354 w 163353"/>
                    <a:gd name="connsiteY5" fmla="*/ 50299 h 115793"/>
                    <a:gd name="connsiteX6" fmla="*/ 150685 w 163353"/>
                    <a:gd name="connsiteY6" fmla="*/ 44108 h 1157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3353" h="115793">
                      <a:moveTo>
                        <a:pt x="150685" y="44108"/>
                      </a:moveTo>
                      <a:cubicBezTo>
                        <a:pt x="150685" y="44108"/>
                        <a:pt x="88868" y="82399"/>
                        <a:pt x="25717" y="10199"/>
                      </a:cubicBezTo>
                      <a:cubicBezTo>
                        <a:pt x="25717" y="10199"/>
                        <a:pt x="11716" y="-10851"/>
                        <a:pt x="0" y="7532"/>
                      </a:cubicBezTo>
                      <a:cubicBezTo>
                        <a:pt x="0" y="7532"/>
                        <a:pt x="24098" y="24677"/>
                        <a:pt x="46291" y="95162"/>
                      </a:cubicBezTo>
                      <a:cubicBezTo>
                        <a:pt x="46291" y="95162"/>
                        <a:pt x="74676" y="133072"/>
                        <a:pt x="99822" y="106116"/>
                      </a:cubicBezTo>
                      <a:lnTo>
                        <a:pt x="163354" y="50299"/>
                      </a:lnTo>
                      <a:cubicBezTo>
                        <a:pt x="163354" y="50204"/>
                        <a:pt x="160972" y="40869"/>
                        <a:pt x="150685" y="4410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67" name="任意多边形: 形状 66">
                  <a:extLst>
                    <a:ext uri="{FF2B5EF4-FFF2-40B4-BE49-F238E27FC236}">
                      <a16:creationId xmlns:a16="http://schemas.microsoft.com/office/drawing/2014/main" id="{CC363685-976C-4F13-88B4-00B062AF22C8}"/>
                    </a:ext>
                  </a:extLst>
                </p:cNvPr>
                <p:cNvSpPr/>
                <p:nvPr/>
              </p:nvSpPr>
              <p:spPr>
                <a:xfrm>
                  <a:off x="4966684" y="6947060"/>
                  <a:ext cx="33623" cy="67054"/>
                </a:xfrm>
                <a:custGeom>
                  <a:avLst/>
                  <a:gdLst>
                    <a:gd name="connsiteX0" fmla="*/ 33623 w 33623"/>
                    <a:gd name="connsiteY0" fmla="*/ 35146 h 67054"/>
                    <a:gd name="connsiteX1" fmla="*/ 28575 w 33623"/>
                    <a:gd name="connsiteY1" fmla="*/ 28288 h 67054"/>
                    <a:gd name="connsiteX2" fmla="*/ 0 w 33623"/>
                    <a:gd name="connsiteY2" fmla="*/ 8666 h 67054"/>
                    <a:gd name="connsiteX3" fmla="*/ 9620 w 33623"/>
                    <a:gd name="connsiteY3" fmla="*/ 67054 h 67054"/>
                    <a:gd name="connsiteX4" fmla="*/ 33623 w 33623"/>
                    <a:gd name="connsiteY4" fmla="*/ 35146 h 670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623" h="67054">
                      <a:moveTo>
                        <a:pt x="33623" y="35146"/>
                      </a:moveTo>
                      <a:lnTo>
                        <a:pt x="28575" y="28288"/>
                      </a:lnTo>
                      <a:cubicBezTo>
                        <a:pt x="28575" y="28288"/>
                        <a:pt x="16859" y="-18957"/>
                        <a:pt x="0" y="8666"/>
                      </a:cubicBezTo>
                      <a:cubicBezTo>
                        <a:pt x="0" y="8666"/>
                        <a:pt x="1238" y="61720"/>
                        <a:pt x="9620" y="67054"/>
                      </a:cubicBezTo>
                      <a:cubicBezTo>
                        <a:pt x="9716" y="67054"/>
                        <a:pt x="33528" y="48957"/>
                        <a:pt x="33623" y="3514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68" name="任意多边形: 形状 67">
                  <a:extLst>
                    <a:ext uri="{FF2B5EF4-FFF2-40B4-BE49-F238E27FC236}">
                      <a16:creationId xmlns:a16="http://schemas.microsoft.com/office/drawing/2014/main" id="{8D755D6F-55F5-4139-A24D-A667AACF94AE}"/>
                    </a:ext>
                  </a:extLst>
                </p:cNvPr>
                <p:cNvSpPr/>
                <p:nvPr/>
              </p:nvSpPr>
              <p:spPr>
                <a:xfrm>
                  <a:off x="4898750" y="6783404"/>
                  <a:ext cx="384548" cy="413822"/>
                </a:xfrm>
                <a:custGeom>
                  <a:avLst/>
                  <a:gdLst>
                    <a:gd name="connsiteX0" fmla="*/ 367971 w 384548"/>
                    <a:gd name="connsiteY0" fmla="*/ 239473 h 413822"/>
                    <a:gd name="connsiteX1" fmla="*/ 280532 w 384548"/>
                    <a:gd name="connsiteY1" fmla="*/ 243854 h 413822"/>
                    <a:gd name="connsiteX2" fmla="*/ 298153 w 384548"/>
                    <a:gd name="connsiteY2" fmla="*/ 198134 h 413822"/>
                    <a:gd name="connsiteX3" fmla="*/ 372829 w 384548"/>
                    <a:gd name="connsiteY3" fmla="*/ 100884 h 413822"/>
                    <a:gd name="connsiteX4" fmla="*/ 357780 w 384548"/>
                    <a:gd name="connsiteY4" fmla="*/ 67166 h 413822"/>
                    <a:gd name="connsiteX5" fmla="*/ 322442 w 384548"/>
                    <a:gd name="connsiteY5" fmla="*/ 69166 h 413822"/>
                    <a:gd name="connsiteX6" fmla="*/ 234907 w 384548"/>
                    <a:gd name="connsiteY6" fmla="*/ 100313 h 413822"/>
                    <a:gd name="connsiteX7" fmla="*/ 225763 w 384548"/>
                    <a:gd name="connsiteY7" fmla="*/ 96312 h 413822"/>
                    <a:gd name="connsiteX8" fmla="*/ 245956 w 384548"/>
                    <a:gd name="connsiteY8" fmla="*/ 78786 h 413822"/>
                    <a:gd name="connsiteX9" fmla="*/ 264720 w 384548"/>
                    <a:gd name="connsiteY9" fmla="*/ 48878 h 413822"/>
                    <a:gd name="connsiteX10" fmla="*/ 275484 w 384548"/>
                    <a:gd name="connsiteY10" fmla="*/ 18874 h 413822"/>
                    <a:gd name="connsiteX11" fmla="*/ 270340 w 384548"/>
                    <a:gd name="connsiteY11" fmla="*/ 2872 h 413822"/>
                    <a:gd name="connsiteX12" fmla="*/ 251195 w 384548"/>
                    <a:gd name="connsiteY12" fmla="*/ 586 h 413822"/>
                    <a:gd name="connsiteX13" fmla="*/ 247290 w 384548"/>
                    <a:gd name="connsiteY13" fmla="*/ 10587 h 413822"/>
                    <a:gd name="connsiteX14" fmla="*/ 245290 w 384548"/>
                    <a:gd name="connsiteY14" fmla="*/ 33923 h 413822"/>
                    <a:gd name="connsiteX15" fmla="*/ 219382 w 384548"/>
                    <a:gd name="connsiteY15" fmla="*/ 70404 h 413822"/>
                    <a:gd name="connsiteX16" fmla="*/ 203284 w 384548"/>
                    <a:gd name="connsiteY16" fmla="*/ 89454 h 413822"/>
                    <a:gd name="connsiteX17" fmla="*/ 168518 w 384548"/>
                    <a:gd name="connsiteY17" fmla="*/ 121839 h 413822"/>
                    <a:gd name="connsiteX18" fmla="*/ 175757 w 384548"/>
                    <a:gd name="connsiteY18" fmla="*/ 132317 h 413822"/>
                    <a:gd name="connsiteX19" fmla="*/ 181377 w 384548"/>
                    <a:gd name="connsiteY19" fmla="*/ 154986 h 413822"/>
                    <a:gd name="connsiteX20" fmla="*/ 180996 w 384548"/>
                    <a:gd name="connsiteY20" fmla="*/ 164607 h 413822"/>
                    <a:gd name="connsiteX21" fmla="*/ 168804 w 384548"/>
                    <a:gd name="connsiteY21" fmla="*/ 175179 h 413822"/>
                    <a:gd name="connsiteX22" fmla="*/ 158612 w 384548"/>
                    <a:gd name="connsiteY22" fmla="*/ 172703 h 413822"/>
                    <a:gd name="connsiteX23" fmla="*/ 152326 w 384548"/>
                    <a:gd name="connsiteY23" fmla="*/ 175084 h 413822"/>
                    <a:gd name="connsiteX24" fmla="*/ 147277 w 384548"/>
                    <a:gd name="connsiteY24" fmla="*/ 139651 h 413822"/>
                    <a:gd name="connsiteX25" fmla="*/ 142038 w 384548"/>
                    <a:gd name="connsiteY25" fmla="*/ 117934 h 413822"/>
                    <a:gd name="connsiteX26" fmla="*/ 124417 w 384548"/>
                    <a:gd name="connsiteY26" fmla="*/ 100884 h 413822"/>
                    <a:gd name="connsiteX27" fmla="*/ 107368 w 384548"/>
                    <a:gd name="connsiteY27" fmla="*/ 100503 h 413822"/>
                    <a:gd name="connsiteX28" fmla="*/ 105177 w 384548"/>
                    <a:gd name="connsiteY28" fmla="*/ 118124 h 413822"/>
                    <a:gd name="connsiteX29" fmla="*/ 118321 w 384548"/>
                    <a:gd name="connsiteY29" fmla="*/ 170226 h 413822"/>
                    <a:gd name="connsiteX30" fmla="*/ 117464 w 384548"/>
                    <a:gd name="connsiteY30" fmla="*/ 191086 h 413822"/>
                    <a:gd name="connsiteX31" fmla="*/ 134704 w 384548"/>
                    <a:gd name="connsiteY31" fmla="*/ 201278 h 413822"/>
                    <a:gd name="connsiteX32" fmla="*/ 140324 w 384548"/>
                    <a:gd name="connsiteY32" fmla="*/ 211850 h 413822"/>
                    <a:gd name="connsiteX33" fmla="*/ 128799 w 384548"/>
                    <a:gd name="connsiteY33" fmla="*/ 246331 h 413822"/>
                    <a:gd name="connsiteX34" fmla="*/ 154230 w 384548"/>
                    <a:gd name="connsiteY34" fmla="*/ 228329 h 413822"/>
                    <a:gd name="connsiteX35" fmla="*/ 183377 w 384548"/>
                    <a:gd name="connsiteY35" fmla="*/ 236234 h 413822"/>
                    <a:gd name="connsiteX36" fmla="*/ 183853 w 384548"/>
                    <a:gd name="connsiteY36" fmla="*/ 268334 h 413822"/>
                    <a:gd name="connsiteX37" fmla="*/ 53742 w 384548"/>
                    <a:gd name="connsiteY37" fmla="*/ 340057 h 413822"/>
                    <a:gd name="connsiteX38" fmla="*/ 37168 w 384548"/>
                    <a:gd name="connsiteY38" fmla="*/ 350534 h 413822"/>
                    <a:gd name="connsiteX39" fmla="*/ 72030 w 384548"/>
                    <a:gd name="connsiteY39" fmla="*/ 287098 h 413822"/>
                    <a:gd name="connsiteX40" fmla="*/ 39835 w 384548"/>
                    <a:gd name="connsiteY40" fmla="*/ 308624 h 413822"/>
                    <a:gd name="connsiteX41" fmla="*/ 24214 w 384548"/>
                    <a:gd name="connsiteY41" fmla="*/ 338438 h 413822"/>
                    <a:gd name="connsiteX42" fmla="*/ 3354 w 384548"/>
                    <a:gd name="connsiteY42" fmla="*/ 364632 h 413822"/>
                    <a:gd name="connsiteX43" fmla="*/ 1259 w 384548"/>
                    <a:gd name="connsiteY43" fmla="*/ 384920 h 413822"/>
                    <a:gd name="connsiteX44" fmla="*/ 2974 w 384548"/>
                    <a:gd name="connsiteY44" fmla="*/ 399779 h 413822"/>
                    <a:gd name="connsiteX45" fmla="*/ 592 w 384548"/>
                    <a:gd name="connsiteY45" fmla="*/ 408351 h 413822"/>
                    <a:gd name="connsiteX46" fmla="*/ 35740 w 384548"/>
                    <a:gd name="connsiteY46" fmla="*/ 387396 h 413822"/>
                    <a:gd name="connsiteX47" fmla="*/ 61838 w 384548"/>
                    <a:gd name="connsiteY47" fmla="*/ 357583 h 413822"/>
                    <a:gd name="connsiteX48" fmla="*/ 136895 w 384548"/>
                    <a:gd name="connsiteY48" fmla="*/ 308815 h 413822"/>
                    <a:gd name="connsiteX49" fmla="*/ 202713 w 384548"/>
                    <a:gd name="connsiteY49" fmla="*/ 282812 h 413822"/>
                    <a:gd name="connsiteX50" fmla="*/ 218143 w 384548"/>
                    <a:gd name="connsiteY50" fmla="*/ 290432 h 413822"/>
                    <a:gd name="connsiteX51" fmla="*/ 250243 w 384548"/>
                    <a:gd name="connsiteY51" fmla="*/ 273763 h 413822"/>
                    <a:gd name="connsiteX52" fmla="*/ 322823 w 384548"/>
                    <a:gd name="connsiteY52" fmla="*/ 263571 h 413822"/>
                    <a:gd name="connsiteX53" fmla="*/ 256434 w 384548"/>
                    <a:gd name="connsiteY53" fmla="*/ 296718 h 413822"/>
                    <a:gd name="connsiteX54" fmla="*/ 244337 w 384548"/>
                    <a:gd name="connsiteY54" fmla="*/ 302433 h 413822"/>
                    <a:gd name="connsiteX55" fmla="*/ 215000 w 384548"/>
                    <a:gd name="connsiteY55" fmla="*/ 308243 h 413822"/>
                    <a:gd name="connsiteX56" fmla="*/ 210047 w 384548"/>
                    <a:gd name="connsiteY56" fmla="*/ 318626 h 413822"/>
                    <a:gd name="connsiteX57" fmla="*/ 368734 w 384548"/>
                    <a:gd name="connsiteY57" fmla="*/ 273953 h 413822"/>
                    <a:gd name="connsiteX58" fmla="*/ 367971 w 384548"/>
                    <a:gd name="connsiteY58" fmla="*/ 239473 h 413822"/>
                    <a:gd name="connsiteX59" fmla="*/ 210142 w 384548"/>
                    <a:gd name="connsiteY59" fmla="*/ 172512 h 413822"/>
                    <a:gd name="connsiteX60" fmla="*/ 215381 w 384548"/>
                    <a:gd name="connsiteY60" fmla="*/ 145080 h 413822"/>
                    <a:gd name="connsiteX61" fmla="*/ 246147 w 384548"/>
                    <a:gd name="connsiteY61" fmla="*/ 161940 h 413822"/>
                    <a:gd name="connsiteX62" fmla="*/ 229573 w 384548"/>
                    <a:gd name="connsiteY62" fmla="*/ 177370 h 413822"/>
                    <a:gd name="connsiteX63" fmla="*/ 210142 w 384548"/>
                    <a:gd name="connsiteY63" fmla="*/ 172512 h 413822"/>
                    <a:gd name="connsiteX64" fmla="*/ 235098 w 384548"/>
                    <a:gd name="connsiteY64" fmla="*/ 249093 h 413822"/>
                    <a:gd name="connsiteX65" fmla="*/ 210428 w 384548"/>
                    <a:gd name="connsiteY65" fmla="*/ 222614 h 413822"/>
                    <a:gd name="connsiteX66" fmla="*/ 264625 w 384548"/>
                    <a:gd name="connsiteY66" fmla="*/ 190991 h 413822"/>
                    <a:gd name="connsiteX67" fmla="*/ 269864 w 384548"/>
                    <a:gd name="connsiteY67" fmla="*/ 160320 h 413822"/>
                    <a:gd name="connsiteX68" fmla="*/ 319966 w 384548"/>
                    <a:gd name="connsiteY68" fmla="*/ 92978 h 413822"/>
                    <a:gd name="connsiteX69" fmla="*/ 336920 w 384548"/>
                    <a:gd name="connsiteY69" fmla="*/ 103837 h 413822"/>
                    <a:gd name="connsiteX70" fmla="*/ 286533 w 384548"/>
                    <a:gd name="connsiteY70" fmla="*/ 177656 h 413822"/>
                    <a:gd name="connsiteX71" fmla="*/ 235098 w 384548"/>
                    <a:gd name="connsiteY71" fmla="*/ 249093 h 4138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</a:cxnLst>
                  <a:rect l="l" t="t" r="r" b="b"/>
                  <a:pathLst>
                    <a:path w="384548" h="413822">
                      <a:moveTo>
                        <a:pt x="367971" y="239473"/>
                      </a:moveTo>
                      <a:cubicBezTo>
                        <a:pt x="367971" y="239473"/>
                        <a:pt x="343302" y="227662"/>
                        <a:pt x="280532" y="243854"/>
                      </a:cubicBezTo>
                      <a:cubicBezTo>
                        <a:pt x="280532" y="243854"/>
                        <a:pt x="254243" y="224519"/>
                        <a:pt x="298153" y="198134"/>
                      </a:cubicBezTo>
                      <a:cubicBezTo>
                        <a:pt x="298153" y="198134"/>
                        <a:pt x="353494" y="119744"/>
                        <a:pt x="372829" y="100884"/>
                      </a:cubicBezTo>
                      <a:cubicBezTo>
                        <a:pt x="372829" y="100884"/>
                        <a:pt x="407405" y="54402"/>
                        <a:pt x="357780" y="67166"/>
                      </a:cubicBezTo>
                      <a:cubicBezTo>
                        <a:pt x="357780" y="67166"/>
                        <a:pt x="332348" y="74595"/>
                        <a:pt x="322442" y="69166"/>
                      </a:cubicBezTo>
                      <a:cubicBezTo>
                        <a:pt x="322442" y="69166"/>
                        <a:pt x="252243" y="85358"/>
                        <a:pt x="234907" y="100313"/>
                      </a:cubicBezTo>
                      <a:cubicBezTo>
                        <a:pt x="234907" y="100313"/>
                        <a:pt x="215095" y="115648"/>
                        <a:pt x="225763" y="96312"/>
                      </a:cubicBezTo>
                      <a:cubicBezTo>
                        <a:pt x="225763" y="96312"/>
                        <a:pt x="233669" y="80024"/>
                        <a:pt x="245956" y="78786"/>
                      </a:cubicBezTo>
                      <a:lnTo>
                        <a:pt x="264720" y="48878"/>
                      </a:lnTo>
                      <a:cubicBezTo>
                        <a:pt x="264720" y="48878"/>
                        <a:pt x="285104" y="28113"/>
                        <a:pt x="275484" y="18874"/>
                      </a:cubicBezTo>
                      <a:lnTo>
                        <a:pt x="270340" y="2872"/>
                      </a:lnTo>
                      <a:cubicBezTo>
                        <a:pt x="270340" y="2872"/>
                        <a:pt x="255862" y="3920"/>
                        <a:pt x="251195" y="586"/>
                      </a:cubicBezTo>
                      <a:cubicBezTo>
                        <a:pt x="246623" y="-2939"/>
                        <a:pt x="247290" y="10587"/>
                        <a:pt x="247290" y="10587"/>
                      </a:cubicBezTo>
                      <a:cubicBezTo>
                        <a:pt x="247290" y="10587"/>
                        <a:pt x="241860" y="28018"/>
                        <a:pt x="245290" y="33923"/>
                      </a:cubicBezTo>
                      <a:cubicBezTo>
                        <a:pt x="248528" y="39734"/>
                        <a:pt x="227668" y="74976"/>
                        <a:pt x="219382" y="70404"/>
                      </a:cubicBezTo>
                      <a:cubicBezTo>
                        <a:pt x="219382" y="70404"/>
                        <a:pt x="204713" y="85358"/>
                        <a:pt x="203284" y="89454"/>
                      </a:cubicBezTo>
                      <a:cubicBezTo>
                        <a:pt x="201855" y="93550"/>
                        <a:pt x="164136" y="99741"/>
                        <a:pt x="168518" y="121839"/>
                      </a:cubicBezTo>
                      <a:cubicBezTo>
                        <a:pt x="168518" y="121839"/>
                        <a:pt x="170137" y="129269"/>
                        <a:pt x="175757" y="132317"/>
                      </a:cubicBezTo>
                      <a:cubicBezTo>
                        <a:pt x="181472" y="135460"/>
                        <a:pt x="183377" y="152795"/>
                        <a:pt x="181377" y="154986"/>
                      </a:cubicBezTo>
                      <a:cubicBezTo>
                        <a:pt x="179377" y="157272"/>
                        <a:pt x="189473" y="160987"/>
                        <a:pt x="180996" y="164607"/>
                      </a:cubicBezTo>
                      <a:cubicBezTo>
                        <a:pt x="172519" y="168226"/>
                        <a:pt x="168804" y="175179"/>
                        <a:pt x="168804" y="175179"/>
                      </a:cubicBezTo>
                      <a:lnTo>
                        <a:pt x="158612" y="172703"/>
                      </a:lnTo>
                      <a:lnTo>
                        <a:pt x="152326" y="175084"/>
                      </a:lnTo>
                      <a:cubicBezTo>
                        <a:pt x="152326" y="175084"/>
                        <a:pt x="133657" y="154129"/>
                        <a:pt x="147277" y="139651"/>
                      </a:cubicBezTo>
                      <a:lnTo>
                        <a:pt x="142038" y="117934"/>
                      </a:lnTo>
                      <a:cubicBezTo>
                        <a:pt x="142038" y="117934"/>
                        <a:pt x="124989" y="108599"/>
                        <a:pt x="124417" y="100884"/>
                      </a:cubicBezTo>
                      <a:cubicBezTo>
                        <a:pt x="124417" y="100884"/>
                        <a:pt x="110892" y="86978"/>
                        <a:pt x="107368" y="100503"/>
                      </a:cubicBezTo>
                      <a:cubicBezTo>
                        <a:pt x="107368" y="100503"/>
                        <a:pt x="113559" y="108885"/>
                        <a:pt x="105177" y="118124"/>
                      </a:cubicBezTo>
                      <a:cubicBezTo>
                        <a:pt x="105177" y="118124"/>
                        <a:pt x="127560" y="154891"/>
                        <a:pt x="118321" y="170226"/>
                      </a:cubicBezTo>
                      <a:cubicBezTo>
                        <a:pt x="118321" y="170226"/>
                        <a:pt x="127179" y="188228"/>
                        <a:pt x="117464" y="191086"/>
                      </a:cubicBezTo>
                      <a:cubicBezTo>
                        <a:pt x="117464" y="191086"/>
                        <a:pt x="124036" y="204421"/>
                        <a:pt x="134704" y="201278"/>
                      </a:cubicBezTo>
                      <a:cubicBezTo>
                        <a:pt x="134704" y="201278"/>
                        <a:pt x="156421" y="194324"/>
                        <a:pt x="140324" y="211850"/>
                      </a:cubicBezTo>
                      <a:cubicBezTo>
                        <a:pt x="140324" y="211850"/>
                        <a:pt x="128799" y="235758"/>
                        <a:pt x="128799" y="246331"/>
                      </a:cubicBezTo>
                      <a:cubicBezTo>
                        <a:pt x="128799" y="246331"/>
                        <a:pt x="143372" y="249474"/>
                        <a:pt x="154230" y="228329"/>
                      </a:cubicBezTo>
                      <a:cubicBezTo>
                        <a:pt x="154230" y="228329"/>
                        <a:pt x="177662" y="210993"/>
                        <a:pt x="183377" y="236234"/>
                      </a:cubicBezTo>
                      <a:cubicBezTo>
                        <a:pt x="183377" y="236234"/>
                        <a:pt x="208428" y="260618"/>
                        <a:pt x="183853" y="268334"/>
                      </a:cubicBezTo>
                      <a:cubicBezTo>
                        <a:pt x="183853" y="268334"/>
                        <a:pt x="126418" y="272906"/>
                        <a:pt x="53742" y="340057"/>
                      </a:cubicBezTo>
                      <a:cubicBezTo>
                        <a:pt x="53742" y="340057"/>
                        <a:pt x="48789" y="359393"/>
                        <a:pt x="37168" y="350534"/>
                      </a:cubicBezTo>
                      <a:lnTo>
                        <a:pt x="72030" y="287098"/>
                      </a:lnTo>
                      <a:cubicBezTo>
                        <a:pt x="72030" y="287098"/>
                        <a:pt x="78030" y="247855"/>
                        <a:pt x="39835" y="308624"/>
                      </a:cubicBezTo>
                      <a:lnTo>
                        <a:pt x="24214" y="338438"/>
                      </a:lnTo>
                      <a:cubicBezTo>
                        <a:pt x="24214" y="338438"/>
                        <a:pt x="3926" y="348629"/>
                        <a:pt x="3354" y="364632"/>
                      </a:cubicBezTo>
                      <a:cubicBezTo>
                        <a:pt x="3354" y="364632"/>
                        <a:pt x="5641" y="379776"/>
                        <a:pt x="1259" y="384920"/>
                      </a:cubicBezTo>
                      <a:cubicBezTo>
                        <a:pt x="-3123" y="389777"/>
                        <a:pt x="5545" y="396350"/>
                        <a:pt x="2974" y="399779"/>
                      </a:cubicBezTo>
                      <a:cubicBezTo>
                        <a:pt x="307" y="403208"/>
                        <a:pt x="3354" y="406541"/>
                        <a:pt x="592" y="408351"/>
                      </a:cubicBezTo>
                      <a:cubicBezTo>
                        <a:pt x="-1884" y="410066"/>
                        <a:pt x="16023" y="428163"/>
                        <a:pt x="35740" y="387396"/>
                      </a:cubicBezTo>
                      <a:cubicBezTo>
                        <a:pt x="35740" y="387396"/>
                        <a:pt x="59171" y="371585"/>
                        <a:pt x="61838" y="357583"/>
                      </a:cubicBezTo>
                      <a:cubicBezTo>
                        <a:pt x="64600" y="343581"/>
                        <a:pt x="124608" y="311768"/>
                        <a:pt x="136895" y="308815"/>
                      </a:cubicBezTo>
                      <a:cubicBezTo>
                        <a:pt x="136895" y="308815"/>
                        <a:pt x="176328" y="277287"/>
                        <a:pt x="202713" y="282812"/>
                      </a:cubicBezTo>
                      <a:lnTo>
                        <a:pt x="218143" y="290432"/>
                      </a:lnTo>
                      <a:cubicBezTo>
                        <a:pt x="218143" y="290432"/>
                        <a:pt x="247004" y="282526"/>
                        <a:pt x="250243" y="273763"/>
                      </a:cubicBezTo>
                      <a:cubicBezTo>
                        <a:pt x="250243" y="273763"/>
                        <a:pt x="311965" y="250427"/>
                        <a:pt x="322823" y="263571"/>
                      </a:cubicBezTo>
                      <a:cubicBezTo>
                        <a:pt x="322823" y="263571"/>
                        <a:pt x="345302" y="271953"/>
                        <a:pt x="256434" y="296718"/>
                      </a:cubicBezTo>
                      <a:lnTo>
                        <a:pt x="244337" y="302433"/>
                      </a:lnTo>
                      <a:cubicBezTo>
                        <a:pt x="244337" y="302433"/>
                        <a:pt x="221477" y="297957"/>
                        <a:pt x="215000" y="308243"/>
                      </a:cubicBezTo>
                      <a:cubicBezTo>
                        <a:pt x="215000" y="308243"/>
                        <a:pt x="207475" y="317292"/>
                        <a:pt x="210047" y="318626"/>
                      </a:cubicBezTo>
                      <a:cubicBezTo>
                        <a:pt x="212619" y="320054"/>
                        <a:pt x="293677" y="330246"/>
                        <a:pt x="368734" y="273953"/>
                      </a:cubicBezTo>
                      <a:cubicBezTo>
                        <a:pt x="368638" y="274144"/>
                        <a:pt x="400357" y="245950"/>
                        <a:pt x="367971" y="239473"/>
                      </a:cubicBezTo>
                      <a:close/>
                      <a:moveTo>
                        <a:pt x="210142" y="172512"/>
                      </a:moveTo>
                      <a:cubicBezTo>
                        <a:pt x="223096" y="153557"/>
                        <a:pt x="215381" y="145080"/>
                        <a:pt x="215381" y="145080"/>
                      </a:cubicBezTo>
                      <a:cubicBezTo>
                        <a:pt x="234431" y="143175"/>
                        <a:pt x="246147" y="161940"/>
                        <a:pt x="246147" y="161940"/>
                      </a:cubicBezTo>
                      <a:cubicBezTo>
                        <a:pt x="244337" y="168416"/>
                        <a:pt x="229573" y="177370"/>
                        <a:pt x="229573" y="177370"/>
                      </a:cubicBezTo>
                      <a:cubicBezTo>
                        <a:pt x="209380" y="191657"/>
                        <a:pt x="210142" y="172512"/>
                        <a:pt x="210142" y="172512"/>
                      </a:cubicBezTo>
                      <a:close/>
                      <a:moveTo>
                        <a:pt x="235098" y="249093"/>
                      </a:moveTo>
                      <a:cubicBezTo>
                        <a:pt x="235098" y="249093"/>
                        <a:pt x="205380" y="268905"/>
                        <a:pt x="210428" y="222614"/>
                      </a:cubicBezTo>
                      <a:cubicBezTo>
                        <a:pt x="210428" y="222614"/>
                        <a:pt x="247480" y="192134"/>
                        <a:pt x="264625" y="190991"/>
                      </a:cubicBezTo>
                      <a:cubicBezTo>
                        <a:pt x="264625" y="190991"/>
                        <a:pt x="279199" y="176132"/>
                        <a:pt x="269864" y="160320"/>
                      </a:cubicBezTo>
                      <a:cubicBezTo>
                        <a:pt x="269864" y="160320"/>
                        <a:pt x="245766" y="95550"/>
                        <a:pt x="319966" y="92978"/>
                      </a:cubicBezTo>
                      <a:cubicBezTo>
                        <a:pt x="325490" y="91835"/>
                        <a:pt x="345969" y="81167"/>
                        <a:pt x="336920" y="103837"/>
                      </a:cubicBezTo>
                      <a:cubicBezTo>
                        <a:pt x="336920" y="103837"/>
                        <a:pt x="330348" y="132126"/>
                        <a:pt x="286533" y="177656"/>
                      </a:cubicBezTo>
                      <a:cubicBezTo>
                        <a:pt x="286628" y="177751"/>
                        <a:pt x="257291" y="245855"/>
                        <a:pt x="235098" y="24909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69" name="任意多边形: 形状 68">
                  <a:extLst>
                    <a:ext uri="{FF2B5EF4-FFF2-40B4-BE49-F238E27FC236}">
                      <a16:creationId xmlns:a16="http://schemas.microsoft.com/office/drawing/2014/main" id="{EA2DFDD1-1F13-457F-A8B2-3F156AC8E2D8}"/>
                    </a:ext>
                  </a:extLst>
                </p:cNvPr>
                <p:cNvSpPr/>
                <p:nvPr/>
              </p:nvSpPr>
              <p:spPr>
                <a:xfrm>
                  <a:off x="4950886" y="7113746"/>
                  <a:ext cx="241545" cy="264420"/>
                </a:xfrm>
                <a:custGeom>
                  <a:avLst/>
                  <a:gdLst>
                    <a:gd name="connsiteX0" fmla="*/ 188771 w 241545"/>
                    <a:gd name="connsiteY0" fmla="*/ 58579 h 264420"/>
                    <a:gd name="connsiteX1" fmla="*/ 159625 w 241545"/>
                    <a:gd name="connsiteY1" fmla="*/ 61436 h 264420"/>
                    <a:gd name="connsiteX2" fmla="*/ 179151 w 241545"/>
                    <a:gd name="connsiteY2" fmla="*/ 27241 h 264420"/>
                    <a:gd name="connsiteX3" fmla="*/ 167054 w 241545"/>
                    <a:gd name="connsiteY3" fmla="*/ 0 h 264420"/>
                    <a:gd name="connsiteX4" fmla="*/ 105618 w 241545"/>
                    <a:gd name="connsiteY4" fmla="*/ 21241 h 264420"/>
                    <a:gd name="connsiteX5" fmla="*/ 74948 w 241545"/>
                    <a:gd name="connsiteY5" fmla="*/ 26384 h 264420"/>
                    <a:gd name="connsiteX6" fmla="*/ 73328 w 241545"/>
                    <a:gd name="connsiteY6" fmla="*/ 44291 h 264420"/>
                    <a:gd name="connsiteX7" fmla="*/ 104570 w 241545"/>
                    <a:gd name="connsiteY7" fmla="*/ 48482 h 264420"/>
                    <a:gd name="connsiteX8" fmla="*/ 105809 w 241545"/>
                    <a:gd name="connsiteY8" fmla="*/ 76009 h 264420"/>
                    <a:gd name="connsiteX9" fmla="*/ 91807 w 241545"/>
                    <a:gd name="connsiteY9" fmla="*/ 83725 h 264420"/>
                    <a:gd name="connsiteX10" fmla="*/ 34752 w 241545"/>
                    <a:gd name="connsiteY10" fmla="*/ 90869 h 264420"/>
                    <a:gd name="connsiteX11" fmla="*/ 25513 w 241545"/>
                    <a:gd name="connsiteY11" fmla="*/ 106394 h 264420"/>
                    <a:gd name="connsiteX12" fmla="*/ 85997 w 241545"/>
                    <a:gd name="connsiteY12" fmla="*/ 110966 h 264420"/>
                    <a:gd name="connsiteX13" fmla="*/ 115429 w 241545"/>
                    <a:gd name="connsiteY13" fmla="*/ 103441 h 264420"/>
                    <a:gd name="connsiteX14" fmla="*/ 115334 w 241545"/>
                    <a:gd name="connsiteY14" fmla="*/ 132016 h 264420"/>
                    <a:gd name="connsiteX15" fmla="*/ 116286 w 241545"/>
                    <a:gd name="connsiteY15" fmla="*/ 151257 h 264420"/>
                    <a:gd name="connsiteX16" fmla="*/ 112000 w 241545"/>
                    <a:gd name="connsiteY16" fmla="*/ 169354 h 264420"/>
                    <a:gd name="connsiteX17" fmla="*/ 103046 w 241545"/>
                    <a:gd name="connsiteY17" fmla="*/ 203645 h 264420"/>
                    <a:gd name="connsiteX18" fmla="*/ 9701 w 241545"/>
                    <a:gd name="connsiteY18" fmla="*/ 187642 h 264420"/>
                    <a:gd name="connsiteX19" fmla="*/ 1415 w 241545"/>
                    <a:gd name="connsiteY19" fmla="*/ 202787 h 264420"/>
                    <a:gd name="connsiteX20" fmla="*/ 88759 w 241545"/>
                    <a:gd name="connsiteY20" fmla="*/ 253841 h 264420"/>
                    <a:gd name="connsiteX21" fmla="*/ 123906 w 241545"/>
                    <a:gd name="connsiteY21" fmla="*/ 262509 h 264420"/>
                    <a:gd name="connsiteX22" fmla="*/ 148671 w 241545"/>
                    <a:gd name="connsiteY22" fmla="*/ 244221 h 264420"/>
                    <a:gd name="connsiteX23" fmla="*/ 149528 w 241545"/>
                    <a:gd name="connsiteY23" fmla="*/ 221932 h 264420"/>
                    <a:gd name="connsiteX24" fmla="*/ 147147 w 241545"/>
                    <a:gd name="connsiteY24" fmla="*/ 141256 h 264420"/>
                    <a:gd name="connsiteX25" fmla="*/ 149338 w 241545"/>
                    <a:gd name="connsiteY25" fmla="*/ 96774 h 264420"/>
                    <a:gd name="connsiteX26" fmla="*/ 234492 w 241545"/>
                    <a:gd name="connsiteY26" fmla="*/ 86201 h 264420"/>
                    <a:gd name="connsiteX27" fmla="*/ 241540 w 241545"/>
                    <a:gd name="connsiteY27" fmla="*/ 67246 h 264420"/>
                    <a:gd name="connsiteX28" fmla="*/ 188771 w 241545"/>
                    <a:gd name="connsiteY28" fmla="*/ 58579 h 264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241545" h="264420">
                      <a:moveTo>
                        <a:pt x="188771" y="58579"/>
                      </a:moveTo>
                      <a:cubicBezTo>
                        <a:pt x="168769" y="72866"/>
                        <a:pt x="159625" y="61436"/>
                        <a:pt x="159625" y="61436"/>
                      </a:cubicBezTo>
                      <a:cubicBezTo>
                        <a:pt x="160577" y="44672"/>
                        <a:pt x="179151" y="27241"/>
                        <a:pt x="179151" y="27241"/>
                      </a:cubicBezTo>
                      <a:cubicBezTo>
                        <a:pt x="187438" y="8858"/>
                        <a:pt x="167054" y="0"/>
                        <a:pt x="167054" y="0"/>
                      </a:cubicBezTo>
                      <a:cubicBezTo>
                        <a:pt x="159530" y="12382"/>
                        <a:pt x="120668" y="22003"/>
                        <a:pt x="105618" y="21241"/>
                      </a:cubicBezTo>
                      <a:cubicBezTo>
                        <a:pt x="90569" y="20193"/>
                        <a:pt x="74948" y="26384"/>
                        <a:pt x="74948" y="26384"/>
                      </a:cubicBezTo>
                      <a:cubicBezTo>
                        <a:pt x="65804" y="29528"/>
                        <a:pt x="73328" y="44291"/>
                        <a:pt x="73328" y="44291"/>
                      </a:cubicBezTo>
                      <a:cubicBezTo>
                        <a:pt x="79901" y="54578"/>
                        <a:pt x="104570" y="48482"/>
                        <a:pt x="104570" y="48482"/>
                      </a:cubicBezTo>
                      <a:cubicBezTo>
                        <a:pt x="134765" y="48578"/>
                        <a:pt x="105809" y="76009"/>
                        <a:pt x="105809" y="76009"/>
                      </a:cubicBezTo>
                      <a:lnTo>
                        <a:pt x="91807" y="83725"/>
                      </a:lnTo>
                      <a:cubicBezTo>
                        <a:pt x="73995" y="104394"/>
                        <a:pt x="34752" y="90869"/>
                        <a:pt x="34752" y="90869"/>
                      </a:cubicBezTo>
                      <a:lnTo>
                        <a:pt x="25513" y="106394"/>
                      </a:lnTo>
                      <a:cubicBezTo>
                        <a:pt x="30276" y="149828"/>
                        <a:pt x="85997" y="110966"/>
                        <a:pt x="85997" y="110966"/>
                      </a:cubicBezTo>
                      <a:cubicBezTo>
                        <a:pt x="104856" y="95821"/>
                        <a:pt x="115048" y="99822"/>
                        <a:pt x="115429" y="103441"/>
                      </a:cubicBezTo>
                      <a:cubicBezTo>
                        <a:pt x="116001" y="107061"/>
                        <a:pt x="121906" y="123158"/>
                        <a:pt x="115334" y="132016"/>
                      </a:cubicBezTo>
                      <a:cubicBezTo>
                        <a:pt x="109047" y="140684"/>
                        <a:pt x="114000" y="145161"/>
                        <a:pt x="116286" y="151257"/>
                      </a:cubicBezTo>
                      <a:cubicBezTo>
                        <a:pt x="118572" y="157448"/>
                        <a:pt x="107428" y="166021"/>
                        <a:pt x="112000" y="169354"/>
                      </a:cubicBezTo>
                      <a:cubicBezTo>
                        <a:pt x="116667" y="172688"/>
                        <a:pt x="103046" y="203645"/>
                        <a:pt x="103046" y="203645"/>
                      </a:cubicBezTo>
                      <a:cubicBezTo>
                        <a:pt x="72947" y="225552"/>
                        <a:pt x="24275" y="190690"/>
                        <a:pt x="9701" y="187642"/>
                      </a:cubicBezTo>
                      <a:cubicBezTo>
                        <a:pt x="-5062" y="184499"/>
                        <a:pt x="1415" y="202787"/>
                        <a:pt x="1415" y="202787"/>
                      </a:cubicBezTo>
                      <a:lnTo>
                        <a:pt x="88759" y="253841"/>
                      </a:lnTo>
                      <a:cubicBezTo>
                        <a:pt x="101427" y="264986"/>
                        <a:pt x="123906" y="262509"/>
                        <a:pt x="123906" y="262509"/>
                      </a:cubicBezTo>
                      <a:cubicBezTo>
                        <a:pt x="142194" y="270986"/>
                        <a:pt x="151052" y="248793"/>
                        <a:pt x="148671" y="244221"/>
                      </a:cubicBezTo>
                      <a:cubicBezTo>
                        <a:pt x="146290" y="239649"/>
                        <a:pt x="149528" y="221932"/>
                        <a:pt x="149528" y="221932"/>
                      </a:cubicBezTo>
                      <a:cubicBezTo>
                        <a:pt x="155053" y="202882"/>
                        <a:pt x="147147" y="141256"/>
                        <a:pt x="147147" y="141256"/>
                      </a:cubicBezTo>
                      <a:cubicBezTo>
                        <a:pt x="140480" y="90869"/>
                        <a:pt x="149338" y="96774"/>
                        <a:pt x="149338" y="96774"/>
                      </a:cubicBezTo>
                      <a:lnTo>
                        <a:pt x="234492" y="86201"/>
                      </a:lnTo>
                      <a:cubicBezTo>
                        <a:pt x="242016" y="77248"/>
                        <a:pt x="241540" y="67246"/>
                        <a:pt x="241540" y="67246"/>
                      </a:cubicBezTo>
                      <a:cubicBezTo>
                        <a:pt x="226110" y="35719"/>
                        <a:pt x="188771" y="58579"/>
                        <a:pt x="188771" y="5857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</p:grpSp>
          <p:grpSp>
            <p:nvGrpSpPr>
              <p:cNvPr id="14" name="图形 7">
                <a:extLst>
                  <a:ext uri="{FF2B5EF4-FFF2-40B4-BE49-F238E27FC236}">
                    <a16:creationId xmlns:a16="http://schemas.microsoft.com/office/drawing/2014/main" id="{DAAD4247-A847-44D2-8570-181A5599C419}"/>
                  </a:ext>
                </a:extLst>
              </p:cNvPr>
              <p:cNvGrpSpPr/>
              <p:nvPr/>
            </p:nvGrpSpPr>
            <p:grpSpPr>
              <a:xfrm>
                <a:off x="1848485" y="7538180"/>
                <a:ext cx="3473005" cy="102684"/>
                <a:chOff x="1848485" y="7538180"/>
                <a:chExt cx="3473005" cy="102684"/>
              </a:xfrm>
              <a:grpFill/>
            </p:grpSpPr>
            <p:sp>
              <p:nvSpPr>
                <p:cNvPr id="15" name="任意多边形: 形状 14">
                  <a:extLst>
                    <a:ext uri="{FF2B5EF4-FFF2-40B4-BE49-F238E27FC236}">
                      <a16:creationId xmlns:a16="http://schemas.microsoft.com/office/drawing/2014/main" id="{F2A68D82-19E2-4347-BFCA-496C8E4F0BF3}"/>
                    </a:ext>
                  </a:extLst>
                </p:cNvPr>
                <p:cNvSpPr/>
                <p:nvPr/>
              </p:nvSpPr>
              <p:spPr>
                <a:xfrm>
                  <a:off x="1848485" y="7540275"/>
                  <a:ext cx="64007" cy="99441"/>
                </a:xfrm>
                <a:custGeom>
                  <a:avLst/>
                  <a:gdLst>
                    <a:gd name="connsiteX0" fmla="*/ 0 w 64007"/>
                    <a:gd name="connsiteY0" fmla="*/ 99441 h 99441"/>
                    <a:gd name="connsiteX1" fmla="*/ 0 w 64007"/>
                    <a:gd name="connsiteY1" fmla="*/ 0 h 99441"/>
                    <a:gd name="connsiteX2" fmla="*/ 64008 w 64007"/>
                    <a:gd name="connsiteY2" fmla="*/ 0 h 99441"/>
                    <a:gd name="connsiteX3" fmla="*/ 64008 w 64007"/>
                    <a:gd name="connsiteY3" fmla="*/ 16669 h 99441"/>
                    <a:gd name="connsiteX4" fmla="*/ 20955 w 64007"/>
                    <a:gd name="connsiteY4" fmla="*/ 16669 h 99441"/>
                    <a:gd name="connsiteX5" fmla="*/ 20955 w 64007"/>
                    <a:gd name="connsiteY5" fmla="*/ 40291 h 99441"/>
                    <a:gd name="connsiteX6" fmla="*/ 61246 w 64007"/>
                    <a:gd name="connsiteY6" fmla="*/ 40291 h 99441"/>
                    <a:gd name="connsiteX7" fmla="*/ 61246 w 64007"/>
                    <a:gd name="connsiteY7" fmla="*/ 56959 h 99441"/>
                    <a:gd name="connsiteX8" fmla="*/ 20955 w 64007"/>
                    <a:gd name="connsiteY8" fmla="*/ 56959 h 99441"/>
                    <a:gd name="connsiteX9" fmla="*/ 20955 w 64007"/>
                    <a:gd name="connsiteY9" fmla="*/ 99441 h 99441"/>
                    <a:gd name="connsiteX10" fmla="*/ 0 w 64007"/>
                    <a:gd name="connsiteY10" fmla="*/ 99441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4007" h="99441">
                      <a:moveTo>
                        <a:pt x="0" y="99441"/>
                      </a:moveTo>
                      <a:lnTo>
                        <a:pt x="0" y="0"/>
                      </a:lnTo>
                      <a:lnTo>
                        <a:pt x="64008" y="0"/>
                      </a:lnTo>
                      <a:lnTo>
                        <a:pt x="64008" y="16669"/>
                      </a:lnTo>
                      <a:lnTo>
                        <a:pt x="20955" y="16669"/>
                      </a:lnTo>
                      <a:lnTo>
                        <a:pt x="20955" y="40291"/>
                      </a:lnTo>
                      <a:lnTo>
                        <a:pt x="61246" y="40291"/>
                      </a:lnTo>
                      <a:lnTo>
                        <a:pt x="61246" y="56959"/>
                      </a:lnTo>
                      <a:lnTo>
                        <a:pt x="20955" y="56959"/>
                      </a:lnTo>
                      <a:lnTo>
                        <a:pt x="20955" y="99441"/>
                      </a:lnTo>
                      <a:lnTo>
                        <a:pt x="0" y="9944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6" name="任意多边形: 形状 15">
                  <a:extLst>
                    <a:ext uri="{FF2B5EF4-FFF2-40B4-BE49-F238E27FC236}">
                      <a16:creationId xmlns:a16="http://schemas.microsoft.com/office/drawing/2014/main" id="{6965121F-8642-496C-A966-8C39CCB3DF8B}"/>
                    </a:ext>
                  </a:extLst>
                </p:cNvPr>
                <p:cNvSpPr/>
                <p:nvPr/>
              </p:nvSpPr>
              <p:spPr>
                <a:xfrm>
                  <a:off x="1925446" y="7540371"/>
                  <a:ext cx="86486" cy="100488"/>
                </a:xfrm>
                <a:custGeom>
                  <a:avLst/>
                  <a:gdLst>
                    <a:gd name="connsiteX0" fmla="*/ 86487 w 86486"/>
                    <a:gd name="connsiteY0" fmla="*/ 0 h 100488"/>
                    <a:gd name="connsiteX1" fmla="*/ 86487 w 86486"/>
                    <a:gd name="connsiteY1" fmla="*/ 62293 h 100488"/>
                    <a:gd name="connsiteX2" fmla="*/ 43529 w 86486"/>
                    <a:gd name="connsiteY2" fmla="*/ 100489 h 100488"/>
                    <a:gd name="connsiteX3" fmla="*/ 0 w 86486"/>
                    <a:gd name="connsiteY3" fmla="*/ 62293 h 100488"/>
                    <a:gd name="connsiteX4" fmla="*/ 0 w 86486"/>
                    <a:gd name="connsiteY4" fmla="*/ 0 h 100488"/>
                    <a:gd name="connsiteX5" fmla="*/ 21527 w 86486"/>
                    <a:gd name="connsiteY5" fmla="*/ 0 h 100488"/>
                    <a:gd name="connsiteX6" fmla="*/ 21527 w 86486"/>
                    <a:gd name="connsiteY6" fmla="*/ 54292 h 100488"/>
                    <a:gd name="connsiteX7" fmla="*/ 25813 w 86486"/>
                    <a:gd name="connsiteY7" fmla="*/ 78486 h 100488"/>
                    <a:gd name="connsiteX8" fmla="*/ 43529 w 86486"/>
                    <a:gd name="connsiteY8" fmla="*/ 86011 h 100488"/>
                    <a:gd name="connsiteX9" fmla="*/ 60674 w 86486"/>
                    <a:gd name="connsiteY9" fmla="*/ 78486 h 100488"/>
                    <a:gd name="connsiteX10" fmla="*/ 64960 w 86486"/>
                    <a:gd name="connsiteY10" fmla="*/ 54292 h 100488"/>
                    <a:gd name="connsiteX11" fmla="*/ 64960 w 86486"/>
                    <a:gd name="connsiteY11" fmla="*/ 0 h 100488"/>
                    <a:gd name="connsiteX12" fmla="*/ 86487 w 86486"/>
                    <a:gd name="connsiteY12" fmla="*/ 0 h 1004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6486" h="100488">
                      <a:moveTo>
                        <a:pt x="86487" y="0"/>
                      </a:moveTo>
                      <a:lnTo>
                        <a:pt x="86487" y="62293"/>
                      </a:lnTo>
                      <a:cubicBezTo>
                        <a:pt x="85439" y="87058"/>
                        <a:pt x="71057" y="99822"/>
                        <a:pt x="43529" y="100489"/>
                      </a:cubicBezTo>
                      <a:cubicBezTo>
                        <a:pt x="15240" y="99822"/>
                        <a:pt x="762" y="87058"/>
                        <a:pt x="0" y="62293"/>
                      </a:cubicBezTo>
                      <a:lnTo>
                        <a:pt x="0" y="0"/>
                      </a:lnTo>
                      <a:lnTo>
                        <a:pt x="21527" y="0"/>
                      </a:lnTo>
                      <a:lnTo>
                        <a:pt x="21527" y="54292"/>
                      </a:lnTo>
                      <a:cubicBezTo>
                        <a:pt x="21146" y="66103"/>
                        <a:pt x="22574" y="74200"/>
                        <a:pt x="25813" y="78486"/>
                      </a:cubicBezTo>
                      <a:cubicBezTo>
                        <a:pt x="29432" y="83534"/>
                        <a:pt x="35338" y="86011"/>
                        <a:pt x="43529" y="86011"/>
                      </a:cubicBezTo>
                      <a:cubicBezTo>
                        <a:pt x="51721" y="86011"/>
                        <a:pt x="57531" y="83534"/>
                        <a:pt x="60674" y="78486"/>
                      </a:cubicBezTo>
                      <a:cubicBezTo>
                        <a:pt x="63913" y="74200"/>
                        <a:pt x="65342" y="66199"/>
                        <a:pt x="64960" y="54292"/>
                      </a:cubicBezTo>
                      <a:lnTo>
                        <a:pt x="64960" y="0"/>
                      </a:lnTo>
                      <a:lnTo>
                        <a:pt x="86487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7" name="任意多边形: 形状 16">
                  <a:extLst>
                    <a:ext uri="{FF2B5EF4-FFF2-40B4-BE49-F238E27FC236}">
                      <a16:creationId xmlns:a16="http://schemas.microsoft.com/office/drawing/2014/main" id="{CF45B0A9-1B70-40FA-BEE4-002585CF632C}"/>
                    </a:ext>
                  </a:extLst>
                </p:cNvPr>
                <p:cNvSpPr/>
                <p:nvPr/>
              </p:nvSpPr>
              <p:spPr>
                <a:xfrm>
                  <a:off x="2023173" y="7540275"/>
                  <a:ext cx="66675" cy="100589"/>
                </a:xfrm>
                <a:custGeom>
                  <a:avLst/>
                  <a:gdLst>
                    <a:gd name="connsiteX0" fmla="*/ 66675 w 66675"/>
                    <a:gd name="connsiteY0" fmla="*/ 95 h 100589"/>
                    <a:gd name="connsiteX1" fmla="*/ 66675 w 66675"/>
                    <a:gd name="connsiteY1" fmla="*/ 66675 h 100589"/>
                    <a:gd name="connsiteX2" fmla="*/ 33338 w 66675"/>
                    <a:gd name="connsiteY2" fmla="*/ 100584 h 100589"/>
                    <a:gd name="connsiteX3" fmla="*/ 0 w 66675"/>
                    <a:gd name="connsiteY3" fmla="*/ 67723 h 100589"/>
                    <a:gd name="connsiteX4" fmla="*/ 21527 w 66675"/>
                    <a:gd name="connsiteY4" fmla="*/ 67723 h 100589"/>
                    <a:gd name="connsiteX5" fmla="*/ 33338 w 66675"/>
                    <a:gd name="connsiteY5" fmla="*/ 86011 h 100589"/>
                    <a:gd name="connsiteX6" fmla="*/ 45720 w 66675"/>
                    <a:gd name="connsiteY6" fmla="*/ 67723 h 100589"/>
                    <a:gd name="connsiteX7" fmla="*/ 45720 w 66675"/>
                    <a:gd name="connsiteY7" fmla="*/ 66104 h 100589"/>
                    <a:gd name="connsiteX8" fmla="*/ 45720 w 66675"/>
                    <a:gd name="connsiteY8" fmla="*/ 0 h 100589"/>
                    <a:gd name="connsiteX9" fmla="*/ 66675 w 66675"/>
                    <a:gd name="connsiteY9" fmla="*/ 0 h 1005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6675" h="100589">
                      <a:moveTo>
                        <a:pt x="66675" y="95"/>
                      </a:moveTo>
                      <a:lnTo>
                        <a:pt x="66675" y="66675"/>
                      </a:lnTo>
                      <a:cubicBezTo>
                        <a:pt x="66294" y="88582"/>
                        <a:pt x="55150" y="99917"/>
                        <a:pt x="33338" y="100584"/>
                      </a:cubicBezTo>
                      <a:cubicBezTo>
                        <a:pt x="12192" y="100870"/>
                        <a:pt x="1048" y="90011"/>
                        <a:pt x="0" y="67723"/>
                      </a:cubicBezTo>
                      <a:lnTo>
                        <a:pt x="21527" y="67723"/>
                      </a:lnTo>
                      <a:cubicBezTo>
                        <a:pt x="21527" y="79915"/>
                        <a:pt x="25527" y="86011"/>
                        <a:pt x="33338" y="86011"/>
                      </a:cubicBezTo>
                      <a:cubicBezTo>
                        <a:pt x="40577" y="86011"/>
                        <a:pt x="44672" y="79915"/>
                        <a:pt x="45720" y="67723"/>
                      </a:cubicBezTo>
                      <a:cubicBezTo>
                        <a:pt x="45720" y="67056"/>
                        <a:pt x="45720" y="66484"/>
                        <a:pt x="45720" y="66104"/>
                      </a:cubicBezTo>
                      <a:lnTo>
                        <a:pt x="45720" y="0"/>
                      </a:lnTo>
                      <a:lnTo>
                        <a:pt x="66675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8" name="任意多边形: 形状 17">
                  <a:extLst>
                    <a:ext uri="{FF2B5EF4-FFF2-40B4-BE49-F238E27FC236}">
                      <a16:creationId xmlns:a16="http://schemas.microsoft.com/office/drawing/2014/main" id="{C65FA1D5-5028-4B4E-A2F5-59CF2A91C73C}"/>
                    </a:ext>
                  </a:extLst>
                </p:cNvPr>
                <p:cNvSpPr/>
                <p:nvPr/>
              </p:nvSpPr>
              <p:spPr>
                <a:xfrm>
                  <a:off x="2106993" y="7540275"/>
                  <a:ext cx="21526" cy="99441"/>
                </a:xfrm>
                <a:custGeom>
                  <a:avLst/>
                  <a:gdLst>
                    <a:gd name="connsiteX0" fmla="*/ 21526 w 21526"/>
                    <a:gd name="connsiteY0" fmla="*/ 99441 h 99441"/>
                    <a:gd name="connsiteX1" fmla="*/ 0 w 21526"/>
                    <a:gd name="connsiteY1" fmla="*/ 99441 h 99441"/>
                    <a:gd name="connsiteX2" fmla="*/ 0 w 21526"/>
                    <a:gd name="connsiteY2" fmla="*/ 0 h 99441"/>
                    <a:gd name="connsiteX3" fmla="*/ 21526 w 21526"/>
                    <a:gd name="connsiteY3" fmla="*/ 0 h 99441"/>
                    <a:gd name="connsiteX4" fmla="*/ 21526 w 21526"/>
                    <a:gd name="connsiteY4" fmla="*/ 99441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526" h="99441">
                      <a:moveTo>
                        <a:pt x="21526" y="99441"/>
                      </a:move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21526" y="0"/>
                      </a:lnTo>
                      <a:lnTo>
                        <a:pt x="21526" y="9944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9" name="任意多边形: 形状 18">
                  <a:extLst>
                    <a:ext uri="{FF2B5EF4-FFF2-40B4-BE49-F238E27FC236}">
                      <a16:creationId xmlns:a16="http://schemas.microsoft.com/office/drawing/2014/main" id="{BC22BDDA-F8B6-4359-B99A-F02040862E02}"/>
                    </a:ext>
                  </a:extLst>
                </p:cNvPr>
                <p:cNvSpPr/>
                <p:nvPr/>
              </p:nvSpPr>
              <p:spPr>
                <a:xfrm>
                  <a:off x="2138140" y="7540275"/>
                  <a:ext cx="96202" cy="99441"/>
                </a:xfrm>
                <a:custGeom>
                  <a:avLst/>
                  <a:gdLst>
                    <a:gd name="connsiteX0" fmla="*/ 0 w 96202"/>
                    <a:gd name="connsiteY0" fmla="*/ 99441 h 99441"/>
                    <a:gd name="connsiteX1" fmla="*/ 36004 w 96202"/>
                    <a:gd name="connsiteY1" fmla="*/ 0 h 99441"/>
                    <a:gd name="connsiteX2" fmla="*/ 61246 w 96202"/>
                    <a:gd name="connsiteY2" fmla="*/ 0 h 99441"/>
                    <a:gd name="connsiteX3" fmla="*/ 96202 w 96202"/>
                    <a:gd name="connsiteY3" fmla="*/ 99441 h 99441"/>
                    <a:gd name="connsiteX4" fmla="*/ 74676 w 96202"/>
                    <a:gd name="connsiteY4" fmla="*/ 99441 h 99441"/>
                    <a:gd name="connsiteX5" fmla="*/ 67151 w 96202"/>
                    <a:gd name="connsiteY5" fmla="*/ 78486 h 99441"/>
                    <a:gd name="connsiteX6" fmla="*/ 27908 w 96202"/>
                    <a:gd name="connsiteY6" fmla="*/ 78486 h 99441"/>
                    <a:gd name="connsiteX7" fmla="*/ 20383 w 96202"/>
                    <a:gd name="connsiteY7" fmla="*/ 99441 h 99441"/>
                    <a:gd name="connsiteX8" fmla="*/ 0 w 96202"/>
                    <a:gd name="connsiteY8" fmla="*/ 99441 h 99441"/>
                    <a:gd name="connsiteX9" fmla="*/ 61913 w 96202"/>
                    <a:gd name="connsiteY9" fmla="*/ 61913 h 99441"/>
                    <a:gd name="connsiteX10" fmla="*/ 48482 w 96202"/>
                    <a:gd name="connsiteY10" fmla="*/ 19431 h 99441"/>
                    <a:gd name="connsiteX11" fmla="*/ 47911 w 96202"/>
                    <a:gd name="connsiteY11" fmla="*/ 19431 h 99441"/>
                    <a:gd name="connsiteX12" fmla="*/ 33433 w 96202"/>
                    <a:gd name="connsiteY12" fmla="*/ 61913 h 99441"/>
                    <a:gd name="connsiteX13" fmla="*/ 61913 w 96202"/>
                    <a:gd name="connsiteY13" fmla="*/ 61913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96202" h="99441">
                      <a:moveTo>
                        <a:pt x="0" y="99441"/>
                      </a:moveTo>
                      <a:lnTo>
                        <a:pt x="36004" y="0"/>
                      </a:lnTo>
                      <a:lnTo>
                        <a:pt x="61246" y="0"/>
                      </a:lnTo>
                      <a:lnTo>
                        <a:pt x="96202" y="99441"/>
                      </a:lnTo>
                      <a:lnTo>
                        <a:pt x="74676" y="99441"/>
                      </a:lnTo>
                      <a:lnTo>
                        <a:pt x="67151" y="78486"/>
                      </a:lnTo>
                      <a:lnTo>
                        <a:pt x="27908" y="78486"/>
                      </a:lnTo>
                      <a:lnTo>
                        <a:pt x="20383" y="99441"/>
                      </a:lnTo>
                      <a:lnTo>
                        <a:pt x="0" y="99441"/>
                      </a:lnTo>
                      <a:close/>
                      <a:moveTo>
                        <a:pt x="61913" y="61913"/>
                      </a:moveTo>
                      <a:lnTo>
                        <a:pt x="48482" y="19431"/>
                      </a:lnTo>
                      <a:lnTo>
                        <a:pt x="47911" y="19431"/>
                      </a:lnTo>
                      <a:lnTo>
                        <a:pt x="33433" y="61913"/>
                      </a:lnTo>
                      <a:lnTo>
                        <a:pt x="61913" y="61913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20" name="任意多边形: 形状 19">
                  <a:extLst>
                    <a:ext uri="{FF2B5EF4-FFF2-40B4-BE49-F238E27FC236}">
                      <a16:creationId xmlns:a16="http://schemas.microsoft.com/office/drawing/2014/main" id="{05D0AF2F-B753-42AA-9EFF-4841053FE68D}"/>
                    </a:ext>
                  </a:extLst>
                </p:cNvPr>
                <p:cNvSpPr/>
                <p:nvPr/>
              </p:nvSpPr>
              <p:spPr>
                <a:xfrm>
                  <a:off x="2244629" y="7540275"/>
                  <a:ext cx="89725" cy="99441"/>
                </a:xfrm>
                <a:custGeom>
                  <a:avLst/>
                  <a:gdLst>
                    <a:gd name="connsiteX0" fmla="*/ 59055 w 89725"/>
                    <a:gd name="connsiteY0" fmla="*/ 99441 h 99441"/>
                    <a:gd name="connsiteX1" fmla="*/ 20383 w 89725"/>
                    <a:gd name="connsiteY1" fmla="*/ 16669 h 99441"/>
                    <a:gd name="connsiteX2" fmla="*/ 19812 w 89725"/>
                    <a:gd name="connsiteY2" fmla="*/ 17240 h 99441"/>
                    <a:gd name="connsiteX3" fmla="*/ 19812 w 89725"/>
                    <a:gd name="connsiteY3" fmla="*/ 99441 h 99441"/>
                    <a:gd name="connsiteX4" fmla="*/ 0 w 89725"/>
                    <a:gd name="connsiteY4" fmla="*/ 99441 h 99441"/>
                    <a:gd name="connsiteX5" fmla="*/ 0 w 89725"/>
                    <a:gd name="connsiteY5" fmla="*/ 0 h 99441"/>
                    <a:gd name="connsiteX6" fmla="*/ 31718 w 89725"/>
                    <a:gd name="connsiteY6" fmla="*/ 0 h 99441"/>
                    <a:gd name="connsiteX7" fmla="*/ 69342 w 89725"/>
                    <a:gd name="connsiteY7" fmla="*/ 78391 h 99441"/>
                    <a:gd name="connsiteX8" fmla="*/ 69818 w 89725"/>
                    <a:gd name="connsiteY8" fmla="*/ 77914 h 99441"/>
                    <a:gd name="connsiteX9" fmla="*/ 69818 w 89725"/>
                    <a:gd name="connsiteY9" fmla="*/ 0 h 99441"/>
                    <a:gd name="connsiteX10" fmla="*/ 89725 w 89725"/>
                    <a:gd name="connsiteY10" fmla="*/ 0 h 99441"/>
                    <a:gd name="connsiteX11" fmla="*/ 89725 w 89725"/>
                    <a:gd name="connsiteY11" fmla="*/ 99441 h 99441"/>
                    <a:gd name="connsiteX12" fmla="*/ 59055 w 89725"/>
                    <a:gd name="connsiteY12" fmla="*/ 99441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9725" h="99441">
                      <a:moveTo>
                        <a:pt x="59055" y="99441"/>
                      </a:moveTo>
                      <a:lnTo>
                        <a:pt x="20383" y="16669"/>
                      </a:lnTo>
                      <a:lnTo>
                        <a:pt x="19812" y="17240"/>
                      </a:lnTo>
                      <a:lnTo>
                        <a:pt x="19812" y="99441"/>
                      </a:ln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31718" y="0"/>
                      </a:lnTo>
                      <a:lnTo>
                        <a:pt x="69342" y="78391"/>
                      </a:lnTo>
                      <a:lnTo>
                        <a:pt x="69818" y="77914"/>
                      </a:lnTo>
                      <a:lnTo>
                        <a:pt x="69818" y="0"/>
                      </a:lnTo>
                      <a:lnTo>
                        <a:pt x="89725" y="0"/>
                      </a:lnTo>
                      <a:lnTo>
                        <a:pt x="89725" y="99441"/>
                      </a:lnTo>
                      <a:lnTo>
                        <a:pt x="59055" y="9944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21" name="任意多边形: 形状 20">
                  <a:extLst>
                    <a:ext uri="{FF2B5EF4-FFF2-40B4-BE49-F238E27FC236}">
                      <a16:creationId xmlns:a16="http://schemas.microsoft.com/office/drawing/2014/main" id="{98B1C792-B336-444E-B64B-62414F5F5D62}"/>
                    </a:ext>
                  </a:extLst>
                </p:cNvPr>
                <p:cNvSpPr/>
                <p:nvPr/>
              </p:nvSpPr>
              <p:spPr>
                <a:xfrm>
                  <a:off x="2382170" y="7540275"/>
                  <a:ext cx="96202" cy="99441"/>
                </a:xfrm>
                <a:custGeom>
                  <a:avLst/>
                  <a:gdLst>
                    <a:gd name="connsiteX0" fmla="*/ 0 w 96202"/>
                    <a:gd name="connsiteY0" fmla="*/ 99441 h 99441"/>
                    <a:gd name="connsiteX1" fmla="*/ 36004 w 96202"/>
                    <a:gd name="connsiteY1" fmla="*/ 0 h 99441"/>
                    <a:gd name="connsiteX2" fmla="*/ 61246 w 96202"/>
                    <a:gd name="connsiteY2" fmla="*/ 0 h 99441"/>
                    <a:gd name="connsiteX3" fmla="*/ 96202 w 96202"/>
                    <a:gd name="connsiteY3" fmla="*/ 99441 h 99441"/>
                    <a:gd name="connsiteX4" fmla="*/ 74676 w 96202"/>
                    <a:gd name="connsiteY4" fmla="*/ 99441 h 99441"/>
                    <a:gd name="connsiteX5" fmla="*/ 67151 w 96202"/>
                    <a:gd name="connsiteY5" fmla="*/ 78486 h 99441"/>
                    <a:gd name="connsiteX6" fmla="*/ 27908 w 96202"/>
                    <a:gd name="connsiteY6" fmla="*/ 78486 h 99441"/>
                    <a:gd name="connsiteX7" fmla="*/ 20383 w 96202"/>
                    <a:gd name="connsiteY7" fmla="*/ 99441 h 99441"/>
                    <a:gd name="connsiteX8" fmla="*/ 0 w 96202"/>
                    <a:gd name="connsiteY8" fmla="*/ 99441 h 99441"/>
                    <a:gd name="connsiteX9" fmla="*/ 61817 w 96202"/>
                    <a:gd name="connsiteY9" fmla="*/ 61913 h 99441"/>
                    <a:gd name="connsiteX10" fmla="*/ 48387 w 96202"/>
                    <a:gd name="connsiteY10" fmla="*/ 19431 h 99441"/>
                    <a:gd name="connsiteX11" fmla="*/ 47911 w 96202"/>
                    <a:gd name="connsiteY11" fmla="*/ 19431 h 99441"/>
                    <a:gd name="connsiteX12" fmla="*/ 33433 w 96202"/>
                    <a:gd name="connsiteY12" fmla="*/ 61913 h 99441"/>
                    <a:gd name="connsiteX13" fmla="*/ 61817 w 96202"/>
                    <a:gd name="connsiteY13" fmla="*/ 61913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96202" h="99441">
                      <a:moveTo>
                        <a:pt x="0" y="99441"/>
                      </a:moveTo>
                      <a:lnTo>
                        <a:pt x="36004" y="0"/>
                      </a:lnTo>
                      <a:lnTo>
                        <a:pt x="61246" y="0"/>
                      </a:lnTo>
                      <a:lnTo>
                        <a:pt x="96202" y="99441"/>
                      </a:lnTo>
                      <a:lnTo>
                        <a:pt x="74676" y="99441"/>
                      </a:lnTo>
                      <a:lnTo>
                        <a:pt x="67151" y="78486"/>
                      </a:lnTo>
                      <a:lnTo>
                        <a:pt x="27908" y="78486"/>
                      </a:lnTo>
                      <a:lnTo>
                        <a:pt x="20383" y="99441"/>
                      </a:lnTo>
                      <a:lnTo>
                        <a:pt x="0" y="99441"/>
                      </a:lnTo>
                      <a:close/>
                      <a:moveTo>
                        <a:pt x="61817" y="61913"/>
                      </a:moveTo>
                      <a:lnTo>
                        <a:pt x="48387" y="19431"/>
                      </a:lnTo>
                      <a:lnTo>
                        <a:pt x="47911" y="19431"/>
                      </a:lnTo>
                      <a:lnTo>
                        <a:pt x="33433" y="61913"/>
                      </a:lnTo>
                      <a:lnTo>
                        <a:pt x="61817" y="61913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22" name="任意多边形: 形状 21">
                  <a:extLst>
                    <a:ext uri="{FF2B5EF4-FFF2-40B4-BE49-F238E27FC236}">
                      <a16:creationId xmlns:a16="http://schemas.microsoft.com/office/drawing/2014/main" id="{34092106-E192-4720-ACBB-1D98955A5B52}"/>
                    </a:ext>
                  </a:extLst>
                </p:cNvPr>
                <p:cNvSpPr/>
                <p:nvPr/>
              </p:nvSpPr>
              <p:spPr>
                <a:xfrm>
                  <a:off x="2484850" y="7538180"/>
                  <a:ext cx="92970" cy="102584"/>
                </a:xfrm>
                <a:custGeom>
                  <a:avLst/>
                  <a:gdLst>
                    <a:gd name="connsiteX0" fmla="*/ 51054 w 92970"/>
                    <a:gd name="connsiteY0" fmla="*/ 65056 h 102584"/>
                    <a:gd name="connsiteX1" fmla="*/ 51054 w 92970"/>
                    <a:gd name="connsiteY1" fmla="*/ 48387 h 102584"/>
                    <a:gd name="connsiteX2" fmla="*/ 91345 w 92970"/>
                    <a:gd name="connsiteY2" fmla="*/ 48387 h 102584"/>
                    <a:gd name="connsiteX3" fmla="*/ 91345 w 92970"/>
                    <a:gd name="connsiteY3" fmla="*/ 98393 h 102584"/>
                    <a:gd name="connsiteX4" fmla="*/ 69342 w 92970"/>
                    <a:gd name="connsiteY4" fmla="*/ 101537 h 102584"/>
                    <a:gd name="connsiteX5" fmla="*/ 46768 w 92970"/>
                    <a:gd name="connsiteY5" fmla="*/ 102584 h 102584"/>
                    <a:gd name="connsiteX6" fmla="*/ 0 w 92970"/>
                    <a:gd name="connsiteY6" fmla="*/ 52102 h 102584"/>
                    <a:gd name="connsiteX7" fmla="*/ 46768 w 92970"/>
                    <a:gd name="connsiteY7" fmla="*/ 0 h 102584"/>
                    <a:gd name="connsiteX8" fmla="*/ 92964 w 92970"/>
                    <a:gd name="connsiteY8" fmla="*/ 32290 h 102584"/>
                    <a:gd name="connsiteX9" fmla="*/ 70390 w 92970"/>
                    <a:gd name="connsiteY9" fmla="*/ 32290 h 102584"/>
                    <a:gd name="connsiteX10" fmla="*/ 50483 w 92970"/>
                    <a:gd name="connsiteY10" fmla="*/ 15621 h 102584"/>
                    <a:gd name="connsiteX11" fmla="*/ 22574 w 92970"/>
                    <a:gd name="connsiteY11" fmla="*/ 52102 h 102584"/>
                    <a:gd name="connsiteX12" fmla="*/ 50483 w 92970"/>
                    <a:gd name="connsiteY12" fmla="*/ 88106 h 102584"/>
                    <a:gd name="connsiteX13" fmla="*/ 69342 w 92970"/>
                    <a:gd name="connsiteY13" fmla="*/ 86011 h 102584"/>
                    <a:gd name="connsiteX14" fmla="*/ 70390 w 92970"/>
                    <a:gd name="connsiteY14" fmla="*/ 86011 h 102584"/>
                    <a:gd name="connsiteX15" fmla="*/ 70390 w 92970"/>
                    <a:gd name="connsiteY15" fmla="*/ 65056 h 102584"/>
                    <a:gd name="connsiteX16" fmla="*/ 51054 w 92970"/>
                    <a:gd name="connsiteY16" fmla="*/ 65056 h 102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92970" h="102584">
                      <a:moveTo>
                        <a:pt x="51054" y="65056"/>
                      </a:moveTo>
                      <a:lnTo>
                        <a:pt x="51054" y="48387"/>
                      </a:lnTo>
                      <a:lnTo>
                        <a:pt x="91345" y="48387"/>
                      </a:lnTo>
                      <a:lnTo>
                        <a:pt x="91345" y="98393"/>
                      </a:lnTo>
                      <a:cubicBezTo>
                        <a:pt x="84201" y="100489"/>
                        <a:pt x="76867" y="101537"/>
                        <a:pt x="69342" y="101537"/>
                      </a:cubicBezTo>
                      <a:cubicBezTo>
                        <a:pt x="63627" y="102298"/>
                        <a:pt x="56102" y="102584"/>
                        <a:pt x="46768" y="102584"/>
                      </a:cubicBezTo>
                      <a:cubicBezTo>
                        <a:pt x="16288" y="100870"/>
                        <a:pt x="762" y="84011"/>
                        <a:pt x="0" y="52102"/>
                      </a:cubicBezTo>
                      <a:cubicBezTo>
                        <a:pt x="667" y="19526"/>
                        <a:pt x="16288" y="2096"/>
                        <a:pt x="46768" y="0"/>
                      </a:cubicBezTo>
                      <a:cubicBezTo>
                        <a:pt x="77915" y="0"/>
                        <a:pt x="93345" y="10763"/>
                        <a:pt x="92964" y="32290"/>
                      </a:cubicBezTo>
                      <a:lnTo>
                        <a:pt x="70390" y="32290"/>
                      </a:lnTo>
                      <a:cubicBezTo>
                        <a:pt x="70390" y="21146"/>
                        <a:pt x="63722" y="15621"/>
                        <a:pt x="50483" y="15621"/>
                      </a:cubicBezTo>
                      <a:cubicBezTo>
                        <a:pt x="32194" y="16002"/>
                        <a:pt x="22955" y="28194"/>
                        <a:pt x="22574" y="52102"/>
                      </a:cubicBezTo>
                      <a:cubicBezTo>
                        <a:pt x="22860" y="75724"/>
                        <a:pt x="32194" y="87821"/>
                        <a:pt x="50483" y="88106"/>
                      </a:cubicBezTo>
                      <a:cubicBezTo>
                        <a:pt x="55912" y="88106"/>
                        <a:pt x="62103" y="87344"/>
                        <a:pt x="69342" y="86011"/>
                      </a:cubicBezTo>
                      <a:cubicBezTo>
                        <a:pt x="68961" y="86296"/>
                        <a:pt x="69342" y="86296"/>
                        <a:pt x="70390" y="86011"/>
                      </a:cubicBezTo>
                      <a:lnTo>
                        <a:pt x="70390" y="65056"/>
                      </a:lnTo>
                      <a:lnTo>
                        <a:pt x="51054" y="65056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23" name="任意多边形: 形状 22">
                  <a:extLst>
                    <a:ext uri="{FF2B5EF4-FFF2-40B4-BE49-F238E27FC236}">
                      <a16:creationId xmlns:a16="http://schemas.microsoft.com/office/drawing/2014/main" id="{F5AF8982-F00B-47B8-A8F4-8249D8F275EE}"/>
                    </a:ext>
                  </a:extLst>
                </p:cNvPr>
                <p:cNvSpPr/>
                <p:nvPr/>
              </p:nvSpPr>
              <p:spPr>
                <a:xfrm>
                  <a:off x="2594483" y="7540275"/>
                  <a:ext cx="80010" cy="99441"/>
                </a:xfrm>
                <a:custGeom>
                  <a:avLst/>
                  <a:gdLst>
                    <a:gd name="connsiteX0" fmla="*/ 21527 w 80010"/>
                    <a:gd name="connsiteY0" fmla="*/ 99441 h 99441"/>
                    <a:gd name="connsiteX1" fmla="*/ 0 w 80010"/>
                    <a:gd name="connsiteY1" fmla="*/ 99441 h 99441"/>
                    <a:gd name="connsiteX2" fmla="*/ 0 w 80010"/>
                    <a:gd name="connsiteY2" fmla="*/ 0 h 99441"/>
                    <a:gd name="connsiteX3" fmla="*/ 42481 w 80010"/>
                    <a:gd name="connsiteY3" fmla="*/ 0 h 99441"/>
                    <a:gd name="connsiteX4" fmla="*/ 76867 w 80010"/>
                    <a:gd name="connsiteY4" fmla="*/ 25813 h 99441"/>
                    <a:gd name="connsiteX5" fmla="*/ 56483 w 80010"/>
                    <a:gd name="connsiteY5" fmla="*/ 50006 h 99441"/>
                    <a:gd name="connsiteX6" fmla="*/ 56483 w 80010"/>
                    <a:gd name="connsiteY6" fmla="*/ 50578 h 99441"/>
                    <a:gd name="connsiteX7" fmla="*/ 74200 w 80010"/>
                    <a:gd name="connsiteY7" fmla="*/ 72580 h 99441"/>
                    <a:gd name="connsiteX8" fmla="*/ 74676 w 80010"/>
                    <a:gd name="connsiteY8" fmla="*/ 75819 h 99441"/>
                    <a:gd name="connsiteX9" fmla="*/ 80010 w 80010"/>
                    <a:gd name="connsiteY9" fmla="*/ 99441 h 99441"/>
                    <a:gd name="connsiteX10" fmla="*/ 56959 w 80010"/>
                    <a:gd name="connsiteY10" fmla="*/ 99441 h 99441"/>
                    <a:gd name="connsiteX11" fmla="*/ 53150 w 80010"/>
                    <a:gd name="connsiteY11" fmla="*/ 72580 h 99441"/>
                    <a:gd name="connsiteX12" fmla="*/ 44005 w 80010"/>
                    <a:gd name="connsiteY12" fmla="*/ 59722 h 99441"/>
                    <a:gd name="connsiteX13" fmla="*/ 21431 w 80010"/>
                    <a:gd name="connsiteY13" fmla="*/ 59722 h 99441"/>
                    <a:gd name="connsiteX14" fmla="*/ 21431 w 80010"/>
                    <a:gd name="connsiteY14" fmla="*/ 99441 h 99441"/>
                    <a:gd name="connsiteX15" fmla="*/ 21527 w 80010"/>
                    <a:gd name="connsiteY15" fmla="*/ 43053 h 99441"/>
                    <a:gd name="connsiteX16" fmla="*/ 39243 w 80010"/>
                    <a:gd name="connsiteY16" fmla="*/ 43053 h 99441"/>
                    <a:gd name="connsiteX17" fmla="*/ 54292 w 80010"/>
                    <a:gd name="connsiteY17" fmla="*/ 29146 h 99441"/>
                    <a:gd name="connsiteX18" fmla="*/ 39243 w 80010"/>
                    <a:gd name="connsiteY18" fmla="*/ 16764 h 99441"/>
                    <a:gd name="connsiteX19" fmla="*/ 21527 w 80010"/>
                    <a:gd name="connsiteY19" fmla="*/ 16764 h 99441"/>
                    <a:gd name="connsiteX20" fmla="*/ 21527 w 80010"/>
                    <a:gd name="connsiteY20" fmla="*/ 43053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0010" h="99441">
                      <a:moveTo>
                        <a:pt x="21527" y="99441"/>
                      </a:move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42481" y="0"/>
                      </a:lnTo>
                      <a:cubicBezTo>
                        <a:pt x="65056" y="381"/>
                        <a:pt x="76486" y="8954"/>
                        <a:pt x="76867" y="25813"/>
                      </a:cubicBezTo>
                      <a:cubicBezTo>
                        <a:pt x="76486" y="38671"/>
                        <a:pt x="69723" y="46768"/>
                        <a:pt x="56483" y="50006"/>
                      </a:cubicBezTo>
                      <a:lnTo>
                        <a:pt x="56483" y="50578"/>
                      </a:lnTo>
                      <a:cubicBezTo>
                        <a:pt x="67627" y="50959"/>
                        <a:pt x="73438" y="58293"/>
                        <a:pt x="74200" y="72580"/>
                      </a:cubicBezTo>
                      <a:cubicBezTo>
                        <a:pt x="74581" y="74009"/>
                        <a:pt x="74676" y="75152"/>
                        <a:pt x="74676" y="75819"/>
                      </a:cubicBezTo>
                      <a:cubicBezTo>
                        <a:pt x="75724" y="87630"/>
                        <a:pt x="77533" y="95536"/>
                        <a:pt x="80010" y="99441"/>
                      </a:cubicBezTo>
                      <a:lnTo>
                        <a:pt x="56959" y="99441"/>
                      </a:lnTo>
                      <a:cubicBezTo>
                        <a:pt x="54769" y="90869"/>
                        <a:pt x="53530" y="81915"/>
                        <a:pt x="53150" y="72580"/>
                      </a:cubicBezTo>
                      <a:cubicBezTo>
                        <a:pt x="52388" y="63913"/>
                        <a:pt x="49340" y="59722"/>
                        <a:pt x="44005" y="59722"/>
                      </a:cubicBezTo>
                      <a:lnTo>
                        <a:pt x="21431" y="59722"/>
                      </a:lnTo>
                      <a:lnTo>
                        <a:pt x="21431" y="99441"/>
                      </a:lnTo>
                      <a:close/>
                      <a:moveTo>
                        <a:pt x="21527" y="43053"/>
                      </a:moveTo>
                      <a:lnTo>
                        <a:pt x="39243" y="43053"/>
                      </a:lnTo>
                      <a:cubicBezTo>
                        <a:pt x="49244" y="43053"/>
                        <a:pt x="54292" y="38481"/>
                        <a:pt x="54292" y="29146"/>
                      </a:cubicBezTo>
                      <a:cubicBezTo>
                        <a:pt x="54292" y="20574"/>
                        <a:pt x="49244" y="16478"/>
                        <a:pt x="39243" y="16764"/>
                      </a:cubicBezTo>
                      <a:lnTo>
                        <a:pt x="21527" y="16764"/>
                      </a:lnTo>
                      <a:lnTo>
                        <a:pt x="21527" y="43053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24" name="任意多边形: 形状 23">
                  <a:extLst>
                    <a:ext uri="{FF2B5EF4-FFF2-40B4-BE49-F238E27FC236}">
                      <a16:creationId xmlns:a16="http://schemas.microsoft.com/office/drawing/2014/main" id="{9DC0238E-137A-4560-80B3-4C6E774F5587}"/>
                    </a:ext>
                  </a:extLst>
                </p:cNvPr>
                <p:cNvSpPr/>
                <p:nvPr/>
              </p:nvSpPr>
              <p:spPr>
                <a:xfrm>
                  <a:off x="2686399" y="7540275"/>
                  <a:ext cx="21431" cy="99441"/>
                </a:xfrm>
                <a:custGeom>
                  <a:avLst/>
                  <a:gdLst>
                    <a:gd name="connsiteX0" fmla="*/ 21431 w 21431"/>
                    <a:gd name="connsiteY0" fmla="*/ 99441 h 99441"/>
                    <a:gd name="connsiteX1" fmla="*/ 0 w 21431"/>
                    <a:gd name="connsiteY1" fmla="*/ 99441 h 99441"/>
                    <a:gd name="connsiteX2" fmla="*/ 0 w 21431"/>
                    <a:gd name="connsiteY2" fmla="*/ 0 h 99441"/>
                    <a:gd name="connsiteX3" fmla="*/ 21431 w 21431"/>
                    <a:gd name="connsiteY3" fmla="*/ 0 h 99441"/>
                    <a:gd name="connsiteX4" fmla="*/ 21431 w 21431"/>
                    <a:gd name="connsiteY4" fmla="*/ 99441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431" h="99441">
                      <a:moveTo>
                        <a:pt x="21431" y="99441"/>
                      </a:move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21431" y="0"/>
                      </a:lnTo>
                      <a:lnTo>
                        <a:pt x="21431" y="9944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25" name="任意多边形: 形状 24">
                  <a:extLst>
                    <a:ext uri="{FF2B5EF4-FFF2-40B4-BE49-F238E27FC236}">
                      <a16:creationId xmlns:a16="http://schemas.microsoft.com/office/drawing/2014/main" id="{F26312A4-ED2A-4907-8DAC-FE357B862A2F}"/>
                    </a:ext>
                  </a:extLst>
                </p:cNvPr>
                <p:cNvSpPr/>
                <p:nvPr/>
              </p:nvSpPr>
              <p:spPr>
                <a:xfrm>
                  <a:off x="2720784" y="7538180"/>
                  <a:ext cx="83248" cy="102584"/>
                </a:xfrm>
                <a:custGeom>
                  <a:avLst/>
                  <a:gdLst>
                    <a:gd name="connsiteX0" fmla="*/ 60674 w 83248"/>
                    <a:gd name="connsiteY0" fmla="*/ 34385 h 102584"/>
                    <a:gd name="connsiteX1" fmla="*/ 41338 w 83248"/>
                    <a:gd name="connsiteY1" fmla="*/ 15621 h 102584"/>
                    <a:gd name="connsiteX2" fmla="*/ 22479 w 83248"/>
                    <a:gd name="connsiteY2" fmla="*/ 52102 h 102584"/>
                    <a:gd name="connsiteX3" fmla="*/ 41338 w 83248"/>
                    <a:gd name="connsiteY3" fmla="*/ 88106 h 102584"/>
                    <a:gd name="connsiteX4" fmla="*/ 60674 w 83248"/>
                    <a:gd name="connsiteY4" fmla="*/ 69247 h 102584"/>
                    <a:gd name="connsiteX5" fmla="*/ 83248 w 83248"/>
                    <a:gd name="connsiteY5" fmla="*/ 69247 h 102584"/>
                    <a:gd name="connsiteX6" fmla="*/ 41338 w 83248"/>
                    <a:gd name="connsiteY6" fmla="*/ 102584 h 102584"/>
                    <a:gd name="connsiteX7" fmla="*/ 0 w 83248"/>
                    <a:gd name="connsiteY7" fmla="*/ 52102 h 102584"/>
                    <a:gd name="connsiteX8" fmla="*/ 41338 w 83248"/>
                    <a:gd name="connsiteY8" fmla="*/ 0 h 102584"/>
                    <a:gd name="connsiteX9" fmla="*/ 83248 w 83248"/>
                    <a:gd name="connsiteY9" fmla="*/ 34385 h 102584"/>
                    <a:gd name="connsiteX10" fmla="*/ 60674 w 83248"/>
                    <a:gd name="connsiteY10" fmla="*/ 34385 h 102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83248" h="102584">
                      <a:moveTo>
                        <a:pt x="60674" y="34385"/>
                      </a:moveTo>
                      <a:cubicBezTo>
                        <a:pt x="60007" y="22288"/>
                        <a:pt x="53530" y="16002"/>
                        <a:pt x="41338" y="15621"/>
                      </a:cubicBezTo>
                      <a:cubicBezTo>
                        <a:pt x="29527" y="16383"/>
                        <a:pt x="23241" y="28480"/>
                        <a:pt x="22479" y="52102"/>
                      </a:cubicBezTo>
                      <a:cubicBezTo>
                        <a:pt x="23146" y="75438"/>
                        <a:pt x="29432" y="87344"/>
                        <a:pt x="41338" y="88106"/>
                      </a:cubicBezTo>
                      <a:cubicBezTo>
                        <a:pt x="53911" y="87821"/>
                        <a:pt x="60293" y="81534"/>
                        <a:pt x="60674" y="69247"/>
                      </a:cubicBezTo>
                      <a:lnTo>
                        <a:pt x="83248" y="69247"/>
                      </a:lnTo>
                      <a:cubicBezTo>
                        <a:pt x="82201" y="91154"/>
                        <a:pt x="68199" y="102203"/>
                        <a:pt x="41338" y="102584"/>
                      </a:cubicBezTo>
                      <a:cubicBezTo>
                        <a:pt x="14478" y="101917"/>
                        <a:pt x="667" y="84963"/>
                        <a:pt x="0" y="52102"/>
                      </a:cubicBezTo>
                      <a:cubicBezTo>
                        <a:pt x="1048" y="18479"/>
                        <a:pt x="14859" y="1048"/>
                        <a:pt x="41338" y="0"/>
                      </a:cubicBezTo>
                      <a:cubicBezTo>
                        <a:pt x="67913" y="381"/>
                        <a:pt x="81820" y="11811"/>
                        <a:pt x="83248" y="34385"/>
                      </a:cubicBezTo>
                      <a:lnTo>
                        <a:pt x="60674" y="34385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26" name="任意多边形: 形状 25">
                  <a:extLst>
                    <a:ext uri="{FF2B5EF4-FFF2-40B4-BE49-F238E27FC236}">
                      <a16:creationId xmlns:a16="http://schemas.microsoft.com/office/drawing/2014/main" id="{0ED9B8CE-8234-45C7-A140-FD2AF3398B75}"/>
                    </a:ext>
                  </a:extLst>
                </p:cNvPr>
                <p:cNvSpPr/>
                <p:nvPr/>
              </p:nvSpPr>
              <p:spPr>
                <a:xfrm>
                  <a:off x="2817463" y="7540371"/>
                  <a:ext cx="86582" cy="100488"/>
                </a:xfrm>
                <a:custGeom>
                  <a:avLst/>
                  <a:gdLst>
                    <a:gd name="connsiteX0" fmla="*/ 86582 w 86582"/>
                    <a:gd name="connsiteY0" fmla="*/ 0 h 100488"/>
                    <a:gd name="connsiteX1" fmla="*/ 86582 w 86582"/>
                    <a:gd name="connsiteY1" fmla="*/ 62293 h 100488"/>
                    <a:gd name="connsiteX2" fmla="*/ 43529 w 86582"/>
                    <a:gd name="connsiteY2" fmla="*/ 100489 h 100488"/>
                    <a:gd name="connsiteX3" fmla="*/ 0 w 86582"/>
                    <a:gd name="connsiteY3" fmla="*/ 62293 h 100488"/>
                    <a:gd name="connsiteX4" fmla="*/ 0 w 86582"/>
                    <a:gd name="connsiteY4" fmla="*/ 0 h 100488"/>
                    <a:gd name="connsiteX5" fmla="*/ 21527 w 86582"/>
                    <a:gd name="connsiteY5" fmla="*/ 0 h 100488"/>
                    <a:gd name="connsiteX6" fmla="*/ 21527 w 86582"/>
                    <a:gd name="connsiteY6" fmla="*/ 54292 h 100488"/>
                    <a:gd name="connsiteX7" fmla="*/ 25813 w 86582"/>
                    <a:gd name="connsiteY7" fmla="*/ 78486 h 100488"/>
                    <a:gd name="connsiteX8" fmla="*/ 43529 w 86582"/>
                    <a:gd name="connsiteY8" fmla="*/ 86011 h 100488"/>
                    <a:gd name="connsiteX9" fmla="*/ 60770 w 86582"/>
                    <a:gd name="connsiteY9" fmla="*/ 78486 h 100488"/>
                    <a:gd name="connsiteX10" fmla="*/ 65056 w 86582"/>
                    <a:gd name="connsiteY10" fmla="*/ 54292 h 100488"/>
                    <a:gd name="connsiteX11" fmla="*/ 65056 w 86582"/>
                    <a:gd name="connsiteY11" fmla="*/ 0 h 100488"/>
                    <a:gd name="connsiteX12" fmla="*/ 86582 w 86582"/>
                    <a:gd name="connsiteY12" fmla="*/ 0 h 1004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6582" h="100488">
                      <a:moveTo>
                        <a:pt x="86582" y="0"/>
                      </a:moveTo>
                      <a:lnTo>
                        <a:pt x="86582" y="62293"/>
                      </a:lnTo>
                      <a:cubicBezTo>
                        <a:pt x="85535" y="87058"/>
                        <a:pt x="71152" y="99822"/>
                        <a:pt x="43529" y="100489"/>
                      </a:cubicBezTo>
                      <a:cubicBezTo>
                        <a:pt x="15240" y="99822"/>
                        <a:pt x="762" y="87058"/>
                        <a:pt x="0" y="62293"/>
                      </a:cubicBezTo>
                      <a:lnTo>
                        <a:pt x="0" y="0"/>
                      </a:lnTo>
                      <a:lnTo>
                        <a:pt x="21527" y="0"/>
                      </a:lnTo>
                      <a:lnTo>
                        <a:pt x="21527" y="54292"/>
                      </a:lnTo>
                      <a:cubicBezTo>
                        <a:pt x="21146" y="66103"/>
                        <a:pt x="22574" y="74200"/>
                        <a:pt x="25813" y="78486"/>
                      </a:cubicBezTo>
                      <a:cubicBezTo>
                        <a:pt x="29432" y="83534"/>
                        <a:pt x="35338" y="86011"/>
                        <a:pt x="43529" y="86011"/>
                      </a:cubicBezTo>
                      <a:cubicBezTo>
                        <a:pt x="51816" y="86011"/>
                        <a:pt x="57531" y="83534"/>
                        <a:pt x="60770" y="78486"/>
                      </a:cubicBezTo>
                      <a:cubicBezTo>
                        <a:pt x="64008" y="74200"/>
                        <a:pt x="65437" y="66199"/>
                        <a:pt x="65056" y="54292"/>
                      </a:cubicBezTo>
                      <a:lnTo>
                        <a:pt x="65056" y="0"/>
                      </a:lnTo>
                      <a:lnTo>
                        <a:pt x="86582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27" name="任意多边形: 形状 26">
                  <a:extLst>
                    <a:ext uri="{FF2B5EF4-FFF2-40B4-BE49-F238E27FC236}">
                      <a16:creationId xmlns:a16="http://schemas.microsoft.com/office/drawing/2014/main" id="{6E9F6D1E-CEA6-484B-AEC3-D85FEEAF7C53}"/>
                    </a:ext>
                  </a:extLst>
                </p:cNvPr>
                <p:cNvSpPr/>
                <p:nvPr/>
              </p:nvSpPr>
              <p:spPr>
                <a:xfrm>
                  <a:off x="2923952" y="7540275"/>
                  <a:ext cx="63912" cy="99441"/>
                </a:xfrm>
                <a:custGeom>
                  <a:avLst/>
                  <a:gdLst>
                    <a:gd name="connsiteX0" fmla="*/ 0 w 63912"/>
                    <a:gd name="connsiteY0" fmla="*/ 99441 h 99441"/>
                    <a:gd name="connsiteX1" fmla="*/ 0 w 63912"/>
                    <a:gd name="connsiteY1" fmla="*/ 0 h 99441"/>
                    <a:gd name="connsiteX2" fmla="*/ 20955 w 63912"/>
                    <a:gd name="connsiteY2" fmla="*/ 0 h 99441"/>
                    <a:gd name="connsiteX3" fmla="*/ 20955 w 63912"/>
                    <a:gd name="connsiteY3" fmla="*/ 82772 h 99441"/>
                    <a:gd name="connsiteX4" fmla="*/ 63913 w 63912"/>
                    <a:gd name="connsiteY4" fmla="*/ 82772 h 99441"/>
                    <a:gd name="connsiteX5" fmla="*/ 63913 w 63912"/>
                    <a:gd name="connsiteY5" fmla="*/ 99441 h 99441"/>
                    <a:gd name="connsiteX6" fmla="*/ 0 w 63912"/>
                    <a:gd name="connsiteY6" fmla="*/ 99441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3912" h="99441">
                      <a:moveTo>
                        <a:pt x="0" y="99441"/>
                      </a:moveTo>
                      <a:lnTo>
                        <a:pt x="0" y="0"/>
                      </a:lnTo>
                      <a:lnTo>
                        <a:pt x="20955" y="0"/>
                      </a:lnTo>
                      <a:lnTo>
                        <a:pt x="20955" y="82772"/>
                      </a:lnTo>
                      <a:lnTo>
                        <a:pt x="63913" y="82772"/>
                      </a:lnTo>
                      <a:lnTo>
                        <a:pt x="63913" y="99441"/>
                      </a:lnTo>
                      <a:lnTo>
                        <a:pt x="0" y="9944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28" name="任意多边形: 形状 27">
                  <a:extLst>
                    <a:ext uri="{FF2B5EF4-FFF2-40B4-BE49-F238E27FC236}">
                      <a16:creationId xmlns:a16="http://schemas.microsoft.com/office/drawing/2014/main" id="{4B9B44AA-8642-481A-9593-F70FF4508658}"/>
                    </a:ext>
                  </a:extLst>
                </p:cNvPr>
                <p:cNvSpPr/>
                <p:nvPr/>
              </p:nvSpPr>
              <p:spPr>
                <a:xfrm>
                  <a:off x="2992151" y="7540371"/>
                  <a:ext cx="80581" cy="99440"/>
                </a:xfrm>
                <a:custGeom>
                  <a:avLst/>
                  <a:gdLst>
                    <a:gd name="connsiteX0" fmla="*/ 0 w 80581"/>
                    <a:gd name="connsiteY0" fmla="*/ 0 h 99440"/>
                    <a:gd name="connsiteX1" fmla="*/ 80581 w 80581"/>
                    <a:gd name="connsiteY1" fmla="*/ 0 h 99440"/>
                    <a:gd name="connsiteX2" fmla="*/ 80581 w 80581"/>
                    <a:gd name="connsiteY2" fmla="*/ 16669 h 99440"/>
                    <a:gd name="connsiteX3" fmla="*/ 51054 w 80581"/>
                    <a:gd name="connsiteY3" fmla="*/ 16669 h 99440"/>
                    <a:gd name="connsiteX4" fmla="*/ 51054 w 80581"/>
                    <a:gd name="connsiteY4" fmla="*/ 99441 h 99440"/>
                    <a:gd name="connsiteX5" fmla="*/ 29527 w 80581"/>
                    <a:gd name="connsiteY5" fmla="*/ 99441 h 99440"/>
                    <a:gd name="connsiteX6" fmla="*/ 29527 w 80581"/>
                    <a:gd name="connsiteY6" fmla="*/ 16669 h 99440"/>
                    <a:gd name="connsiteX7" fmla="*/ 0 w 80581"/>
                    <a:gd name="connsiteY7" fmla="*/ 16669 h 99440"/>
                    <a:gd name="connsiteX8" fmla="*/ 0 w 80581"/>
                    <a:gd name="connsiteY8" fmla="*/ 0 h 99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0581" h="99440">
                      <a:moveTo>
                        <a:pt x="0" y="0"/>
                      </a:moveTo>
                      <a:lnTo>
                        <a:pt x="80581" y="0"/>
                      </a:lnTo>
                      <a:lnTo>
                        <a:pt x="80581" y="16669"/>
                      </a:lnTo>
                      <a:lnTo>
                        <a:pt x="51054" y="16669"/>
                      </a:lnTo>
                      <a:lnTo>
                        <a:pt x="51054" y="99441"/>
                      </a:lnTo>
                      <a:lnTo>
                        <a:pt x="29527" y="99441"/>
                      </a:lnTo>
                      <a:lnTo>
                        <a:pt x="29527" y="16669"/>
                      </a:lnTo>
                      <a:lnTo>
                        <a:pt x="0" y="1666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29" name="任意多边形: 形状 28">
                  <a:extLst>
                    <a:ext uri="{FF2B5EF4-FFF2-40B4-BE49-F238E27FC236}">
                      <a16:creationId xmlns:a16="http://schemas.microsoft.com/office/drawing/2014/main" id="{B35FB817-5180-4275-B4E1-B6BB764F8475}"/>
                    </a:ext>
                  </a:extLst>
                </p:cNvPr>
                <p:cNvSpPr/>
                <p:nvPr/>
              </p:nvSpPr>
              <p:spPr>
                <a:xfrm>
                  <a:off x="3084639" y="7540371"/>
                  <a:ext cx="86487" cy="100488"/>
                </a:xfrm>
                <a:custGeom>
                  <a:avLst/>
                  <a:gdLst>
                    <a:gd name="connsiteX0" fmla="*/ 86487 w 86487"/>
                    <a:gd name="connsiteY0" fmla="*/ 0 h 100488"/>
                    <a:gd name="connsiteX1" fmla="*/ 86487 w 86487"/>
                    <a:gd name="connsiteY1" fmla="*/ 62293 h 100488"/>
                    <a:gd name="connsiteX2" fmla="*/ 43529 w 86487"/>
                    <a:gd name="connsiteY2" fmla="*/ 100489 h 100488"/>
                    <a:gd name="connsiteX3" fmla="*/ 0 w 86487"/>
                    <a:gd name="connsiteY3" fmla="*/ 62293 h 100488"/>
                    <a:gd name="connsiteX4" fmla="*/ 0 w 86487"/>
                    <a:gd name="connsiteY4" fmla="*/ 0 h 100488"/>
                    <a:gd name="connsiteX5" fmla="*/ 21527 w 86487"/>
                    <a:gd name="connsiteY5" fmla="*/ 0 h 100488"/>
                    <a:gd name="connsiteX6" fmla="*/ 21527 w 86487"/>
                    <a:gd name="connsiteY6" fmla="*/ 54292 h 100488"/>
                    <a:gd name="connsiteX7" fmla="*/ 25813 w 86487"/>
                    <a:gd name="connsiteY7" fmla="*/ 78486 h 100488"/>
                    <a:gd name="connsiteX8" fmla="*/ 43529 w 86487"/>
                    <a:gd name="connsiteY8" fmla="*/ 86011 h 100488"/>
                    <a:gd name="connsiteX9" fmla="*/ 60674 w 86487"/>
                    <a:gd name="connsiteY9" fmla="*/ 78486 h 100488"/>
                    <a:gd name="connsiteX10" fmla="*/ 64961 w 86487"/>
                    <a:gd name="connsiteY10" fmla="*/ 54292 h 100488"/>
                    <a:gd name="connsiteX11" fmla="*/ 64961 w 86487"/>
                    <a:gd name="connsiteY11" fmla="*/ 0 h 100488"/>
                    <a:gd name="connsiteX12" fmla="*/ 86487 w 86487"/>
                    <a:gd name="connsiteY12" fmla="*/ 0 h 1004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6487" h="100488">
                      <a:moveTo>
                        <a:pt x="86487" y="0"/>
                      </a:moveTo>
                      <a:lnTo>
                        <a:pt x="86487" y="62293"/>
                      </a:lnTo>
                      <a:cubicBezTo>
                        <a:pt x="85439" y="87058"/>
                        <a:pt x="71057" y="99822"/>
                        <a:pt x="43529" y="100489"/>
                      </a:cubicBezTo>
                      <a:cubicBezTo>
                        <a:pt x="15240" y="99822"/>
                        <a:pt x="762" y="87058"/>
                        <a:pt x="0" y="62293"/>
                      </a:cubicBezTo>
                      <a:lnTo>
                        <a:pt x="0" y="0"/>
                      </a:lnTo>
                      <a:lnTo>
                        <a:pt x="21527" y="0"/>
                      </a:lnTo>
                      <a:lnTo>
                        <a:pt x="21527" y="54292"/>
                      </a:lnTo>
                      <a:cubicBezTo>
                        <a:pt x="21146" y="66103"/>
                        <a:pt x="22574" y="74200"/>
                        <a:pt x="25813" y="78486"/>
                      </a:cubicBezTo>
                      <a:cubicBezTo>
                        <a:pt x="29432" y="83534"/>
                        <a:pt x="35338" y="86011"/>
                        <a:pt x="43529" y="86011"/>
                      </a:cubicBezTo>
                      <a:cubicBezTo>
                        <a:pt x="51721" y="86011"/>
                        <a:pt x="57436" y="83534"/>
                        <a:pt x="60674" y="78486"/>
                      </a:cubicBezTo>
                      <a:cubicBezTo>
                        <a:pt x="63913" y="74200"/>
                        <a:pt x="65342" y="66199"/>
                        <a:pt x="64961" y="54292"/>
                      </a:cubicBezTo>
                      <a:lnTo>
                        <a:pt x="64961" y="0"/>
                      </a:lnTo>
                      <a:lnTo>
                        <a:pt x="86487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30" name="任意多边形: 形状 29">
                  <a:extLst>
                    <a:ext uri="{FF2B5EF4-FFF2-40B4-BE49-F238E27FC236}">
                      <a16:creationId xmlns:a16="http://schemas.microsoft.com/office/drawing/2014/main" id="{68189878-5232-4617-89E2-DC3B5231B744}"/>
                    </a:ext>
                  </a:extLst>
                </p:cNvPr>
                <p:cNvSpPr/>
                <p:nvPr/>
              </p:nvSpPr>
              <p:spPr>
                <a:xfrm>
                  <a:off x="3189319" y="7540275"/>
                  <a:ext cx="80105" cy="99441"/>
                </a:xfrm>
                <a:custGeom>
                  <a:avLst/>
                  <a:gdLst>
                    <a:gd name="connsiteX0" fmla="*/ 21526 w 80105"/>
                    <a:gd name="connsiteY0" fmla="*/ 99441 h 99441"/>
                    <a:gd name="connsiteX1" fmla="*/ 0 w 80105"/>
                    <a:gd name="connsiteY1" fmla="*/ 99441 h 99441"/>
                    <a:gd name="connsiteX2" fmla="*/ 0 w 80105"/>
                    <a:gd name="connsiteY2" fmla="*/ 0 h 99441"/>
                    <a:gd name="connsiteX3" fmla="*/ 42482 w 80105"/>
                    <a:gd name="connsiteY3" fmla="*/ 0 h 99441"/>
                    <a:gd name="connsiteX4" fmla="*/ 76867 w 80105"/>
                    <a:gd name="connsiteY4" fmla="*/ 25813 h 99441"/>
                    <a:gd name="connsiteX5" fmla="*/ 56483 w 80105"/>
                    <a:gd name="connsiteY5" fmla="*/ 50006 h 99441"/>
                    <a:gd name="connsiteX6" fmla="*/ 56483 w 80105"/>
                    <a:gd name="connsiteY6" fmla="*/ 50578 h 99441"/>
                    <a:gd name="connsiteX7" fmla="*/ 74200 w 80105"/>
                    <a:gd name="connsiteY7" fmla="*/ 72580 h 99441"/>
                    <a:gd name="connsiteX8" fmla="*/ 74771 w 80105"/>
                    <a:gd name="connsiteY8" fmla="*/ 75819 h 99441"/>
                    <a:gd name="connsiteX9" fmla="*/ 80105 w 80105"/>
                    <a:gd name="connsiteY9" fmla="*/ 99441 h 99441"/>
                    <a:gd name="connsiteX10" fmla="*/ 57055 w 80105"/>
                    <a:gd name="connsiteY10" fmla="*/ 99441 h 99441"/>
                    <a:gd name="connsiteX11" fmla="*/ 53340 w 80105"/>
                    <a:gd name="connsiteY11" fmla="*/ 72580 h 99441"/>
                    <a:gd name="connsiteX12" fmla="*/ 44196 w 80105"/>
                    <a:gd name="connsiteY12" fmla="*/ 59722 h 99441"/>
                    <a:gd name="connsiteX13" fmla="*/ 21622 w 80105"/>
                    <a:gd name="connsiteY13" fmla="*/ 59722 h 99441"/>
                    <a:gd name="connsiteX14" fmla="*/ 21622 w 80105"/>
                    <a:gd name="connsiteY14" fmla="*/ 99441 h 99441"/>
                    <a:gd name="connsiteX15" fmla="*/ 21526 w 80105"/>
                    <a:gd name="connsiteY15" fmla="*/ 43053 h 99441"/>
                    <a:gd name="connsiteX16" fmla="*/ 39243 w 80105"/>
                    <a:gd name="connsiteY16" fmla="*/ 43053 h 99441"/>
                    <a:gd name="connsiteX17" fmla="*/ 54292 w 80105"/>
                    <a:gd name="connsiteY17" fmla="*/ 29146 h 99441"/>
                    <a:gd name="connsiteX18" fmla="*/ 39243 w 80105"/>
                    <a:gd name="connsiteY18" fmla="*/ 16764 h 99441"/>
                    <a:gd name="connsiteX19" fmla="*/ 21526 w 80105"/>
                    <a:gd name="connsiteY19" fmla="*/ 16764 h 99441"/>
                    <a:gd name="connsiteX20" fmla="*/ 21526 w 80105"/>
                    <a:gd name="connsiteY20" fmla="*/ 43053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0105" h="99441">
                      <a:moveTo>
                        <a:pt x="21526" y="99441"/>
                      </a:move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42482" y="0"/>
                      </a:lnTo>
                      <a:cubicBezTo>
                        <a:pt x="65056" y="381"/>
                        <a:pt x="76486" y="8954"/>
                        <a:pt x="76867" y="25813"/>
                      </a:cubicBezTo>
                      <a:cubicBezTo>
                        <a:pt x="76486" y="38671"/>
                        <a:pt x="69723" y="46768"/>
                        <a:pt x="56483" y="50006"/>
                      </a:cubicBezTo>
                      <a:lnTo>
                        <a:pt x="56483" y="50578"/>
                      </a:lnTo>
                      <a:cubicBezTo>
                        <a:pt x="67628" y="50959"/>
                        <a:pt x="73533" y="58293"/>
                        <a:pt x="74200" y="72580"/>
                      </a:cubicBezTo>
                      <a:cubicBezTo>
                        <a:pt x="74581" y="74009"/>
                        <a:pt x="74771" y="75152"/>
                        <a:pt x="74771" y="75819"/>
                      </a:cubicBezTo>
                      <a:cubicBezTo>
                        <a:pt x="75914" y="87630"/>
                        <a:pt x="77629" y="95536"/>
                        <a:pt x="80105" y="99441"/>
                      </a:cubicBezTo>
                      <a:lnTo>
                        <a:pt x="57055" y="99441"/>
                      </a:lnTo>
                      <a:cubicBezTo>
                        <a:pt x="54864" y="90869"/>
                        <a:pt x="53626" y="81915"/>
                        <a:pt x="53340" y="72580"/>
                      </a:cubicBezTo>
                      <a:cubicBezTo>
                        <a:pt x="52578" y="63913"/>
                        <a:pt x="49530" y="59722"/>
                        <a:pt x="44196" y="59722"/>
                      </a:cubicBezTo>
                      <a:lnTo>
                        <a:pt x="21622" y="59722"/>
                      </a:lnTo>
                      <a:lnTo>
                        <a:pt x="21622" y="99441"/>
                      </a:lnTo>
                      <a:close/>
                      <a:moveTo>
                        <a:pt x="21526" y="43053"/>
                      </a:moveTo>
                      <a:lnTo>
                        <a:pt x="39243" y="43053"/>
                      </a:lnTo>
                      <a:cubicBezTo>
                        <a:pt x="49340" y="43053"/>
                        <a:pt x="54292" y="38481"/>
                        <a:pt x="54292" y="29146"/>
                      </a:cubicBezTo>
                      <a:cubicBezTo>
                        <a:pt x="54292" y="20574"/>
                        <a:pt x="49244" y="16478"/>
                        <a:pt x="39243" y="16764"/>
                      </a:cubicBezTo>
                      <a:lnTo>
                        <a:pt x="21526" y="16764"/>
                      </a:lnTo>
                      <a:lnTo>
                        <a:pt x="21526" y="43053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31" name="任意多边形: 形状 30">
                  <a:extLst>
                    <a:ext uri="{FF2B5EF4-FFF2-40B4-BE49-F238E27FC236}">
                      <a16:creationId xmlns:a16="http://schemas.microsoft.com/office/drawing/2014/main" id="{B06F14D2-BA5B-4EAF-A4FB-5B34599A4583}"/>
                    </a:ext>
                  </a:extLst>
                </p:cNvPr>
                <p:cNvSpPr/>
                <p:nvPr/>
              </p:nvSpPr>
              <p:spPr>
                <a:xfrm>
                  <a:off x="3280663" y="7540371"/>
                  <a:ext cx="68294" cy="99345"/>
                </a:xfrm>
                <a:custGeom>
                  <a:avLst/>
                  <a:gdLst>
                    <a:gd name="connsiteX0" fmla="*/ 95 w 68294"/>
                    <a:gd name="connsiteY0" fmla="*/ 0 h 99345"/>
                    <a:gd name="connsiteX1" fmla="*/ 66675 w 68294"/>
                    <a:gd name="connsiteY1" fmla="*/ 0 h 99345"/>
                    <a:gd name="connsiteX2" fmla="*/ 66675 w 68294"/>
                    <a:gd name="connsiteY2" fmla="*/ 16669 h 99345"/>
                    <a:gd name="connsiteX3" fmla="*/ 21527 w 68294"/>
                    <a:gd name="connsiteY3" fmla="*/ 16669 h 99345"/>
                    <a:gd name="connsiteX4" fmla="*/ 21527 w 68294"/>
                    <a:gd name="connsiteY4" fmla="*/ 39719 h 99345"/>
                    <a:gd name="connsiteX5" fmla="*/ 63437 w 68294"/>
                    <a:gd name="connsiteY5" fmla="*/ 39719 h 99345"/>
                    <a:gd name="connsiteX6" fmla="*/ 63437 w 68294"/>
                    <a:gd name="connsiteY6" fmla="*/ 56388 h 99345"/>
                    <a:gd name="connsiteX7" fmla="*/ 21527 w 68294"/>
                    <a:gd name="connsiteY7" fmla="*/ 56388 h 99345"/>
                    <a:gd name="connsiteX8" fmla="*/ 21527 w 68294"/>
                    <a:gd name="connsiteY8" fmla="*/ 82677 h 99345"/>
                    <a:gd name="connsiteX9" fmla="*/ 68294 w 68294"/>
                    <a:gd name="connsiteY9" fmla="*/ 82677 h 99345"/>
                    <a:gd name="connsiteX10" fmla="*/ 68294 w 68294"/>
                    <a:gd name="connsiteY10" fmla="*/ 99346 h 99345"/>
                    <a:gd name="connsiteX11" fmla="*/ 0 w 68294"/>
                    <a:gd name="connsiteY11" fmla="*/ 99346 h 99345"/>
                    <a:gd name="connsiteX12" fmla="*/ 0 w 68294"/>
                    <a:gd name="connsiteY12" fmla="*/ 0 h 993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68294" h="99345">
                      <a:moveTo>
                        <a:pt x="95" y="0"/>
                      </a:moveTo>
                      <a:lnTo>
                        <a:pt x="66675" y="0"/>
                      </a:lnTo>
                      <a:lnTo>
                        <a:pt x="66675" y="16669"/>
                      </a:lnTo>
                      <a:lnTo>
                        <a:pt x="21527" y="16669"/>
                      </a:lnTo>
                      <a:lnTo>
                        <a:pt x="21527" y="39719"/>
                      </a:lnTo>
                      <a:lnTo>
                        <a:pt x="63437" y="39719"/>
                      </a:lnTo>
                      <a:lnTo>
                        <a:pt x="63437" y="56388"/>
                      </a:lnTo>
                      <a:lnTo>
                        <a:pt x="21527" y="56388"/>
                      </a:lnTo>
                      <a:lnTo>
                        <a:pt x="21527" y="82677"/>
                      </a:lnTo>
                      <a:lnTo>
                        <a:pt x="68294" y="82677"/>
                      </a:lnTo>
                      <a:lnTo>
                        <a:pt x="68294" y="99346"/>
                      </a:lnTo>
                      <a:lnTo>
                        <a:pt x="0" y="9934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32" name="任意多边形: 形状 31">
                  <a:extLst>
                    <a:ext uri="{FF2B5EF4-FFF2-40B4-BE49-F238E27FC236}">
                      <a16:creationId xmlns:a16="http://schemas.microsoft.com/office/drawing/2014/main" id="{D4285757-1962-4BE2-A53B-E5F41AEA7A29}"/>
                    </a:ext>
                  </a:extLst>
                </p:cNvPr>
                <p:cNvSpPr/>
                <p:nvPr/>
              </p:nvSpPr>
              <p:spPr>
                <a:xfrm>
                  <a:off x="3396297" y="7540275"/>
                  <a:ext cx="96202" cy="99441"/>
                </a:xfrm>
                <a:custGeom>
                  <a:avLst/>
                  <a:gdLst>
                    <a:gd name="connsiteX0" fmla="*/ 0 w 96202"/>
                    <a:gd name="connsiteY0" fmla="*/ 99441 h 99441"/>
                    <a:gd name="connsiteX1" fmla="*/ 36004 w 96202"/>
                    <a:gd name="connsiteY1" fmla="*/ 0 h 99441"/>
                    <a:gd name="connsiteX2" fmla="*/ 61246 w 96202"/>
                    <a:gd name="connsiteY2" fmla="*/ 0 h 99441"/>
                    <a:gd name="connsiteX3" fmla="*/ 96203 w 96202"/>
                    <a:gd name="connsiteY3" fmla="*/ 99441 h 99441"/>
                    <a:gd name="connsiteX4" fmla="*/ 74771 w 96202"/>
                    <a:gd name="connsiteY4" fmla="*/ 99441 h 99441"/>
                    <a:gd name="connsiteX5" fmla="*/ 67247 w 96202"/>
                    <a:gd name="connsiteY5" fmla="*/ 78486 h 99441"/>
                    <a:gd name="connsiteX6" fmla="*/ 28004 w 96202"/>
                    <a:gd name="connsiteY6" fmla="*/ 78486 h 99441"/>
                    <a:gd name="connsiteX7" fmla="*/ 20479 w 96202"/>
                    <a:gd name="connsiteY7" fmla="*/ 99441 h 99441"/>
                    <a:gd name="connsiteX8" fmla="*/ 0 w 96202"/>
                    <a:gd name="connsiteY8" fmla="*/ 99441 h 99441"/>
                    <a:gd name="connsiteX9" fmla="*/ 61817 w 96202"/>
                    <a:gd name="connsiteY9" fmla="*/ 61913 h 99441"/>
                    <a:gd name="connsiteX10" fmla="*/ 48387 w 96202"/>
                    <a:gd name="connsiteY10" fmla="*/ 19431 h 99441"/>
                    <a:gd name="connsiteX11" fmla="*/ 47816 w 96202"/>
                    <a:gd name="connsiteY11" fmla="*/ 19431 h 99441"/>
                    <a:gd name="connsiteX12" fmla="*/ 33338 w 96202"/>
                    <a:gd name="connsiteY12" fmla="*/ 61913 h 99441"/>
                    <a:gd name="connsiteX13" fmla="*/ 61817 w 96202"/>
                    <a:gd name="connsiteY13" fmla="*/ 61913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96202" h="99441">
                      <a:moveTo>
                        <a:pt x="0" y="99441"/>
                      </a:moveTo>
                      <a:lnTo>
                        <a:pt x="36004" y="0"/>
                      </a:lnTo>
                      <a:lnTo>
                        <a:pt x="61246" y="0"/>
                      </a:lnTo>
                      <a:lnTo>
                        <a:pt x="96203" y="99441"/>
                      </a:lnTo>
                      <a:lnTo>
                        <a:pt x="74771" y="99441"/>
                      </a:lnTo>
                      <a:lnTo>
                        <a:pt x="67247" y="78486"/>
                      </a:lnTo>
                      <a:lnTo>
                        <a:pt x="28004" y="78486"/>
                      </a:lnTo>
                      <a:lnTo>
                        <a:pt x="20479" y="99441"/>
                      </a:lnTo>
                      <a:lnTo>
                        <a:pt x="0" y="99441"/>
                      </a:lnTo>
                      <a:close/>
                      <a:moveTo>
                        <a:pt x="61817" y="61913"/>
                      </a:moveTo>
                      <a:lnTo>
                        <a:pt x="48387" y="19431"/>
                      </a:lnTo>
                      <a:lnTo>
                        <a:pt x="47816" y="19431"/>
                      </a:lnTo>
                      <a:lnTo>
                        <a:pt x="33338" y="61913"/>
                      </a:lnTo>
                      <a:lnTo>
                        <a:pt x="61817" y="61913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33" name="任意多边形: 形状 32">
                  <a:extLst>
                    <a:ext uri="{FF2B5EF4-FFF2-40B4-BE49-F238E27FC236}">
                      <a16:creationId xmlns:a16="http://schemas.microsoft.com/office/drawing/2014/main" id="{DC8509A9-8DAB-4B08-AE31-EDCE187CB835}"/>
                    </a:ext>
                  </a:extLst>
                </p:cNvPr>
                <p:cNvSpPr/>
                <p:nvPr/>
              </p:nvSpPr>
              <p:spPr>
                <a:xfrm>
                  <a:off x="3502787" y="7540275"/>
                  <a:ext cx="89725" cy="99441"/>
                </a:xfrm>
                <a:custGeom>
                  <a:avLst/>
                  <a:gdLst>
                    <a:gd name="connsiteX0" fmla="*/ 59055 w 89725"/>
                    <a:gd name="connsiteY0" fmla="*/ 99441 h 99441"/>
                    <a:gd name="connsiteX1" fmla="*/ 20383 w 89725"/>
                    <a:gd name="connsiteY1" fmla="*/ 16669 h 99441"/>
                    <a:gd name="connsiteX2" fmla="*/ 19907 w 89725"/>
                    <a:gd name="connsiteY2" fmla="*/ 17240 h 99441"/>
                    <a:gd name="connsiteX3" fmla="*/ 19907 w 89725"/>
                    <a:gd name="connsiteY3" fmla="*/ 99441 h 99441"/>
                    <a:gd name="connsiteX4" fmla="*/ 0 w 89725"/>
                    <a:gd name="connsiteY4" fmla="*/ 99441 h 99441"/>
                    <a:gd name="connsiteX5" fmla="*/ 0 w 89725"/>
                    <a:gd name="connsiteY5" fmla="*/ 0 h 99441"/>
                    <a:gd name="connsiteX6" fmla="*/ 31718 w 89725"/>
                    <a:gd name="connsiteY6" fmla="*/ 0 h 99441"/>
                    <a:gd name="connsiteX7" fmla="*/ 69342 w 89725"/>
                    <a:gd name="connsiteY7" fmla="*/ 78391 h 99441"/>
                    <a:gd name="connsiteX8" fmla="*/ 69818 w 89725"/>
                    <a:gd name="connsiteY8" fmla="*/ 77914 h 99441"/>
                    <a:gd name="connsiteX9" fmla="*/ 69818 w 89725"/>
                    <a:gd name="connsiteY9" fmla="*/ 0 h 99441"/>
                    <a:gd name="connsiteX10" fmla="*/ 89725 w 89725"/>
                    <a:gd name="connsiteY10" fmla="*/ 0 h 99441"/>
                    <a:gd name="connsiteX11" fmla="*/ 89725 w 89725"/>
                    <a:gd name="connsiteY11" fmla="*/ 99441 h 99441"/>
                    <a:gd name="connsiteX12" fmla="*/ 59055 w 89725"/>
                    <a:gd name="connsiteY12" fmla="*/ 99441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9725" h="99441">
                      <a:moveTo>
                        <a:pt x="59055" y="99441"/>
                      </a:moveTo>
                      <a:lnTo>
                        <a:pt x="20383" y="16669"/>
                      </a:lnTo>
                      <a:lnTo>
                        <a:pt x="19907" y="17240"/>
                      </a:lnTo>
                      <a:lnTo>
                        <a:pt x="19907" y="99441"/>
                      </a:ln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31718" y="0"/>
                      </a:lnTo>
                      <a:lnTo>
                        <a:pt x="69342" y="78391"/>
                      </a:lnTo>
                      <a:lnTo>
                        <a:pt x="69818" y="77914"/>
                      </a:lnTo>
                      <a:lnTo>
                        <a:pt x="69818" y="0"/>
                      </a:lnTo>
                      <a:lnTo>
                        <a:pt x="89725" y="0"/>
                      </a:lnTo>
                      <a:lnTo>
                        <a:pt x="89725" y="99441"/>
                      </a:lnTo>
                      <a:lnTo>
                        <a:pt x="59055" y="9944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34" name="任意多边形: 形状 33">
                  <a:extLst>
                    <a:ext uri="{FF2B5EF4-FFF2-40B4-BE49-F238E27FC236}">
                      <a16:creationId xmlns:a16="http://schemas.microsoft.com/office/drawing/2014/main" id="{4EA8B61A-BF58-4547-8403-1A32359468E1}"/>
                    </a:ext>
                  </a:extLst>
                </p:cNvPr>
                <p:cNvSpPr/>
                <p:nvPr/>
              </p:nvSpPr>
              <p:spPr>
                <a:xfrm>
                  <a:off x="3609657" y="7540371"/>
                  <a:ext cx="83820" cy="99440"/>
                </a:xfrm>
                <a:custGeom>
                  <a:avLst/>
                  <a:gdLst>
                    <a:gd name="connsiteX0" fmla="*/ 0 w 83820"/>
                    <a:gd name="connsiteY0" fmla="*/ 0 h 99440"/>
                    <a:gd name="connsiteX1" fmla="*/ 33814 w 83820"/>
                    <a:gd name="connsiteY1" fmla="*/ 0 h 99440"/>
                    <a:gd name="connsiteX2" fmla="*/ 83820 w 83820"/>
                    <a:gd name="connsiteY2" fmla="*/ 50006 h 99440"/>
                    <a:gd name="connsiteX3" fmla="*/ 33814 w 83820"/>
                    <a:gd name="connsiteY3" fmla="*/ 99441 h 99440"/>
                    <a:gd name="connsiteX4" fmla="*/ 0 w 83820"/>
                    <a:gd name="connsiteY4" fmla="*/ 99441 h 99440"/>
                    <a:gd name="connsiteX5" fmla="*/ 0 w 83820"/>
                    <a:gd name="connsiteY5" fmla="*/ 0 h 99440"/>
                    <a:gd name="connsiteX6" fmla="*/ 20955 w 83820"/>
                    <a:gd name="connsiteY6" fmla="*/ 82772 h 99440"/>
                    <a:gd name="connsiteX7" fmla="*/ 32290 w 83820"/>
                    <a:gd name="connsiteY7" fmla="*/ 82772 h 99440"/>
                    <a:gd name="connsiteX8" fmla="*/ 61341 w 83820"/>
                    <a:gd name="connsiteY8" fmla="*/ 49911 h 99440"/>
                    <a:gd name="connsiteX9" fmla="*/ 32290 w 83820"/>
                    <a:gd name="connsiteY9" fmla="*/ 16573 h 99440"/>
                    <a:gd name="connsiteX10" fmla="*/ 20955 w 83820"/>
                    <a:gd name="connsiteY10" fmla="*/ 16573 h 99440"/>
                    <a:gd name="connsiteX11" fmla="*/ 20955 w 83820"/>
                    <a:gd name="connsiteY11" fmla="*/ 82772 h 99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83820" h="99440">
                      <a:moveTo>
                        <a:pt x="0" y="0"/>
                      </a:moveTo>
                      <a:lnTo>
                        <a:pt x="33814" y="0"/>
                      </a:lnTo>
                      <a:cubicBezTo>
                        <a:pt x="66770" y="381"/>
                        <a:pt x="83439" y="17050"/>
                        <a:pt x="83820" y="50006"/>
                      </a:cubicBezTo>
                      <a:cubicBezTo>
                        <a:pt x="83439" y="82582"/>
                        <a:pt x="66770" y="99155"/>
                        <a:pt x="33814" y="99441"/>
                      </a:cubicBezTo>
                      <a:lnTo>
                        <a:pt x="0" y="99441"/>
                      </a:lnTo>
                      <a:lnTo>
                        <a:pt x="0" y="0"/>
                      </a:lnTo>
                      <a:close/>
                      <a:moveTo>
                        <a:pt x="20955" y="82772"/>
                      </a:moveTo>
                      <a:lnTo>
                        <a:pt x="32290" y="82772"/>
                      </a:lnTo>
                      <a:cubicBezTo>
                        <a:pt x="52006" y="83439"/>
                        <a:pt x="61627" y="72580"/>
                        <a:pt x="61341" y="49911"/>
                      </a:cubicBezTo>
                      <a:cubicBezTo>
                        <a:pt x="61627" y="27051"/>
                        <a:pt x="52006" y="15907"/>
                        <a:pt x="32290" y="16573"/>
                      </a:cubicBezTo>
                      <a:lnTo>
                        <a:pt x="20955" y="16573"/>
                      </a:lnTo>
                      <a:lnTo>
                        <a:pt x="20955" y="82772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35" name="任意多边形: 形状 34">
                  <a:extLst>
                    <a:ext uri="{FF2B5EF4-FFF2-40B4-BE49-F238E27FC236}">
                      <a16:creationId xmlns:a16="http://schemas.microsoft.com/office/drawing/2014/main" id="{79F78DA1-7A24-449F-9517-44CEFD04655C}"/>
                    </a:ext>
                  </a:extLst>
                </p:cNvPr>
                <p:cNvSpPr/>
                <p:nvPr/>
              </p:nvSpPr>
              <p:spPr>
                <a:xfrm>
                  <a:off x="3747293" y="7540275"/>
                  <a:ext cx="63912" cy="99441"/>
                </a:xfrm>
                <a:custGeom>
                  <a:avLst/>
                  <a:gdLst>
                    <a:gd name="connsiteX0" fmla="*/ 0 w 63912"/>
                    <a:gd name="connsiteY0" fmla="*/ 99441 h 99441"/>
                    <a:gd name="connsiteX1" fmla="*/ 0 w 63912"/>
                    <a:gd name="connsiteY1" fmla="*/ 0 h 99441"/>
                    <a:gd name="connsiteX2" fmla="*/ 63913 w 63912"/>
                    <a:gd name="connsiteY2" fmla="*/ 0 h 99441"/>
                    <a:gd name="connsiteX3" fmla="*/ 63913 w 63912"/>
                    <a:gd name="connsiteY3" fmla="*/ 16669 h 99441"/>
                    <a:gd name="connsiteX4" fmla="*/ 20955 w 63912"/>
                    <a:gd name="connsiteY4" fmla="*/ 16669 h 99441"/>
                    <a:gd name="connsiteX5" fmla="*/ 20955 w 63912"/>
                    <a:gd name="connsiteY5" fmla="*/ 40291 h 99441"/>
                    <a:gd name="connsiteX6" fmla="*/ 61246 w 63912"/>
                    <a:gd name="connsiteY6" fmla="*/ 40291 h 99441"/>
                    <a:gd name="connsiteX7" fmla="*/ 61246 w 63912"/>
                    <a:gd name="connsiteY7" fmla="*/ 56959 h 99441"/>
                    <a:gd name="connsiteX8" fmla="*/ 20955 w 63912"/>
                    <a:gd name="connsiteY8" fmla="*/ 56959 h 99441"/>
                    <a:gd name="connsiteX9" fmla="*/ 20955 w 63912"/>
                    <a:gd name="connsiteY9" fmla="*/ 99441 h 99441"/>
                    <a:gd name="connsiteX10" fmla="*/ 0 w 63912"/>
                    <a:gd name="connsiteY10" fmla="*/ 99441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3912" h="99441">
                      <a:moveTo>
                        <a:pt x="0" y="99441"/>
                      </a:moveTo>
                      <a:lnTo>
                        <a:pt x="0" y="0"/>
                      </a:lnTo>
                      <a:lnTo>
                        <a:pt x="63913" y="0"/>
                      </a:lnTo>
                      <a:lnTo>
                        <a:pt x="63913" y="16669"/>
                      </a:lnTo>
                      <a:lnTo>
                        <a:pt x="20955" y="16669"/>
                      </a:lnTo>
                      <a:lnTo>
                        <a:pt x="20955" y="40291"/>
                      </a:lnTo>
                      <a:lnTo>
                        <a:pt x="61246" y="40291"/>
                      </a:lnTo>
                      <a:lnTo>
                        <a:pt x="61246" y="56959"/>
                      </a:lnTo>
                      <a:lnTo>
                        <a:pt x="20955" y="56959"/>
                      </a:lnTo>
                      <a:lnTo>
                        <a:pt x="20955" y="99441"/>
                      </a:lnTo>
                      <a:lnTo>
                        <a:pt x="0" y="9944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36" name="任意多边形: 形状 35">
                  <a:extLst>
                    <a:ext uri="{FF2B5EF4-FFF2-40B4-BE49-F238E27FC236}">
                      <a16:creationId xmlns:a16="http://schemas.microsoft.com/office/drawing/2014/main" id="{A5574C4D-190A-45A9-85B6-8E5F332F2D6A}"/>
                    </a:ext>
                  </a:extLst>
                </p:cNvPr>
                <p:cNvSpPr/>
                <p:nvPr/>
              </p:nvSpPr>
              <p:spPr>
                <a:xfrm>
                  <a:off x="3819779" y="7538180"/>
                  <a:ext cx="95059" cy="102584"/>
                </a:xfrm>
                <a:custGeom>
                  <a:avLst/>
                  <a:gdLst>
                    <a:gd name="connsiteX0" fmla="*/ 0 w 95059"/>
                    <a:gd name="connsiteY0" fmla="*/ 52102 h 102584"/>
                    <a:gd name="connsiteX1" fmla="*/ 47816 w 95059"/>
                    <a:gd name="connsiteY1" fmla="*/ 0 h 102584"/>
                    <a:gd name="connsiteX2" fmla="*/ 95059 w 95059"/>
                    <a:gd name="connsiteY2" fmla="*/ 52102 h 102584"/>
                    <a:gd name="connsiteX3" fmla="*/ 47816 w 95059"/>
                    <a:gd name="connsiteY3" fmla="*/ 102584 h 102584"/>
                    <a:gd name="connsiteX4" fmla="*/ 0 w 95059"/>
                    <a:gd name="connsiteY4" fmla="*/ 52102 h 102584"/>
                    <a:gd name="connsiteX5" fmla="*/ 22574 w 95059"/>
                    <a:gd name="connsiteY5" fmla="*/ 52102 h 102584"/>
                    <a:gd name="connsiteX6" fmla="*/ 47816 w 95059"/>
                    <a:gd name="connsiteY6" fmla="*/ 88106 h 102584"/>
                    <a:gd name="connsiteX7" fmla="*/ 72485 w 95059"/>
                    <a:gd name="connsiteY7" fmla="*/ 52102 h 102584"/>
                    <a:gd name="connsiteX8" fmla="*/ 47816 w 95059"/>
                    <a:gd name="connsiteY8" fmla="*/ 15621 h 102584"/>
                    <a:gd name="connsiteX9" fmla="*/ 22574 w 95059"/>
                    <a:gd name="connsiteY9" fmla="*/ 52102 h 102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5059" h="102584">
                      <a:moveTo>
                        <a:pt x="0" y="52102"/>
                      </a:moveTo>
                      <a:cubicBezTo>
                        <a:pt x="1143" y="18097"/>
                        <a:pt x="17050" y="667"/>
                        <a:pt x="47816" y="0"/>
                      </a:cubicBezTo>
                      <a:cubicBezTo>
                        <a:pt x="78200" y="762"/>
                        <a:pt x="94012" y="18097"/>
                        <a:pt x="95059" y="52102"/>
                      </a:cubicBezTo>
                      <a:cubicBezTo>
                        <a:pt x="94012" y="85058"/>
                        <a:pt x="78200" y="101917"/>
                        <a:pt x="47816" y="102584"/>
                      </a:cubicBezTo>
                      <a:cubicBezTo>
                        <a:pt x="16669" y="102013"/>
                        <a:pt x="762" y="85058"/>
                        <a:pt x="0" y="52102"/>
                      </a:cubicBezTo>
                      <a:close/>
                      <a:moveTo>
                        <a:pt x="22574" y="52102"/>
                      </a:moveTo>
                      <a:cubicBezTo>
                        <a:pt x="22574" y="76105"/>
                        <a:pt x="30956" y="88106"/>
                        <a:pt x="47816" y="88106"/>
                      </a:cubicBezTo>
                      <a:cubicBezTo>
                        <a:pt x="64294" y="88106"/>
                        <a:pt x="72485" y="76105"/>
                        <a:pt x="72485" y="52102"/>
                      </a:cubicBezTo>
                      <a:cubicBezTo>
                        <a:pt x="72485" y="27718"/>
                        <a:pt x="64294" y="15621"/>
                        <a:pt x="47816" y="15621"/>
                      </a:cubicBezTo>
                      <a:cubicBezTo>
                        <a:pt x="30956" y="15621"/>
                        <a:pt x="22574" y="27718"/>
                        <a:pt x="22574" y="5210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37" name="任意多边形: 形状 36">
                  <a:extLst>
                    <a:ext uri="{FF2B5EF4-FFF2-40B4-BE49-F238E27FC236}">
                      <a16:creationId xmlns:a16="http://schemas.microsoft.com/office/drawing/2014/main" id="{F865444E-3B43-4E70-9E92-DEC65591FFB4}"/>
                    </a:ext>
                  </a:extLst>
                </p:cNvPr>
                <p:cNvSpPr/>
                <p:nvPr/>
              </p:nvSpPr>
              <p:spPr>
                <a:xfrm>
                  <a:off x="3928840" y="7540275"/>
                  <a:ext cx="79914" cy="99441"/>
                </a:xfrm>
                <a:custGeom>
                  <a:avLst/>
                  <a:gdLst>
                    <a:gd name="connsiteX0" fmla="*/ 21527 w 79914"/>
                    <a:gd name="connsiteY0" fmla="*/ 99441 h 99441"/>
                    <a:gd name="connsiteX1" fmla="*/ 0 w 79914"/>
                    <a:gd name="connsiteY1" fmla="*/ 99441 h 99441"/>
                    <a:gd name="connsiteX2" fmla="*/ 0 w 79914"/>
                    <a:gd name="connsiteY2" fmla="*/ 0 h 99441"/>
                    <a:gd name="connsiteX3" fmla="*/ 42482 w 79914"/>
                    <a:gd name="connsiteY3" fmla="*/ 0 h 99441"/>
                    <a:gd name="connsiteX4" fmla="*/ 76867 w 79914"/>
                    <a:gd name="connsiteY4" fmla="*/ 25813 h 99441"/>
                    <a:gd name="connsiteX5" fmla="*/ 56388 w 79914"/>
                    <a:gd name="connsiteY5" fmla="*/ 50006 h 99441"/>
                    <a:gd name="connsiteX6" fmla="*/ 56388 w 79914"/>
                    <a:gd name="connsiteY6" fmla="*/ 50578 h 99441"/>
                    <a:gd name="connsiteX7" fmla="*/ 74104 w 79914"/>
                    <a:gd name="connsiteY7" fmla="*/ 72580 h 99441"/>
                    <a:gd name="connsiteX8" fmla="*/ 74581 w 79914"/>
                    <a:gd name="connsiteY8" fmla="*/ 75819 h 99441"/>
                    <a:gd name="connsiteX9" fmla="*/ 79915 w 79914"/>
                    <a:gd name="connsiteY9" fmla="*/ 99441 h 99441"/>
                    <a:gd name="connsiteX10" fmla="*/ 56864 w 79914"/>
                    <a:gd name="connsiteY10" fmla="*/ 99441 h 99441"/>
                    <a:gd name="connsiteX11" fmla="*/ 53054 w 79914"/>
                    <a:gd name="connsiteY11" fmla="*/ 72580 h 99441"/>
                    <a:gd name="connsiteX12" fmla="*/ 43910 w 79914"/>
                    <a:gd name="connsiteY12" fmla="*/ 59722 h 99441"/>
                    <a:gd name="connsiteX13" fmla="*/ 21336 w 79914"/>
                    <a:gd name="connsiteY13" fmla="*/ 59722 h 99441"/>
                    <a:gd name="connsiteX14" fmla="*/ 21336 w 79914"/>
                    <a:gd name="connsiteY14" fmla="*/ 99441 h 99441"/>
                    <a:gd name="connsiteX15" fmla="*/ 21527 w 79914"/>
                    <a:gd name="connsiteY15" fmla="*/ 43053 h 99441"/>
                    <a:gd name="connsiteX16" fmla="*/ 39243 w 79914"/>
                    <a:gd name="connsiteY16" fmla="*/ 43053 h 99441"/>
                    <a:gd name="connsiteX17" fmla="*/ 54292 w 79914"/>
                    <a:gd name="connsiteY17" fmla="*/ 29146 h 99441"/>
                    <a:gd name="connsiteX18" fmla="*/ 39243 w 79914"/>
                    <a:gd name="connsiteY18" fmla="*/ 16764 h 99441"/>
                    <a:gd name="connsiteX19" fmla="*/ 21527 w 79914"/>
                    <a:gd name="connsiteY19" fmla="*/ 16764 h 99441"/>
                    <a:gd name="connsiteX20" fmla="*/ 21527 w 79914"/>
                    <a:gd name="connsiteY20" fmla="*/ 43053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79914" h="99441">
                      <a:moveTo>
                        <a:pt x="21527" y="99441"/>
                      </a:move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42482" y="0"/>
                      </a:lnTo>
                      <a:cubicBezTo>
                        <a:pt x="65056" y="381"/>
                        <a:pt x="76486" y="8954"/>
                        <a:pt x="76867" y="25813"/>
                      </a:cubicBezTo>
                      <a:cubicBezTo>
                        <a:pt x="76486" y="38671"/>
                        <a:pt x="69723" y="46768"/>
                        <a:pt x="56388" y="50006"/>
                      </a:cubicBezTo>
                      <a:lnTo>
                        <a:pt x="56388" y="50578"/>
                      </a:lnTo>
                      <a:cubicBezTo>
                        <a:pt x="67532" y="50959"/>
                        <a:pt x="73438" y="58293"/>
                        <a:pt x="74104" y="72580"/>
                      </a:cubicBezTo>
                      <a:cubicBezTo>
                        <a:pt x="74486" y="74009"/>
                        <a:pt x="74581" y="75152"/>
                        <a:pt x="74581" y="75819"/>
                      </a:cubicBezTo>
                      <a:cubicBezTo>
                        <a:pt x="75724" y="87630"/>
                        <a:pt x="77438" y="95536"/>
                        <a:pt x="79915" y="99441"/>
                      </a:cubicBezTo>
                      <a:lnTo>
                        <a:pt x="56864" y="99441"/>
                      </a:lnTo>
                      <a:cubicBezTo>
                        <a:pt x="54674" y="90869"/>
                        <a:pt x="53435" y="81915"/>
                        <a:pt x="53054" y="72580"/>
                      </a:cubicBezTo>
                      <a:cubicBezTo>
                        <a:pt x="52292" y="63913"/>
                        <a:pt x="49244" y="59722"/>
                        <a:pt x="43910" y="59722"/>
                      </a:cubicBezTo>
                      <a:lnTo>
                        <a:pt x="21336" y="59722"/>
                      </a:lnTo>
                      <a:lnTo>
                        <a:pt x="21336" y="99441"/>
                      </a:lnTo>
                      <a:close/>
                      <a:moveTo>
                        <a:pt x="21527" y="43053"/>
                      </a:moveTo>
                      <a:lnTo>
                        <a:pt x="39243" y="43053"/>
                      </a:lnTo>
                      <a:cubicBezTo>
                        <a:pt x="49244" y="43053"/>
                        <a:pt x="54292" y="38481"/>
                        <a:pt x="54292" y="29146"/>
                      </a:cubicBezTo>
                      <a:cubicBezTo>
                        <a:pt x="54292" y="20574"/>
                        <a:pt x="49244" y="16478"/>
                        <a:pt x="39243" y="16764"/>
                      </a:cubicBezTo>
                      <a:lnTo>
                        <a:pt x="21527" y="16764"/>
                      </a:lnTo>
                      <a:lnTo>
                        <a:pt x="21527" y="43053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38" name="任意多边形: 形状 37">
                  <a:extLst>
                    <a:ext uri="{FF2B5EF4-FFF2-40B4-BE49-F238E27FC236}">
                      <a16:creationId xmlns:a16="http://schemas.microsoft.com/office/drawing/2014/main" id="{FC9E15A1-D0E0-428F-9DEE-9AA945C8D573}"/>
                    </a:ext>
                  </a:extLst>
                </p:cNvPr>
                <p:cNvSpPr/>
                <p:nvPr/>
              </p:nvSpPr>
              <p:spPr>
                <a:xfrm>
                  <a:off x="4020184" y="7540371"/>
                  <a:ext cx="68294" cy="99345"/>
                </a:xfrm>
                <a:custGeom>
                  <a:avLst/>
                  <a:gdLst>
                    <a:gd name="connsiteX0" fmla="*/ 0 w 68294"/>
                    <a:gd name="connsiteY0" fmla="*/ 0 h 99345"/>
                    <a:gd name="connsiteX1" fmla="*/ 66675 w 68294"/>
                    <a:gd name="connsiteY1" fmla="*/ 0 h 99345"/>
                    <a:gd name="connsiteX2" fmla="*/ 66675 w 68294"/>
                    <a:gd name="connsiteY2" fmla="*/ 16669 h 99345"/>
                    <a:gd name="connsiteX3" fmla="*/ 21527 w 68294"/>
                    <a:gd name="connsiteY3" fmla="*/ 16669 h 99345"/>
                    <a:gd name="connsiteX4" fmla="*/ 21527 w 68294"/>
                    <a:gd name="connsiteY4" fmla="*/ 39719 h 99345"/>
                    <a:gd name="connsiteX5" fmla="*/ 63437 w 68294"/>
                    <a:gd name="connsiteY5" fmla="*/ 39719 h 99345"/>
                    <a:gd name="connsiteX6" fmla="*/ 63437 w 68294"/>
                    <a:gd name="connsiteY6" fmla="*/ 56388 h 99345"/>
                    <a:gd name="connsiteX7" fmla="*/ 21527 w 68294"/>
                    <a:gd name="connsiteY7" fmla="*/ 56388 h 99345"/>
                    <a:gd name="connsiteX8" fmla="*/ 21527 w 68294"/>
                    <a:gd name="connsiteY8" fmla="*/ 82677 h 99345"/>
                    <a:gd name="connsiteX9" fmla="*/ 68294 w 68294"/>
                    <a:gd name="connsiteY9" fmla="*/ 82677 h 99345"/>
                    <a:gd name="connsiteX10" fmla="*/ 68294 w 68294"/>
                    <a:gd name="connsiteY10" fmla="*/ 99346 h 99345"/>
                    <a:gd name="connsiteX11" fmla="*/ 95 w 68294"/>
                    <a:gd name="connsiteY11" fmla="*/ 99346 h 99345"/>
                    <a:gd name="connsiteX12" fmla="*/ 95 w 68294"/>
                    <a:gd name="connsiteY12" fmla="*/ 0 h 993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68294" h="99345">
                      <a:moveTo>
                        <a:pt x="0" y="0"/>
                      </a:moveTo>
                      <a:lnTo>
                        <a:pt x="66675" y="0"/>
                      </a:lnTo>
                      <a:lnTo>
                        <a:pt x="66675" y="16669"/>
                      </a:lnTo>
                      <a:lnTo>
                        <a:pt x="21527" y="16669"/>
                      </a:lnTo>
                      <a:lnTo>
                        <a:pt x="21527" y="39719"/>
                      </a:lnTo>
                      <a:lnTo>
                        <a:pt x="63437" y="39719"/>
                      </a:lnTo>
                      <a:lnTo>
                        <a:pt x="63437" y="56388"/>
                      </a:lnTo>
                      <a:lnTo>
                        <a:pt x="21527" y="56388"/>
                      </a:lnTo>
                      <a:lnTo>
                        <a:pt x="21527" y="82677"/>
                      </a:lnTo>
                      <a:lnTo>
                        <a:pt x="68294" y="82677"/>
                      </a:lnTo>
                      <a:lnTo>
                        <a:pt x="68294" y="99346"/>
                      </a:lnTo>
                      <a:lnTo>
                        <a:pt x="95" y="99346"/>
                      </a:lnTo>
                      <a:lnTo>
                        <a:pt x="95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39" name="任意多边形: 形状 38">
                  <a:extLst>
                    <a:ext uri="{FF2B5EF4-FFF2-40B4-BE49-F238E27FC236}">
                      <a16:creationId xmlns:a16="http://schemas.microsoft.com/office/drawing/2014/main" id="{91FB3F68-F126-464A-83FF-5FEE42319E84}"/>
                    </a:ext>
                  </a:extLst>
                </p:cNvPr>
                <p:cNvSpPr/>
                <p:nvPr/>
              </p:nvSpPr>
              <p:spPr>
                <a:xfrm>
                  <a:off x="4100948" y="7538180"/>
                  <a:ext cx="80598" cy="102679"/>
                </a:xfrm>
                <a:custGeom>
                  <a:avLst/>
                  <a:gdLst>
                    <a:gd name="connsiteX0" fmla="*/ 57444 w 80598"/>
                    <a:gd name="connsiteY0" fmla="*/ 30671 h 102679"/>
                    <a:gd name="connsiteX1" fmla="*/ 41347 w 80598"/>
                    <a:gd name="connsiteY1" fmla="*/ 15621 h 102679"/>
                    <a:gd name="connsiteX2" fmla="*/ 25250 w 80598"/>
                    <a:gd name="connsiteY2" fmla="*/ 28480 h 102679"/>
                    <a:gd name="connsiteX3" fmla="*/ 43538 w 80598"/>
                    <a:gd name="connsiteY3" fmla="*/ 42481 h 102679"/>
                    <a:gd name="connsiteX4" fmla="*/ 46205 w 80598"/>
                    <a:gd name="connsiteY4" fmla="*/ 42958 h 102679"/>
                    <a:gd name="connsiteX5" fmla="*/ 80590 w 80598"/>
                    <a:gd name="connsiteY5" fmla="*/ 70390 h 102679"/>
                    <a:gd name="connsiteX6" fmla="*/ 38108 w 80598"/>
                    <a:gd name="connsiteY6" fmla="*/ 102679 h 102679"/>
                    <a:gd name="connsiteX7" fmla="*/ 8 w 80598"/>
                    <a:gd name="connsiteY7" fmla="*/ 69818 h 102679"/>
                    <a:gd name="connsiteX8" fmla="*/ 21440 w 80598"/>
                    <a:gd name="connsiteY8" fmla="*/ 69818 h 102679"/>
                    <a:gd name="connsiteX9" fmla="*/ 38108 w 80598"/>
                    <a:gd name="connsiteY9" fmla="*/ 88106 h 102679"/>
                    <a:gd name="connsiteX10" fmla="*/ 58016 w 80598"/>
                    <a:gd name="connsiteY10" fmla="*/ 75247 h 102679"/>
                    <a:gd name="connsiteX11" fmla="*/ 39156 w 80598"/>
                    <a:gd name="connsiteY11" fmla="*/ 61246 h 102679"/>
                    <a:gd name="connsiteX12" fmla="*/ 35441 w 80598"/>
                    <a:gd name="connsiteY12" fmla="*/ 60198 h 102679"/>
                    <a:gd name="connsiteX13" fmla="*/ 2675 w 80598"/>
                    <a:gd name="connsiteY13" fmla="*/ 32766 h 102679"/>
                    <a:gd name="connsiteX14" fmla="*/ 44014 w 80598"/>
                    <a:gd name="connsiteY14" fmla="*/ 0 h 102679"/>
                    <a:gd name="connsiteX15" fmla="*/ 77923 w 80598"/>
                    <a:gd name="connsiteY15" fmla="*/ 30671 h 102679"/>
                    <a:gd name="connsiteX16" fmla="*/ 57444 w 80598"/>
                    <a:gd name="connsiteY16" fmla="*/ 30671 h 1026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80598" h="102679">
                      <a:moveTo>
                        <a:pt x="57444" y="30671"/>
                      </a:moveTo>
                      <a:cubicBezTo>
                        <a:pt x="57063" y="20669"/>
                        <a:pt x="51729" y="15621"/>
                        <a:pt x="41347" y="15621"/>
                      </a:cubicBezTo>
                      <a:cubicBezTo>
                        <a:pt x="30965" y="16383"/>
                        <a:pt x="25535" y="20669"/>
                        <a:pt x="25250" y="28480"/>
                      </a:cubicBezTo>
                      <a:cubicBezTo>
                        <a:pt x="24488" y="36004"/>
                        <a:pt x="30584" y="40672"/>
                        <a:pt x="43538" y="42481"/>
                      </a:cubicBezTo>
                      <a:cubicBezTo>
                        <a:pt x="43919" y="42481"/>
                        <a:pt x="44776" y="42672"/>
                        <a:pt x="46205" y="42958"/>
                      </a:cubicBezTo>
                      <a:cubicBezTo>
                        <a:pt x="69446" y="47625"/>
                        <a:pt x="80971" y="56769"/>
                        <a:pt x="80590" y="70390"/>
                      </a:cubicBezTo>
                      <a:cubicBezTo>
                        <a:pt x="80304" y="91249"/>
                        <a:pt x="66112" y="102013"/>
                        <a:pt x="38108" y="102679"/>
                      </a:cubicBezTo>
                      <a:cubicBezTo>
                        <a:pt x="12296" y="102679"/>
                        <a:pt x="-373" y="91821"/>
                        <a:pt x="8" y="69818"/>
                      </a:cubicBezTo>
                      <a:lnTo>
                        <a:pt x="21440" y="69818"/>
                      </a:lnTo>
                      <a:cubicBezTo>
                        <a:pt x="21440" y="81344"/>
                        <a:pt x="26964" y="87439"/>
                        <a:pt x="38108" y="88106"/>
                      </a:cubicBezTo>
                      <a:cubicBezTo>
                        <a:pt x="50967" y="87821"/>
                        <a:pt x="57634" y="83439"/>
                        <a:pt x="58016" y="75247"/>
                      </a:cubicBezTo>
                      <a:cubicBezTo>
                        <a:pt x="58016" y="68389"/>
                        <a:pt x="51729" y="63722"/>
                        <a:pt x="39156" y="61246"/>
                      </a:cubicBezTo>
                      <a:cubicBezTo>
                        <a:pt x="37346" y="60865"/>
                        <a:pt x="36108" y="60484"/>
                        <a:pt x="35441" y="60198"/>
                      </a:cubicBezTo>
                      <a:cubicBezTo>
                        <a:pt x="13629" y="55150"/>
                        <a:pt x="2675" y="46006"/>
                        <a:pt x="2675" y="32766"/>
                      </a:cubicBezTo>
                      <a:cubicBezTo>
                        <a:pt x="3723" y="12287"/>
                        <a:pt x="17534" y="1429"/>
                        <a:pt x="44014" y="0"/>
                      </a:cubicBezTo>
                      <a:cubicBezTo>
                        <a:pt x="65540" y="1048"/>
                        <a:pt x="76875" y="11335"/>
                        <a:pt x="77923" y="30671"/>
                      </a:cubicBezTo>
                      <a:lnTo>
                        <a:pt x="57444" y="3067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0" name="任意多边形: 形状 39">
                  <a:extLst>
                    <a:ext uri="{FF2B5EF4-FFF2-40B4-BE49-F238E27FC236}">
                      <a16:creationId xmlns:a16="http://schemas.microsoft.com/office/drawing/2014/main" id="{5C5C1E33-769E-46B9-9DF8-DF1AEE0830FB}"/>
                    </a:ext>
                  </a:extLst>
                </p:cNvPr>
                <p:cNvSpPr/>
                <p:nvPr/>
              </p:nvSpPr>
              <p:spPr>
                <a:xfrm>
                  <a:off x="4188967" y="7540371"/>
                  <a:ext cx="80581" cy="99440"/>
                </a:xfrm>
                <a:custGeom>
                  <a:avLst/>
                  <a:gdLst>
                    <a:gd name="connsiteX0" fmla="*/ 0 w 80581"/>
                    <a:gd name="connsiteY0" fmla="*/ 0 h 99440"/>
                    <a:gd name="connsiteX1" fmla="*/ 80581 w 80581"/>
                    <a:gd name="connsiteY1" fmla="*/ 0 h 99440"/>
                    <a:gd name="connsiteX2" fmla="*/ 80581 w 80581"/>
                    <a:gd name="connsiteY2" fmla="*/ 16669 h 99440"/>
                    <a:gd name="connsiteX3" fmla="*/ 51054 w 80581"/>
                    <a:gd name="connsiteY3" fmla="*/ 16669 h 99440"/>
                    <a:gd name="connsiteX4" fmla="*/ 51054 w 80581"/>
                    <a:gd name="connsiteY4" fmla="*/ 99441 h 99440"/>
                    <a:gd name="connsiteX5" fmla="*/ 29528 w 80581"/>
                    <a:gd name="connsiteY5" fmla="*/ 99441 h 99440"/>
                    <a:gd name="connsiteX6" fmla="*/ 29528 w 80581"/>
                    <a:gd name="connsiteY6" fmla="*/ 16669 h 99440"/>
                    <a:gd name="connsiteX7" fmla="*/ 0 w 80581"/>
                    <a:gd name="connsiteY7" fmla="*/ 16669 h 99440"/>
                    <a:gd name="connsiteX8" fmla="*/ 0 w 80581"/>
                    <a:gd name="connsiteY8" fmla="*/ 0 h 99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0581" h="99440">
                      <a:moveTo>
                        <a:pt x="0" y="0"/>
                      </a:moveTo>
                      <a:lnTo>
                        <a:pt x="80581" y="0"/>
                      </a:lnTo>
                      <a:lnTo>
                        <a:pt x="80581" y="16669"/>
                      </a:lnTo>
                      <a:lnTo>
                        <a:pt x="51054" y="16669"/>
                      </a:lnTo>
                      <a:lnTo>
                        <a:pt x="51054" y="99441"/>
                      </a:lnTo>
                      <a:lnTo>
                        <a:pt x="29528" y="99441"/>
                      </a:lnTo>
                      <a:lnTo>
                        <a:pt x="29528" y="16669"/>
                      </a:lnTo>
                      <a:lnTo>
                        <a:pt x="0" y="1666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1" name="任意多边形: 形状 40">
                  <a:extLst>
                    <a:ext uri="{FF2B5EF4-FFF2-40B4-BE49-F238E27FC236}">
                      <a16:creationId xmlns:a16="http://schemas.microsoft.com/office/drawing/2014/main" id="{05DF51A1-6191-45E1-8C0C-156BD5480E57}"/>
                    </a:ext>
                  </a:extLst>
                </p:cNvPr>
                <p:cNvSpPr/>
                <p:nvPr/>
              </p:nvSpPr>
              <p:spPr>
                <a:xfrm>
                  <a:off x="4279265" y="7540275"/>
                  <a:ext cx="80009" cy="99441"/>
                </a:xfrm>
                <a:custGeom>
                  <a:avLst/>
                  <a:gdLst>
                    <a:gd name="connsiteX0" fmla="*/ 21526 w 80009"/>
                    <a:gd name="connsiteY0" fmla="*/ 99441 h 99441"/>
                    <a:gd name="connsiteX1" fmla="*/ 0 w 80009"/>
                    <a:gd name="connsiteY1" fmla="*/ 99441 h 99441"/>
                    <a:gd name="connsiteX2" fmla="*/ 0 w 80009"/>
                    <a:gd name="connsiteY2" fmla="*/ 0 h 99441"/>
                    <a:gd name="connsiteX3" fmla="*/ 42481 w 80009"/>
                    <a:gd name="connsiteY3" fmla="*/ 0 h 99441"/>
                    <a:gd name="connsiteX4" fmla="*/ 76867 w 80009"/>
                    <a:gd name="connsiteY4" fmla="*/ 25813 h 99441"/>
                    <a:gd name="connsiteX5" fmla="*/ 56388 w 80009"/>
                    <a:gd name="connsiteY5" fmla="*/ 50006 h 99441"/>
                    <a:gd name="connsiteX6" fmla="*/ 56388 w 80009"/>
                    <a:gd name="connsiteY6" fmla="*/ 50578 h 99441"/>
                    <a:gd name="connsiteX7" fmla="*/ 74104 w 80009"/>
                    <a:gd name="connsiteY7" fmla="*/ 72580 h 99441"/>
                    <a:gd name="connsiteX8" fmla="*/ 74676 w 80009"/>
                    <a:gd name="connsiteY8" fmla="*/ 75819 h 99441"/>
                    <a:gd name="connsiteX9" fmla="*/ 80010 w 80009"/>
                    <a:gd name="connsiteY9" fmla="*/ 99441 h 99441"/>
                    <a:gd name="connsiteX10" fmla="*/ 56864 w 80009"/>
                    <a:gd name="connsiteY10" fmla="*/ 99441 h 99441"/>
                    <a:gd name="connsiteX11" fmla="*/ 53149 w 80009"/>
                    <a:gd name="connsiteY11" fmla="*/ 72580 h 99441"/>
                    <a:gd name="connsiteX12" fmla="*/ 44005 w 80009"/>
                    <a:gd name="connsiteY12" fmla="*/ 59722 h 99441"/>
                    <a:gd name="connsiteX13" fmla="*/ 21431 w 80009"/>
                    <a:gd name="connsiteY13" fmla="*/ 59722 h 99441"/>
                    <a:gd name="connsiteX14" fmla="*/ 21431 w 80009"/>
                    <a:gd name="connsiteY14" fmla="*/ 99441 h 99441"/>
                    <a:gd name="connsiteX15" fmla="*/ 21526 w 80009"/>
                    <a:gd name="connsiteY15" fmla="*/ 43053 h 99441"/>
                    <a:gd name="connsiteX16" fmla="*/ 39243 w 80009"/>
                    <a:gd name="connsiteY16" fmla="*/ 43053 h 99441"/>
                    <a:gd name="connsiteX17" fmla="*/ 54292 w 80009"/>
                    <a:gd name="connsiteY17" fmla="*/ 29146 h 99441"/>
                    <a:gd name="connsiteX18" fmla="*/ 39243 w 80009"/>
                    <a:gd name="connsiteY18" fmla="*/ 16764 h 99441"/>
                    <a:gd name="connsiteX19" fmla="*/ 21526 w 80009"/>
                    <a:gd name="connsiteY19" fmla="*/ 16764 h 99441"/>
                    <a:gd name="connsiteX20" fmla="*/ 21526 w 80009"/>
                    <a:gd name="connsiteY20" fmla="*/ 43053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0009" h="99441">
                      <a:moveTo>
                        <a:pt x="21526" y="99441"/>
                      </a:move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42481" y="0"/>
                      </a:lnTo>
                      <a:cubicBezTo>
                        <a:pt x="65056" y="381"/>
                        <a:pt x="76486" y="8954"/>
                        <a:pt x="76867" y="25813"/>
                      </a:cubicBezTo>
                      <a:cubicBezTo>
                        <a:pt x="76486" y="38671"/>
                        <a:pt x="69628" y="46768"/>
                        <a:pt x="56388" y="50006"/>
                      </a:cubicBezTo>
                      <a:lnTo>
                        <a:pt x="56388" y="50578"/>
                      </a:lnTo>
                      <a:cubicBezTo>
                        <a:pt x="67532" y="50959"/>
                        <a:pt x="73438" y="58293"/>
                        <a:pt x="74104" y="72580"/>
                      </a:cubicBezTo>
                      <a:cubicBezTo>
                        <a:pt x="74486" y="74009"/>
                        <a:pt x="74676" y="75152"/>
                        <a:pt x="74676" y="75819"/>
                      </a:cubicBezTo>
                      <a:cubicBezTo>
                        <a:pt x="75724" y="87630"/>
                        <a:pt x="77533" y="95536"/>
                        <a:pt x="80010" y="99441"/>
                      </a:cubicBezTo>
                      <a:lnTo>
                        <a:pt x="56864" y="99441"/>
                      </a:lnTo>
                      <a:cubicBezTo>
                        <a:pt x="54673" y="90869"/>
                        <a:pt x="53435" y="81915"/>
                        <a:pt x="53149" y="72580"/>
                      </a:cubicBezTo>
                      <a:cubicBezTo>
                        <a:pt x="52388" y="63913"/>
                        <a:pt x="49339" y="59722"/>
                        <a:pt x="44005" y="59722"/>
                      </a:cubicBezTo>
                      <a:lnTo>
                        <a:pt x="21431" y="59722"/>
                      </a:lnTo>
                      <a:lnTo>
                        <a:pt x="21431" y="99441"/>
                      </a:lnTo>
                      <a:close/>
                      <a:moveTo>
                        <a:pt x="21526" y="43053"/>
                      </a:moveTo>
                      <a:lnTo>
                        <a:pt x="39243" y="43053"/>
                      </a:lnTo>
                      <a:cubicBezTo>
                        <a:pt x="49244" y="43053"/>
                        <a:pt x="54292" y="38481"/>
                        <a:pt x="54292" y="29146"/>
                      </a:cubicBezTo>
                      <a:cubicBezTo>
                        <a:pt x="54292" y="20574"/>
                        <a:pt x="49244" y="16478"/>
                        <a:pt x="39243" y="16764"/>
                      </a:cubicBezTo>
                      <a:lnTo>
                        <a:pt x="21526" y="16764"/>
                      </a:lnTo>
                      <a:lnTo>
                        <a:pt x="21526" y="43053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2" name="任意多边形: 形状 41">
                  <a:extLst>
                    <a:ext uri="{FF2B5EF4-FFF2-40B4-BE49-F238E27FC236}">
                      <a16:creationId xmlns:a16="http://schemas.microsoft.com/office/drawing/2014/main" id="{B6A86E08-9F46-4C4F-A18D-49EE69640516}"/>
                    </a:ext>
                  </a:extLst>
                </p:cNvPr>
                <p:cNvSpPr/>
                <p:nvPr/>
              </p:nvSpPr>
              <p:spPr>
                <a:xfrm>
                  <a:off x="4364227" y="7540371"/>
                  <a:ext cx="88106" cy="99440"/>
                </a:xfrm>
                <a:custGeom>
                  <a:avLst/>
                  <a:gdLst>
                    <a:gd name="connsiteX0" fmla="*/ 33814 w 88106"/>
                    <a:gd name="connsiteY0" fmla="*/ 67151 h 99440"/>
                    <a:gd name="connsiteX1" fmla="*/ 0 w 88106"/>
                    <a:gd name="connsiteY1" fmla="*/ 0 h 99440"/>
                    <a:gd name="connsiteX2" fmla="*/ 25241 w 88106"/>
                    <a:gd name="connsiteY2" fmla="*/ 0 h 99440"/>
                    <a:gd name="connsiteX3" fmla="*/ 45625 w 88106"/>
                    <a:gd name="connsiteY3" fmla="*/ 45625 h 99440"/>
                    <a:gd name="connsiteX4" fmla="*/ 66675 w 88106"/>
                    <a:gd name="connsiteY4" fmla="*/ 0 h 99440"/>
                    <a:gd name="connsiteX5" fmla="*/ 88106 w 88106"/>
                    <a:gd name="connsiteY5" fmla="*/ 0 h 99440"/>
                    <a:gd name="connsiteX6" fmla="*/ 54769 w 88106"/>
                    <a:gd name="connsiteY6" fmla="*/ 67151 h 99440"/>
                    <a:gd name="connsiteX7" fmla="*/ 54769 w 88106"/>
                    <a:gd name="connsiteY7" fmla="*/ 99441 h 99440"/>
                    <a:gd name="connsiteX8" fmla="*/ 33814 w 88106"/>
                    <a:gd name="connsiteY8" fmla="*/ 99441 h 99440"/>
                    <a:gd name="connsiteX9" fmla="*/ 33814 w 88106"/>
                    <a:gd name="connsiteY9" fmla="*/ 67151 h 99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8106" h="99440">
                      <a:moveTo>
                        <a:pt x="33814" y="67151"/>
                      </a:moveTo>
                      <a:lnTo>
                        <a:pt x="0" y="0"/>
                      </a:lnTo>
                      <a:lnTo>
                        <a:pt x="25241" y="0"/>
                      </a:lnTo>
                      <a:lnTo>
                        <a:pt x="45625" y="45625"/>
                      </a:lnTo>
                      <a:lnTo>
                        <a:pt x="66675" y="0"/>
                      </a:lnTo>
                      <a:lnTo>
                        <a:pt x="88106" y="0"/>
                      </a:lnTo>
                      <a:lnTo>
                        <a:pt x="54769" y="67151"/>
                      </a:lnTo>
                      <a:lnTo>
                        <a:pt x="54769" y="99441"/>
                      </a:lnTo>
                      <a:lnTo>
                        <a:pt x="33814" y="99441"/>
                      </a:lnTo>
                      <a:lnTo>
                        <a:pt x="33814" y="6715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3" name="任意多边形: 形状 42">
                  <a:extLst>
                    <a:ext uri="{FF2B5EF4-FFF2-40B4-BE49-F238E27FC236}">
                      <a16:creationId xmlns:a16="http://schemas.microsoft.com/office/drawing/2014/main" id="{4A278832-D81F-4DB5-A0CA-CA2854ACAEEF}"/>
                    </a:ext>
                  </a:extLst>
                </p:cNvPr>
                <p:cNvSpPr/>
                <p:nvPr/>
              </p:nvSpPr>
              <p:spPr>
                <a:xfrm>
                  <a:off x="4502340" y="7540371"/>
                  <a:ext cx="86582" cy="100488"/>
                </a:xfrm>
                <a:custGeom>
                  <a:avLst/>
                  <a:gdLst>
                    <a:gd name="connsiteX0" fmla="*/ 86582 w 86582"/>
                    <a:gd name="connsiteY0" fmla="*/ 0 h 100488"/>
                    <a:gd name="connsiteX1" fmla="*/ 86582 w 86582"/>
                    <a:gd name="connsiteY1" fmla="*/ 62293 h 100488"/>
                    <a:gd name="connsiteX2" fmla="*/ 43529 w 86582"/>
                    <a:gd name="connsiteY2" fmla="*/ 100489 h 100488"/>
                    <a:gd name="connsiteX3" fmla="*/ 0 w 86582"/>
                    <a:gd name="connsiteY3" fmla="*/ 62293 h 100488"/>
                    <a:gd name="connsiteX4" fmla="*/ 0 w 86582"/>
                    <a:gd name="connsiteY4" fmla="*/ 0 h 100488"/>
                    <a:gd name="connsiteX5" fmla="*/ 21527 w 86582"/>
                    <a:gd name="connsiteY5" fmla="*/ 0 h 100488"/>
                    <a:gd name="connsiteX6" fmla="*/ 21527 w 86582"/>
                    <a:gd name="connsiteY6" fmla="*/ 54292 h 100488"/>
                    <a:gd name="connsiteX7" fmla="*/ 25813 w 86582"/>
                    <a:gd name="connsiteY7" fmla="*/ 78486 h 100488"/>
                    <a:gd name="connsiteX8" fmla="*/ 43529 w 86582"/>
                    <a:gd name="connsiteY8" fmla="*/ 86011 h 100488"/>
                    <a:gd name="connsiteX9" fmla="*/ 60674 w 86582"/>
                    <a:gd name="connsiteY9" fmla="*/ 78486 h 100488"/>
                    <a:gd name="connsiteX10" fmla="*/ 64961 w 86582"/>
                    <a:gd name="connsiteY10" fmla="*/ 54292 h 100488"/>
                    <a:gd name="connsiteX11" fmla="*/ 64961 w 86582"/>
                    <a:gd name="connsiteY11" fmla="*/ 0 h 100488"/>
                    <a:gd name="connsiteX12" fmla="*/ 86582 w 86582"/>
                    <a:gd name="connsiteY12" fmla="*/ 0 h 1004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6582" h="100488">
                      <a:moveTo>
                        <a:pt x="86582" y="0"/>
                      </a:moveTo>
                      <a:lnTo>
                        <a:pt x="86582" y="62293"/>
                      </a:lnTo>
                      <a:cubicBezTo>
                        <a:pt x="85439" y="87058"/>
                        <a:pt x="71152" y="99822"/>
                        <a:pt x="43529" y="100489"/>
                      </a:cubicBezTo>
                      <a:cubicBezTo>
                        <a:pt x="15240" y="99822"/>
                        <a:pt x="667" y="87058"/>
                        <a:pt x="0" y="62293"/>
                      </a:cubicBezTo>
                      <a:lnTo>
                        <a:pt x="0" y="0"/>
                      </a:lnTo>
                      <a:lnTo>
                        <a:pt x="21527" y="0"/>
                      </a:lnTo>
                      <a:lnTo>
                        <a:pt x="21527" y="54292"/>
                      </a:lnTo>
                      <a:cubicBezTo>
                        <a:pt x="21146" y="66103"/>
                        <a:pt x="22574" y="74200"/>
                        <a:pt x="25813" y="78486"/>
                      </a:cubicBezTo>
                      <a:cubicBezTo>
                        <a:pt x="29432" y="83534"/>
                        <a:pt x="35338" y="86011"/>
                        <a:pt x="43529" y="86011"/>
                      </a:cubicBezTo>
                      <a:cubicBezTo>
                        <a:pt x="51816" y="86011"/>
                        <a:pt x="57436" y="83534"/>
                        <a:pt x="60674" y="78486"/>
                      </a:cubicBezTo>
                      <a:cubicBezTo>
                        <a:pt x="63913" y="74200"/>
                        <a:pt x="65342" y="66199"/>
                        <a:pt x="64961" y="54292"/>
                      </a:cubicBezTo>
                      <a:lnTo>
                        <a:pt x="64961" y="0"/>
                      </a:lnTo>
                      <a:lnTo>
                        <a:pt x="86582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4" name="任意多边形: 形状 43">
                  <a:extLst>
                    <a:ext uri="{FF2B5EF4-FFF2-40B4-BE49-F238E27FC236}">
                      <a16:creationId xmlns:a16="http://schemas.microsoft.com/office/drawing/2014/main" id="{17EDEA87-67C8-4848-9979-0721A988084A}"/>
                    </a:ext>
                  </a:extLst>
                </p:cNvPr>
                <p:cNvSpPr/>
                <p:nvPr/>
              </p:nvSpPr>
              <p:spPr>
                <a:xfrm>
                  <a:off x="4608258" y="7540275"/>
                  <a:ext cx="89725" cy="99441"/>
                </a:xfrm>
                <a:custGeom>
                  <a:avLst/>
                  <a:gdLst>
                    <a:gd name="connsiteX0" fmla="*/ 59055 w 89725"/>
                    <a:gd name="connsiteY0" fmla="*/ 99441 h 99441"/>
                    <a:gd name="connsiteX1" fmla="*/ 20383 w 89725"/>
                    <a:gd name="connsiteY1" fmla="*/ 16669 h 99441"/>
                    <a:gd name="connsiteX2" fmla="*/ 19907 w 89725"/>
                    <a:gd name="connsiteY2" fmla="*/ 17240 h 99441"/>
                    <a:gd name="connsiteX3" fmla="*/ 19907 w 89725"/>
                    <a:gd name="connsiteY3" fmla="*/ 99441 h 99441"/>
                    <a:gd name="connsiteX4" fmla="*/ 0 w 89725"/>
                    <a:gd name="connsiteY4" fmla="*/ 99441 h 99441"/>
                    <a:gd name="connsiteX5" fmla="*/ 0 w 89725"/>
                    <a:gd name="connsiteY5" fmla="*/ 0 h 99441"/>
                    <a:gd name="connsiteX6" fmla="*/ 31718 w 89725"/>
                    <a:gd name="connsiteY6" fmla="*/ 0 h 99441"/>
                    <a:gd name="connsiteX7" fmla="*/ 69342 w 89725"/>
                    <a:gd name="connsiteY7" fmla="*/ 78391 h 99441"/>
                    <a:gd name="connsiteX8" fmla="*/ 69818 w 89725"/>
                    <a:gd name="connsiteY8" fmla="*/ 77914 h 99441"/>
                    <a:gd name="connsiteX9" fmla="*/ 69818 w 89725"/>
                    <a:gd name="connsiteY9" fmla="*/ 0 h 99441"/>
                    <a:gd name="connsiteX10" fmla="*/ 89725 w 89725"/>
                    <a:gd name="connsiteY10" fmla="*/ 0 h 99441"/>
                    <a:gd name="connsiteX11" fmla="*/ 89725 w 89725"/>
                    <a:gd name="connsiteY11" fmla="*/ 99441 h 99441"/>
                    <a:gd name="connsiteX12" fmla="*/ 59055 w 89725"/>
                    <a:gd name="connsiteY12" fmla="*/ 99441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9725" h="99441">
                      <a:moveTo>
                        <a:pt x="59055" y="99441"/>
                      </a:moveTo>
                      <a:lnTo>
                        <a:pt x="20383" y="16669"/>
                      </a:lnTo>
                      <a:lnTo>
                        <a:pt x="19907" y="17240"/>
                      </a:lnTo>
                      <a:lnTo>
                        <a:pt x="19907" y="99441"/>
                      </a:ln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31718" y="0"/>
                      </a:lnTo>
                      <a:lnTo>
                        <a:pt x="69342" y="78391"/>
                      </a:lnTo>
                      <a:lnTo>
                        <a:pt x="69818" y="77914"/>
                      </a:lnTo>
                      <a:lnTo>
                        <a:pt x="69818" y="0"/>
                      </a:lnTo>
                      <a:lnTo>
                        <a:pt x="89725" y="0"/>
                      </a:lnTo>
                      <a:lnTo>
                        <a:pt x="89725" y="99441"/>
                      </a:lnTo>
                      <a:lnTo>
                        <a:pt x="59055" y="9944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5" name="任意多边形: 形状 44">
                  <a:extLst>
                    <a:ext uri="{FF2B5EF4-FFF2-40B4-BE49-F238E27FC236}">
                      <a16:creationId xmlns:a16="http://schemas.microsoft.com/office/drawing/2014/main" id="{A5F9964A-6368-4AE8-B38F-FC4A3C2BE180}"/>
                    </a:ext>
                  </a:extLst>
                </p:cNvPr>
                <p:cNvSpPr/>
                <p:nvPr/>
              </p:nvSpPr>
              <p:spPr>
                <a:xfrm>
                  <a:off x="4714652" y="7540275"/>
                  <a:ext cx="21431" cy="99441"/>
                </a:xfrm>
                <a:custGeom>
                  <a:avLst/>
                  <a:gdLst>
                    <a:gd name="connsiteX0" fmla="*/ 21431 w 21431"/>
                    <a:gd name="connsiteY0" fmla="*/ 99441 h 99441"/>
                    <a:gd name="connsiteX1" fmla="*/ 0 w 21431"/>
                    <a:gd name="connsiteY1" fmla="*/ 99441 h 99441"/>
                    <a:gd name="connsiteX2" fmla="*/ 0 w 21431"/>
                    <a:gd name="connsiteY2" fmla="*/ 0 h 99441"/>
                    <a:gd name="connsiteX3" fmla="*/ 21431 w 21431"/>
                    <a:gd name="connsiteY3" fmla="*/ 0 h 99441"/>
                    <a:gd name="connsiteX4" fmla="*/ 21431 w 21431"/>
                    <a:gd name="connsiteY4" fmla="*/ 99441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431" h="99441">
                      <a:moveTo>
                        <a:pt x="21431" y="99441"/>
                      </a:move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21431" y="0"/>
                      </a:lnTo>
                      <a:lnTo>
                        <a:pt x="21431" y="9944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6" name="任意多边形: 形状 45">
                  <a:extLst>
                    <a:ext uri="{FF2B5EF4-FFF2-40B4-BE49-F238E27FC236}">
                      <a16:creationId xmlns:a16="http://schemas.microsoft.com/office/drawing/2014/main" id="{22AEF55F-1D13-48E0-9713-F9985EC5B5FD}"/>
                    </a:ext>
                  </a:extLst>
                </p:cNvPr>
                <p:cNvSpPr/>
                <p:nvPr/>
              </p:nvSpPr>
              <p:spPr>
                <a:xfrm>
                  <a:off x="4745799" y="7540371"/>
                  <a:ext cx="96202" cy="99440"/>
                </a:xfrm>
                <a:custGeom>
                  <a:avLst/>
                  <a:gdLst>
                    <a:gd name="connsiteX0" fmla="*/ 0 w 96202"/>
                    <a:gd name="connsiteY0" fmla="*/ 0 h 99440"/>
                    <a:gd name="connsiteX1" fmla="*/ 23146 w 96202"/>
                    <a:gd name="connsiteY1" fmla="*/ 0 h 99440"/>
                    <a:gd name="connsiteX2" fmla="*/ 48863 w 96202"/>
                    <a:gd name="connsiteY2" fmla="*/ 78391 h 99440"/>
                    <a:gd name="connsiteX3" fmla="*/ 49435 w 96202"/>
                    <a:gd name="connsiteY3" fmla="*/ 78391 h 99440"/>
                    <a:gd name="connsiteX4" fmla="*/ 75248 w 96202"/>
                    <a:gd name="connsiteY4" fmla="*/ 0 h 99440"/>
                    <a:gd name="connsiteX5" fmla="*/ 96203 w 96202"/>
                    <a:gd name="connsiteY5" fmla="*/ 0 h 99440"/>
                    <a:gd name="connsiteX6" fmla="*/ 59627 w 96202"/>
                    <a:gd name="connsiteY6" fmla="*/ 99441 h 99440"/>
                    <a:gd name="connsiteX7" fmla="*/ 36576 w 96202"/>
                    <a:gd name="connsiteY7" fmla="*/ 99441 h 99440"/>
                    <a:gd name="connsiteX8" fmla="*/ 0 w 96202"/>
                    <a:gd name="connsiteY8" fmla="*/ 0 h 99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6202" h="99440">
                      <a:moveTo>
                        <a:pt x="0" y="0"/>
                      </a:moveTo>
                      <a:lnTo>
                        <a:pt x="23146" y="0"/>
                      </a:lnTo>
                      <a:lnTo>
                        <a:pt x="48863" y="78391"/>
                      </a:lnTo>
                      <a:lnTo>
                        <a:pt x="49435" y="78391"/>
                      </a:lnTo>
                      <a:lnTo>
                        <a:pt x="75248" y="0"/>
                      </a:lnTo>
                      <a:lnTo>
                        <a:pt x="96203" y="0"/>
                      </a:lnTo>
                      <a:lnTo>
                        <a:pt x="59627" y="99441"/>
                      </a:lnTo>
                      <a:lnTo>
                        <a:pt x="36576" y="9944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7" name="任意多边形: 形状 46">
                  <a:extLst>
                    <a:ext uri="{FF2B5EF4-FFF2-40B4-BE49-F238E27FC236}">
                      <a16:creationId xmlns:a16="http://schemas.microsoft.com/office/drawing/2014/main" id="{DE9539CD-4854-4EB1-9774-2840ACBD6701}"/>
                    </a:ext>
                  </a:extLst>
                </p:cNvPr>
                <p:cNvSpPr/>
                <p:nvPr/>
              </p:nvSpPr>
              <p:spPr>
                <a:xfrm>
                  <a:off x="4851050" y="7540371"/>
                  <a:ext cx="68294" cy="99345"/>
                </a:xfrm>
                <a:custGeom>
                  <a:avLst/>
                  <a:gdLst>
                    <a:gd name="connsiteX0" fmla="*/ 0 w 68294"/>
                    <a:gd name="connsiteY0" fmla="*/ 0 h 99345"/>
                    <a:gd name="connsiteX1" fmla="*/ 66675 w 68294"/>
                    <a:gd name="connsiteY1" fmla="*/ 0 h 99345"/>
                    <a:gd name="connsiteX2" fmla="*/ 66675 w 68294"/>
                    <a:gd name="connsiteY2" fmla="*/ 16669 h 99345"/>
                    <a:gd name="connsiteX3" fmla="*/ 21527 w 68294"/>
                    <a:gd name="connsiteY3" fmla="*/ 16669 h 99345"/>
                    <a:gd name="connsiteX4" fmla="*/ 21527 w 68294"/>
                    <a:gd name="connsiteY4" fmla="*/ 39719 h 99345"/>
                    <a:gd name="connsiteX5" fmla="*/ 63437 w 68294"/>
                    <a:gd name="connsiteY5" fmla="*/ 39719 h 99345"/>
                    <a:gd name="connsiteX6" fmla="*/ 63437 w 68294"/>
                    <a:gd name="connsiteY6" fmla="*/ 56388 h 99345"/>
                    <a:gd name="connsiteX7" fmla="*/ 21527 w 68294"/>
                    <a:gd name="connsiteY7" fmla="*/ 56388 h 99345"/>
                    <a:gd name="connsiteX8" fmla="*/ 21527 w 68294"/>
                    <a:gd name="connsiteY8" fmla="*/ 82677 h 99345"/>
                    <a:gd name="connsiteX9" fmla="*/ 68294 w 68294"/>
                    <a:gd name="connsiteY9" fmla="*/ 82677 h 99345"/>
                    <a:gd name="connsiteX10" fmla="*/ 68294 w 68294"/>
                    <a:gd name="connsiteY10" fmla="*/ 99346 h 99345"/>
                    <a:gd name="connsiteX11" fmla="*/ 0 w 68294"/>
                    <a:gd name="connsiteY11" fmla="*/ 99346 h 99345"/>
                    <a:gd name="connsiteX12" fmla="*/ 0 w 68294"/>
                    <a:gd name="connsiteY12" fmla="*/ 0 h 993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68294" h="99345">
                      <a:moveTo>
                        <a:pt x="0" y="0"/>
                      </a:moveTo>
                      <a:lnTo>
                        <a:pt x="66675" y="0"/>
                      </a:lnTo>
                      <a:lnTo>
                        <a:pt x="66675" y="16669"/>
                      </a:lnTo>
                      <a:lnTo>
                        <a:pt x="21527" y="16669"/>
                      </a:lnTo>
                      <a:lnTo>
                        <a:pt x="21527" y="39719"/>
                      </a:lnTo>
                      <a:lnTo>
                        <a:pt x="63437" y="39719"/>
                      </a:lnTo>
                      <a:lnTo>
                        <a:pt x="63437" y="56388"/>
                      </a:lnTo>
                      <a:lnTo>
                        <a:pt x="21527" y="56388"/>
                      </a:lnTo>
                      <a:lnTo>
                        <a:pt x="21527" y="82677"/>
                      </a:lnTo>
                      <a:lnTo>
                        <a:pt x="68294" y="82677"/>
                      </a:lnTo>
                      <a:lnTo>
                        <a:pt x="68294" y="99346"/>
                      </a:lnTo>
                      <a:lnTo>
                        <a:pt x="0" y="9934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8" name="任意多边形: 形状 47">
                  <a:extLst>
                    <a:ext uri="{FF2B5EF4-FFF2-40B4-BE49-F238E27FC236}">
                      <a16:creationId xmlns:a16="http://schemas.microsoft.com/office/drawing/2014/main" id="{DDE20A8E-D714-46FC-B3C8-5AC684CA2472}"/>
                    </a:ext>
                  </a:extLst>
                </p:cNvPr>
                <p:cNvSpPr/>
                <p:nvPr/>
              </p:nvSpPr>
              <p:spPr>
                <a:xfrm>
                  <a:off x="4934966" y="7540275"/>
                  <a:ext cx="80009" cy="99441"/>
                </a:xfrm>
                <a:custGeom>
                  <a:avLst/>
                  <a:gdLst>
                    <a:gd name="connsiteX0" fmla="*/ 21431 w 80009"/>
                    <a:gd name="connsiteY0" fmla="*/ 99441 h 99441"/>
                    <a:gd name="connsiteX1" fmla="*/ 0 w 80009"/>
                    <a:gd name="connsiteY1" fmla="*/ 99441 h 99441"/>
                    <a:gd name="connsiteX2" fmla="*/ 0 w 80009"/>
                    <a:gd name="connsiteY2" fmla="*/ 0 h 99441"/>
                    <a:gd name="connsiteX3" fmla="*/ 42481 w 80009"/>
                    <a:gd name="connsiteY3" fmla="*/ 0 h 99441"/>
                    <a:gd name="connsiteX4" fmla="*/ 76867 w 80009"/>
                    <a:gd name="connsiteY4" fmla="*/ 25813 h 99441"/>
                    <a:gd name="connsiteX5" fmla="*/ 56483 w 80009"/>
                    <a:gd name="connsiteY5" fmla="*/ 50006 h 99441"/>
                    <a:gd name="connsiteX6" fmla="*/ 56483 w 80009"/>
                    <a:gd name="connsiteY6" fmla="*/ 50578 h 99441"/>
                    <a:gd name="connsiteX7" fmla="*/ 74200 w 80009"/>
                    <a:gd name="connsiteY7" fmla="*/ 72580 h 99441"/>
                    <a:gd name="connsiteX8" fmla="*/ 74676 w 80009"/>
                    <a:gd name="connsiteY8" fmla="*/ 75819 h 99441"/>
                    <a:gd name="connsiteX9" fmla="*/ 80010 w 80009"/>
                    <a:gd name="connsiteY9" fmla="*/ 99441 h 99441"/>
                    <a:gd name="connsiteX10" fmla="*/ 56864 w 80009"/>
                    <a:gd name="connsiteY10" fmla="*/ 99441 h 99441"/>
                    <a:gd name="connsiteX11" fmla="*/ 53054 w 80009"/>
                    <a:gd name="connsiteY11" fmla="*/ 72580 h 99441"/>
                    <a:gd name="connsiteX12" fmla="*/ 43910 w 80009"/>
                    <a:gd name="connsiteY12" fmla="*/ 59722 h 99441"/>
                    <a:gd name="connsiteX13" fmla="*/ 21336 w 80009"/>
                    <a:gd name="connsiteY13" fmla="*/ 59722 h 99441"/>
                    <a:gd name="connsiteX14" fmla="*/ 21336 w 80009"/>
                    <a:gd name="connsiteY14" fmla="*/ 99441 h 99441"/>
                    <a:gd name="connsiteX15" fmla="*/ 21431 w 80009"/>
                    <a:gd name="connsiteY15" fmla="*/ 43053 h 99441"/>
                    <a:gd name="connsiteX16" fmla="*/ 39243 w 80009"/>
                    <a:gd name="connsiteY16" fmla="*/ 43053 h 99441"/>
                    <a:gd name="connsiteX17" fmla="*/ 54293 w 80009"/>
                    <a:gd name="connsiteY17" fmla="*/ 29146 h 99441"/>
                    <a:gd name="connsiteX18" fmla="*/ 39243 w 80009"/>
                    <a:gd name="connsiteY18" fmla="*/ 16764 h 99441"/>
                    <a:gd name="connsiteX19" fmla="*/ 21431 w 80009"/>
                    <a:gd name="connsiteY19" fmla="*/ 16764 h 99441"/>
                    <a:gd name="connsiteX20" fmla="*/ 21431 w 80009"/>
                    <a:gd name="connsiteY20" fmla="*/ 43053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0009" h="99441">
                      <a:moveTo>
                        <a:pt x="21431" y="99441"/>
                      </a:move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42481" y="0"/>
                      </a:lnTo>
                      <a:cubicBezTo>
                        <a:pt x="65056" y="381"/>
                        <a:pt x="76486" y="8954"/>
                        <a:pt x="76867" y="25813"/>
                      </a:cubicBezTo>
                      <a:cubicBezTo>
                        <a:pt x="76486" y="38671"/>
                        <a:pt x="69723" y="46768"/>
                        <a:pt x="56483" y="50006"/>
                      </a:cubicBezTo>
                      <a:lnTo>
                        <a:pt x="56483" y="50578"/>
                      </a:lnTo>
                      <a:cubicBezTo>
                        <a:pt x="67532" y="50959"/>
                        <a:pt x="73533" y="58293"/>
                        <a:pt x="74200" y="72580"/>
                      </a:cubicBezTo>
                      <a:cubicBezTo>
                        <a:pt x="74486" y="74009"/>
                        <a:pt x="74676" y="75152"/>
                        <a:pt x="74676" y="75819"/>
                      </a:cubicBezTo>
                      <a:cubicBezTo>
                        <a:pt x="75724" y="87630"/>
                        <a:pt x="77533" y="95536"/>
                        <a:pt x="80010" y="99441"/>
                      </a:cubicBezTo>
                      <a:lnTo>
                        <a:pt x="56864" y="99441"/>
                      </a:lnTo>
                      <a:cubicBezTo>
                        <a:pt x="54673" y="90869"/>
                        <a:pt x="53435" y="81915"/>
                        <a:pt x="53054" y="72580"/>
                      </a:cubicBezTo>
                      <a:cubicBezTo>
                        <a:pt x="52292" y="63913"/>
                        <a:pt x="49244" y="59722"/>
                        <a:pt x="43910" y="59722"/>
                      </a:cubicBezTo>
                      <a:lnTo>
                        <a:pt x="21336" y="59722"/>
                      </a:lnTo>
                      <a:lnTo>
                        <a:pt x="21336" y="99441"/>
                      </a:lnTo>
                      <a:close/>
                      <a:moveTo>
                        <a:pt x="21431" y="43053"/>
                      </a:moveTo>
                      <a:lnTo>
                        <a:pt x="39243" y="43053"/>
                      </a:lnTo>
                      <a:cubicBezTo>
                        <a:pt x="49244" y="43053"/>
                        <a:pt x="54293" y="38481"/>
                        <a:pt x="54293" y="29146"/>
                      </a:cubicBezTo>
                      <a:cubicBezTo>
                        <a:pt x="54293" y="20574"/>
                        <a:pt x="49244" y="16478"/>
                        <a:pt x="39243" y="16764"/>
                      </a:cubicBezTo>
                      <a:lnTo>
                        <a:pt x="21431" y="16764"/>
                      </a:lnTo>
                      <a:lnTo>
                        <a:pt x="21431" y="43053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9" name="任意多边形: 形状 48">
                  <a:extLst>
                    <a:ext uri="{FF2B5EF4-FFF2-40B4-BE49-F238E27FC236}">
                      <a16:creationId xmlns:a16="http://schemas.microsoft.com/office/drawing/2014/main" id="{402EC1FD-9507-46AE-BD30-BE588770154A}"/>
                    </a:ext>
                  </a:extLst>
                </p:cNvPr>
                <p:cNvSpPr/>
                <p:nvPr/>
              </p:nvSpPr>
              <p:spPr>
                <a:xfrm>
                  <a:off x="5023059" y="7538180"/>
                  <a:ext cx="80603" cy="102679"/>
                </a:xfrm>
                <a:custGeom>
                  <a:avLst/>
                  <a:gdLst>
                    <a:gd name="connsiteX0" fmla="*/ 57544 w 80603"/>
                    <a:gd name="connsiteY0" fmla="*/ 30671 h 102679"/>
                    <a:gd name="connsiteX1" fmla="*/ 41447 w 80603"/>
                    <a:gd name="connsiteY1" fmla="*/ 15621 h 102679"/>
                    <a:gd name="connsiteX2" fmla="*/ 25254 w 80603"/>
                    <a:gd name="connsiteY2" fmla="*/ 28480 h 102679"/>
                    <a:gd name="connsiteX3" fmla="*/ 43542 w 80603"/>
                    <a:gd name="connsiteY3" fmla="*/ 42481 h 102679"/>
                    <a:gd name="connsiteX4" fmla="*/ 46209 w 80603"/>
                    <a:gd name="connsiteY4" fmla="*/ 42958 h 102679"/>
                    <a:gd name="connsiteX5" fmla="*/ 80594 w 80603"/>
                    <a:gd name="connsiteY5" fmla="*/ 70390 h 102679"/>
                    <a:gd name="connsiteX6" fmla="*/ 38113 w 80603"/>
                    <a:gd name="connsiteY6" fmla="*/ 102679 h 102679"/>
                    <a:gd name="connsiteX7" fmla="*/ 13 w 80603"/>
                    <a:gd name="connsiteY7" fmla="*/ 69818 h 102679"/>
                    <a:gd name="connsiteX8" fmla="*/ 21539 w 80603"/>
                    <a:gd name="connsiteY8" fmla="*/ 69818 h 102679"/>
                    <a:gd name="connsiteX9" fmla="*/ 38208 w 80603"/>
                    <a:gd name="connsiteY9" fmla="*/ 88106 h 102679"/>
                    <a:gd name="connsiteX10" fmla="*/ 58115 w 80603"/>
                    <a:gd name="connsiteY10" fmla="*/ 75247 h 102679"/>
                    <a:gd name="connsiteX11" fmla="*/ 39351 w 80603"/>
                    <a:gd name="connsiteY11" fmla="*/ 61246 h 102679"/>
                    <a:gd name="connsiteX12" fmla="*/ 35541 w 80603"/>
                    <a:gd name="connsiteY12" fmla="*/ 60198 h 102679"/>
                    <a:gd name="connsiteX13" fmla="*/ 2775 w 80603"/>
                    <a:gd name="connsiteY13" fmla="*/ 32766 h 102679"/>
                    <a:gd name="connsiteX14" fmla="*/ 44209 w 80603"/>
                    <a:gd name="connsiteY14" fmla="*/ 0 h 102679"/>
                    <a:gd name="connsiteX15" fmla="*/ 78118 w 80603"/>
                    <a:gd name="connsiteY15" fmla="*/ 30671 h 102679"/>
                    <a:gd name="connsiteX16" fmla="*/ 57544 w 80603"/>
                    <a:gd name="connsiteY16" fmla="*/ 30671 h 1026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80603" h="102679">
                      <a:moveTo>
                        <a:pt x="57544" y="30671"/>
                      </a:moveTo>
                      <a:cubicBezTo>
                        <a:pt x="57163" y="20669"/>
                        <a:pt x="51829" y="15621"/>
                        <a:pt x="41447" y="15621"/>
                      </a:cubicBezTo>
                      <a:cubicBezTo>
                        <a:pt x="31064" y="16383"/>
                        <a:pt x="25635" y="20669"/>
                        <a:pt x="25254" y="28480"/>
                      </a:cubicBezTo>
                      <a:cubicBezTo>
                        <a:pt x="24587" y="36004"/>
                        <a:pt x="30588" y="40672"/>
                        <a:pt x="43542" y="42481"/>
                      </a:cubicBezTo>
                      <a:cubicBezTo>
                        <a:pt x="43923" y="42481"/>
                        <a:pt x="44780" y="42672"/>
                        <a:pt x="46209" y="42958"/>
                      </a:cubicBezTo>
                      <a:cubicBezTo>
                        <a:pt x="69545" y="47625"/>
                        <a:pt x="80975" y="56769"/>
                        <a:pt x="80594" y="70390"/>
                      </a:cubicBezTo>
                      <a:cubicBezTo>
                        <a:pt x="80213" y="91249"/>
                        <a:pt x="66116" y="102013"/>
                        <a:pt x="38113" y="102679"/>
                      </a:cubicBezTo>
                      <a:cubicBezTo>
                        <a:pt x="12300" y="102679"/>
                        <a:pt x="-463" y="91821"/>
                        <a:pt x="13" y="69818"/>
                      </a:cubicBezTo>
                      <a:lnTo>
                        <a:pt x="21539" y="69818"/>
                      </a:lnTo>
                      <a:cubicBezTo>
                        <a:pt x="21539" y="81344"/>
                        <a:pt x="27064" y="87439"/>
                        <a:pt x="38208" y="88106"/>
                      </a:cubicBezTo>
                      <a:cubicBezTo>
                        <a:pt x="51162" y="87821"/>
                        <a:pt x="57734" y="83439"/>
                        <a:pt x="58115" y="75247"/>
                      </a:cubicBezTo>
                      <a:cubicBezTo>
                        <a:pt x="58115" y="68389"/>
                        <a:pt x="51829" y="63722"/>
                        <a:pt x="39351" y="61246"/>
                      </a:cubicBezTo>
                      <a:cubicBezTo>
                        <a:pt x="37541" y="60865"/>
                        <a:pt x="36303" y="60484"/>
                        <a:pt x="35541" y="60198"/>
                      </a:cubicBezTo>
                      <a:cubicBezTo>
                        <a:pt x="13729" y="55150"/>
                        <a:pt x="2775" y="46006"/>
                        <a:pt x="2775" y="32766"/>
                      </a:cubicBezTo>
                      <a:cubicBezTo>
                        <a:pt x="3918" y="12287"/>
                        <a:pt x="17729" y="1429"/>
                        <a:pt x="44209" y="0"/>
                      </a:cubicBezTo>
                      <a:cubicBezTo>
                        <a:pt x="65735" y="1048"/>
                        <a:pt x="76975" y="11335"/>
                        <a:pt x="78118" y="30671"/>
                      </a:cubicBezTo>
                      <a:lnTo>
                        <a:pt x="57544" y="3067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0" name="任意多边形: 形状 49">
                  <a:extLst>
                    <a:ext uri="{FF2B5EF4-FFF2-40B4-BE49-F238E27FC236}">
                      <a16:creationId xmlns:a16="http://schemas.microsoft.com/office/drawing/2014/main" id="{201E8737-930A-4D51-A090-9A0DBE5FAEC1}"/>
                    </a:ext>
                  </a:extLst>
                </p:cNvPr>
                <p:cNvSpPr/>
                <p:nvPr/>
              </p:nvSpPr>
              <p:spPr>
                <a:xfrm>
                  <a:off x="5118226" y="7540275"/>
                  <a:ext cx="21431" cy="99441"/>
                </a:xfrm>
                <a:custGeom>
                  <a:avLst/>
                  <a:gdLst>
                    <a:gd name="connsiteX0" fmla="*/ 21431 w 21431"/>
                    <a:gd name="connsiteY0" fmla="*/ 99441 h 99441"/>
                    <a:gd name="connsiteX1" fmla="*/ 0 w 21431"/>
                    <a:gd name="connsiteY1" fmla="*/ 99441 h 99441"/>
                    <a:gd name="connsiteX2" fmla="*/ 0 w 21431"/>
                    <a:gd name="connsiteY2" fmla="*/ 0 h 99441"/>
                    <a:gd name="connsiteX3" fmla="*/ 21431 w 21431"/>
                    <a:gd name="connsiteY3" fmla="*/ 0 h 99441"/>
                    <a:gd name="connsiteX4" fmla="*/ 21431 w 21431"/>
                    <a:gd name="connsiteY4" fmla="*/ 99441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431" h="99441">
                      <a:moveTo>
                        <a:pt x="21431" y="99441"/>
                      </a:move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21431" y="0"/>
                      </a:lnTo>
                      <a:lnTo>
                        <a:pt x="21431" y="9944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1" name="任意多边形: 形状 50">
                  <a:extLst>
                    <a:ext uri="{FF2B5EF4-FFF2-40B4-BE49-F238E27FC236}">
                      <a16:creationId xmlns:a16="http://schemas.microsoft.com/office/drawing/2014/main" id="{EABE6110-C272-48A4-9FBD-5B4103AAA2B9}"/>
                    </a:ext>
                  </a:extLst>
                </p:cNvPr>
                <p:cNvSpPr/>
                <p:nvPr/>
              </p:nvSpPr>
              <p:spPr>
                <a:xfrm>
                  <a:off x="5149373" y="7540371"/>
                  <a:ext cx="80581" cy="99440"/>
                </a:xfrm>
                <a:custGeom>
                  <a:avLst/>
                  <a:gdLst>
                    <a:gd name="connsiteX0" fmla="*/ 0 w 80581"/>
                    <a:gd name="connsiteY0" fmla="*/ 0 h 99440"/>
                    <a:gd name="connsiteX1" fmla="*/ 80581 w 80581"/>
                    <a:gd name="connsiteY1" fmla="*/ 0 h 99440"/>
                    <a:gd name="connsiteX2" fmla="*/ 80581 w 80581"/>
                    <a:gd name="connsiteY2" fmla="*/ 16669 h 99440"/>
                    <a:gd name="connsiteX3" fmla="*/ 51054 w 80581"/>
                    <a:gd name="connsiteY3" fmla="*/ 16669 h 99440"/>
                    <a:gd name="connsiteX4" fmla="*/ 51054 w 80581"/>
                    <a:gd name="connsiteY4" fmla="*/ 99441 h 99440"/>
                    <a:gd name="connsiteX5" fmla="*/ 29527 w 80581"/>
                    <a:gd name="connsiteY5" fmla="*/ 99441 h 99440"/>
                    <a:gd name="connsiteX6" fmla="*/ 29527 w 80581"/>
                    <a:gd name="connsiteY6" fmla="*/ 16669 h 99440"/>
                    <a:gd name="connsiteX7" fmla="*/ 0 w 80581"/>
                    <a:gd name="connsiteY7" fmla="*/ 16669 h 99440"/>
                    <a:gd name="connsiteX8" fmla="*/ 0 w 80581"/>
                    <a:gd name="connsiteY8" fmla="*/ 0 h 99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0581" h="99440">
                      <a:moveTo>
                        <a:pt x="0" y="0"/>
                      </a:moveTo>
                      <a:lnTo>
                        <a:pt x="80581" y="0"/>
                      </a:lnTo>
                      <a:lnTo>
                        <a:pt x="80581" y="16669"/>
                      </a:lnTo>
                      <a:lnTo>
                        <a:pt x="51054" y="16669"/>
                      </a:lnTo>
                      <a:lnTo>
                        <a:pt x="51054" y="99441"/>
                      </a:lnTo>
                      <a:lnTo>
                        <a:pt x="29527" y="99441"/>
                      </a:lnTo>
                      <a:lnTo>
                        <a:pt x="29527" y="16669"/>
                      </a:lnTo>
                      <a:lnTo>
                        <a:pt x="0" y="1666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2" name="任意多边形: 形状 51">
                  <a:extLst>
                    <a:ext uri="{FF2B5EF4-FFF2-40B4-BE49-F238E27FC236}">
                      <a16:creationId xmlns:a16="http://schemas.microsoft.com/office/drawing/2014/main" id="{5C848667-1A52-4647-8D46-4C8B15863F85}"/>
                    </a:ext>
                  </a:extLst>
                </p:cNvPr>
                <p:cNvSpPr/>
                <p:nvPr/>
              </p:nvSpPr>
              <p:spPr>
                <a:xfrm>
                  <a:off x="5233289" y="7540371"/>
                  <a:ext cx="88201" cy="99440"/>
                </a:xfrm>
                <a:custGeom>
                  <a:avLst/>
                  <a:gdLst>
                    <a:gd name="connsiteX0" fmla="*/ 33814 w 88201"/>
                    <a:gd name="connsiteY0" fmla="*/ 67151 h 99440"/>
                    <a:gd name="connsiteX1" fmla="*/ 0 w 88201"/>
                    <a:gd name="connsiteY1" fmla="*/ 0 h 99440"/>
                    <a:gd name="connsiteX2" fmla="*/ 25241 w 88201"/>
                    <a:gd name="connsiteY2" fmla="*/ 0 h 99440"/>
                    <a:gd name="connsiteX3" fmla="*/ 45720 w 88201"/>
                    <a:gd name="connsiteY3" fmla="*/ 45625 h 99440"/>
                    <a:gd name="connsiteX4" fmla="*/ 66675 w 88201"/>
                    <a:gd name="connsiteY4" fmla="*/ 0 h 99440"/>
                    <a:gd name="connsiteX5" fmla="*/ 88201 w 88201"/>
                    <a:gd name="connsiteY5" fmla="*/ 0 h 99440"/>
                    <a:gd name="connsiteX6" fmla="*/ 54864 w 88201"/>
                    <a:gd name="connsiteY6" fmla="*/ 67151 h 99440"/>
                    <a:gd name="connsiteX7" fmla="*/ 54864 w 88201"/>
                    <a:gd name="connsiteY7" fmla="*/ 99441 h 99440"/>
                    <a:gd name="connsiteX8" fmla="*/ 33909 w 88201"/>
                    <a:gd name="connsiteY8" fmla="*/ 99441 h 99440"/>
                    <a:gd name="connsiteX9" fmla="*/ 33909 w 88201"/>
                    <a:gd name="connsiteY9" fmla="*/ 67151 h 99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8201" h="99440">
                      <a:moveTo>
                        <a:pt x="33814" y="67151"/>
                      </a:moveTo>
                      <a:lnTo>
                        <a:pt x="0" y="0"/>
                      </a:lnTo>
                      <a:lnTo>
                        <a:pt x="25241" y="0"/>
                      </a:lnTo>
                      <a:lnTo>
                        <a:pt x="45720" y="45625"/>
                      </a:lnTo>
                      <a:lnTo>
                        <a:pt x="66675" y="0"/>
                      </a:lnTo>
                      <a:lnTo>
                        <a:pt x="88201" y="0"/>
                      </a:lnTo>
                      <a:lnTo>
                        <a:pt x="54864" y="67151"/>
                      </a:lnTo>
                      <a:lnTo>
                        <a:pt x="54864" y="99441"/>
                      </a:lnTo>
                      <a:lnTo>
                        <a:pt x="33909" y="99441"/>
                      </a:lnTo>
                      <a:lnTo>
                        <a:pt x="33909" y="6715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</p:grpSp>
        </p:grpSp>
      </p:grpSp>
      <p:grpSp>
        <p:nvGrpSpPr>
          <p:cNvPr id="151" name="组合 150">
            <a:extLst>
              <a:ext uri="{FF2B5EF4-FFF2-40B4-BE49-F238E27FC236}">
                <a16:creationId xmlns:a16="http://schemas.microsoft.com/office/drawing/2014/main" id="{18ED9513-F358-4DD5-ACD9-D3DC587F93CE}"/>
              </a:ext>
            </a:extLst>
          </p:cNvPr>
          <p:cNvGrpSpPr/>
          <p:nvPr userDrawn="1"/>
        </p:nvGrpSpPr>
        <p:grpSpPr>
          <a:xfrm>
            <a:off x="5921829" y="2272192"/>
            <a:ext cx="6270169" cy="2198208"/>
            <a:chOff x="6553199" y="2272192"/>
            <a:chExt cx="5638799" cy="2198208"/>
          </a:xfrm>
        </p:grpSpPr>
        <p:sp>
          <p:nvSpPr>
            <p:cNvPr id="152" name="矩形 151">
              <a:extLst>
                <a:ext uri="{FF2B5EF4-FFF2-40B4-BE49-F238E27FC236}">
                  <a16:creationId xmlns:a16="http://schemas.microsoft.com/office/drawing/2014/main" id="{3B61E5C2-71BD-45BA-964A-A0DB40A53319}"/>
                </a:ext>
              </a:extLst>
            </p:cNvPr>
            <p:cNvSpPr/>
            <p:nvPr/>
          </p:nvSpPr>
          <p:spPr>
            <a:xfrm>
              <a:off x="9372599" y="2272192"/>
              <a:ext cx="1409700" cy="2198208"/>
            </a:xfrm>
            <a:prstGeom prst="rect">
              <a:avLst/>
            </a:prstGeom>
            <a:blipFill>
              <a:blip r:embed="rId4" cstate="screen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3" name="矩形 152">
              <a:extLst>
                <a:ext uri="{FF2B5EF4-FFF2-40B4-BE49-F238E27FC236}">
                  <a16:creationId xmlns:a16="http://schemas.microsoft.com/office/drawing/2014/main" id="{B8A19717-A544-4BF6-909A-01E912C7CE9F}"/>
                </a:ext>
              </a:extLst>
            </p:cNvPr>
            <p:cNvSpPr/>
            <p:nvPr/>
          </p:nvSpPr>
          <p:spPr>
            <a:xfrm>
              <a:off x="10782298" y="2272192"/>
              <a:ext cx="1409700" cy="2198208"/>
            </a:xfrm>
            <a:prstGeom prst="rect">
              <a:avLst/>
            </a:prstGeom>
            <a:blipFill>
              <a:blip r:embed="rId5" cstate="screen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4" name="矩形 153">
              <a:extLst>
                <a:ext uri="{FF2B5EF4-FFF2-40B4-BE49-F238E27FC236}">
                  <a16:creationId xmlns:a16="http://schemas.microsoft.com/office/drawing/2014/main" id="{7B94110C-B969-4C83-9974-4F9C52E53C80}"/>
                </a:ext>
              </a:extLst>
            </p:cNvPr>
            <p:cNvSpPr/>
            <p:nvPr/>
          </p:nvSpPr>
          <p:spPr>
            <a:xfrm>
              <a:off x="7962900" y="2272192"/>
              <a:ext cx="1409700" cy="2198208"/>
            </a:xfrm>
            <a:prstGeom prst="rect">
              <a:avLst/>
            </a:prstGeom>
            <a:blipFill>
              <a:blip r:embed="rId6" cstate="screen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5" name="矩形 154">
              <a:extLst>
                <a:ext uri="{FF2B5EF4-FFF2-40B4-BE49-F238E27FC236}">
                  <a16:creationId xmlns:a16="http://schemas.microsoft.com/office/drawing/2014/main" id="{C6A6231C-081F-4412-96EB-B1F36F95CAF5}"/>
                </a:ext>
              </a:extLst>
            </p:cNvPr>
            <p:cNvSpPr/>
            <p:nvPr/>
          </p:nvSpPr>
          <p:spPr>
            <a:xfrm>
              <a:off x="6553199" y="2272192"/>
              <a:ext cx="1409700" cy="2198208"/>
            </a:xfrm>
            <a:prstGeom prst="rect">
              <a:avLst/>
            </a:prstGeom>
            <a:blipFill>
              <a:blip r:embed="rId7" cstate="screen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 l="217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099" y="3733800"/>
            <a:ext cx="8176760" cy="425854"/>
          </a:xfrm>
        </p:spPr>
        <p:txBody>
          <a:bodyPr vert="horz" lIns="91440" tIns="45720" rIns="91440" bIns="45720" rtlCol="0" anchor="b">
            <a:normAutofit/>
          </a:bodyPr>
          <a:lstStyle>
            <a:lvl1pPr marL="0" indent="0">
              <a:buNone/>
              <a:defRPr lang="en-US" b="0" i="0" u="sng" dirty="0">
                <a:solidFill>
                  <a:schemeClr val="accent4"/>
                </a:solidFill>
                <a:effectLst/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marL="228589" lvl="0" indent="-228589">
              <a:spcBef>
                <a:spcPct val="0"/>
              </a:spcBef>
            </a:pPr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1773938"/>
            <a:ext cx="8176760" cy="1959862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zh-CN" altLang="en-US" sz="4000" i="0" dirty="0">
                <a:solidFill>
                  <a:schemeClr val="accent2"/>
                </a:solidFill>
                <a:effectLst/>
                <a:latin typeface="+mj-ea"/>
              </a:defRPr>
            </a:lvl1pPr>
          </a:lstStyle>
          <a:p>
            <a:pPr marL="0" lvl="0" indent="0" fontAlgn="b">
              <a:lnSpc>
                <a:spcPct val="100000"/>
              </a:lnSpc>
              <a:buFont typeface="Arial" panose="020B0604020202020204" pitchFamily="34" charset="0"/>
            </a:pPr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538080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200" b="0">
                <a:solidFill>
                  <a:schemeClr val="accent6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834351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200" b="0">
                <a:solidFill>
                  <a:schemeClr val="accent6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75698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6814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7284A3C3-3E73-4805-AA03-2C1E90883AD6}"/>
              </a:ext>
            </a:extLst>
          </p:cNvPr>
          <p:cNvGrpSpPr/>
          <p:nvPr userDrawn="1"/>
        </p:nvGrpSpPr>
        <p:grpSpPr>
          <a:xfrm>
            <a:off x="5921829" y="2272192"/>
            <a:ext cx="6270169" cy="2198208"/>
            <a:chOff x="6553199" y="2272192"/>
            <a:chExt cx="5638799" cy="2198208"/>
          </a:xfrm>
        </p:grpSpPr>
        <p:sp>
          <p:nvSpPr>
            <p:cNvPr id="5" name="矩形 4">
              <a:extLst>
                <a:ext uri="{FF2B5EF4-FFF2-40B4-BE49-F238E27FC236}">
                  <a16:creationId xmlns:a16="http://schemas.microsoft.com/office/drawing/2014/main" id="{7376F2CA-04F3-4A69-9AFA-44B60B138F9D}"/>
                </a:ext>
              </a:extLst>
            </p:cNvPr>
            <p:cNvSpPr/>
            <p:nvPr/>
          </p:nvSpPr>
          <p:spPr>
            <a:xfrm>
              <a:off x="9372599" y="2272192"/>
              <a:ext cx="1409700" cy="2198208"/>
            </a:xfrm>
            <a:prstGeom prst="rect">
              <a:avLst/>
            </a:prstGeom>
            <a:blipFill>
              <a:blip r:embed="rId2" cstate="screen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BA073AAB-1FCC-4306-825A-9244233F51F9}"/>
                </a:ext>
              </a:extLst>
            </p:cNvPr>
            <p:cNvSpPr/>
            <p:nvPr/>
          </p:nvSpPr>
          <p:spPr>
            <a:xfrm>
              <a:off x="10782298" y="2272192"/>
              <a:ext cx="1409700" cy="2198208"/>
            </a:xfrm>
            <a:prstGeom prst="rect">
              <a:avLst/>
            </a:prstGeom>
            <a:blipFill>
              <a:blip r:embed="rId3" cstate="screen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BFD072F6-D6EA-49D0-B091-9155EF201B0B}"/>
                </a:ext>
              </a:extLst>
            </p:cNvPr>
            <p:cNvSpPr/>
            <p:nvPr/>
          </p:nvSpPr>
          <p:spPr>
            <a:xfrm>
              <a:off x="7962900" y="2272192"/>
              <a:ext cx="1409700" cy="2198208"/>
            </a:xfrm>
            <a:prstGeom prst="rect">
              <a:avLst/>
            </a:prstGeom>
            <a:blipFill>
              <a:blip r:embed="rId4" cstate="screen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6EA10012-2F5C-4324-9385-D428D51F9650}"/>
                </a:ext>
              </a:extLst>
            </p:cNvPr>
            <p:cNvSpPr/>
            <p:nvPr/>
          </p:nvSpPr>
          <p:spPr>
            <a:xfrm>
              <a:off x="6553199" y="2272192"/>
              <a:ext cx="1409700" cy="2198208"/>
            </a:xfrm>
            <a:prstGeom prst="rect">
              <a:avLst/>
            </a:prstGeom>
            <a:blipFill>
              <a:blip r:embed="rId5" cstate="screen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 l="217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>
            <a:extLst>
              <a:ext uri="{FF2B5EF4-FFF2-40B4-BE49-F238E27FC236}">
                <a16:creationId xmlns:a16="http://schemas.microsoft.com/office/drawing/2014/main" id="{13010825-75AF-4D17-83B1-6B397F214C3E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3940655"/>
            <a:chExt cx="12192000" cy="6858000"/>
          </a:xfrm>
        </p:grpSpPr>
        <p:pic>
          <p:nvPicPr>
            <p:cNvPr id="2" name="Picture 40">
              <a:extLst>
                <a:ext uri="{FF2B5EF4-FFF2-40B4-BE49-F238E27FC236}">
                  <a16:creationId xmlns:a16="http://schemas.microsoft.com/office/drawing/2014/main" id="{989194E1-FC3A-4B16-9C29-8276DC36E599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0" y="5701192"/>
              <a:ext cx="12192000" cy="50974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矩形 2">
              <a:extLst>
                <a:ext uri="{FF2B5EF4-FFF2-40B4-BE49-F238E27FC236}">
                  <a16:creationId xmlns:a16="http://schemas.microsoft.com/office/drawing/2014/main" id="{20D01333-FDE2-46E2-9109-9E77E0899925}"/>
                </a:ext>
              </a:extLst>
            </p:cNvPr>
            <p:cNvSpPr/>
            <p:nvPr userDrawn="1"/>
          </p:nvSpPr>
          <p:spPr>
            <a:xfrm>
              <a:off x="0" y="3940655"/>
              <a:ext cx="12192000" cy="6858000"/>
            </a:xfrm>
            <a:prstGeom prst="rect">
              <a:avLst/>
            </a:prstGeom>
            <a:gradFill>
              <a:gsLst>
                <a:gs pos="36000">
                  <a:schemeClr val="bg1"/>
                </a:gs>
                <a:gs pos="100000">
                  <a:schemeClr val="bg1">
                    <a:alpha val="73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135063"/>
            <a:ext cx="10845798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3441299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145028"/>
            <a:ext cx="1084579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39E1D21A-BFD8-480F-95BB-151A73DE8176}"/>
              </a:ext>
            </a:extLst>
          </p:cNvPr>
          <p:cNvGrpSpPr/>
          <p:nvPr userDrawn="1"/>
        </p:nvGrpSpPr>
        <p:grpSpPr>
          <a:xfrm>
            <a:off x="2873829" y="4648200"/>
            <a:ext cx="6270169" cy="1379763"/>
            <a:chOff x="6553199" y="2272192"/>
            <a:chExt cx="5638799" cy="2198208"/>
          </a:xfrm>
        </p:grpSpPr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873733DE-0EC7-4E75-9DE7-C7C3E5161289}"/>
                </a:ext>
              </a:extLst>
            </p:cNvPr>
            <p:cNvSpPr/>
            <p:nvPr/>
          </p:nvSpPr>
          <p:spPr>
            <a:xfrm>
              <a:off x="9372599" y="2272192"/>
              <a:ext cx="1409700" cy="2198208"/>
            </a:xfrm>
            <a:prstGeom prst="rect">
              <a:avLst/>
            </a:prstGeom>
            <a:blipFill>
              <a:blip r:embed="rId4" cstate="screen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F8CE4315-69B7-4D73-90DB-2859FF49A6A5}"/>
                </a:ext>
              </a:extLst>
            </p:cNvPr>
            <p:cNvSpPr/>
            <p:nvPr/>
          </p:nvSpPr>
          <p:spPr>
            <a:xfrm>
              <a:off x="10782298" y="2272192"/>
              <a:ext cx="1409700" cy="2198208"/>
            </a:xfrm>
            <a:prstGeom prst="rect">
              <a:avLst/>
            </a:prstGeom>
            <a:blipFill>
              <a:blip r:embed="rId5" cstate="screen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94391BA9-BADE-4F2C-8C19-8C61D2D0C060}"/>
                </a:ext>
              </a:extLst>
            </p:cNvPr>
            <p:cNvSpPr/>
            <p:nvPr/>
          </p:nvSpPr>
          <p:spPr>
            <a:xfrm>
              <a:off x="7962900" y="2272192"/>
              <a:ext cx="1409700" cy="2198208"/>
            </a:xfrm>
            <a:prstGeom prst="rect">
              <a:avLst/>
            </a:prstGeom>
            <a:blipFill>
              <a:blip r:embed="rId6" cstate="screen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ED9DDECC-AAF9-4CF3-B0C8-486F4AF852FF}"/>
                </a:ext>
              </a:extLst>
            </p:cNvPr>
            <p:cNvSpPr/>
            <p:nvPr/>
          </p:nvSpPr>
          <p:spPr>
            <a:xfrm>
              <a:off x="6553199" y="2272192"/>
              <a:ext cx="1409700" cy="2198208"/>
            </a:xfrm>
            <a:prstGeom prst="rect">
              <a:avLst/>
            </a:prstGeom>
            <a:blipFill>
              <a:blip r:embed="rId7" cstate="screen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 l="217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99D353D9-ADA3-4E7E-9735-C36317BA3C62}"/>
              </a:ext>
            </a:extLst>
          </p:cNvPr>
          <p:cNvGrpSpPr/>
          <p:nvPr userDrawn="1"/>
        </p:nvGrpSpPr>
        <p:grpSpPr>
          <a:xfrm>
            <a:off x="9708290" y="569958"/>
            <a:ext cx="1812197" cy="410323"/>
            <a:chOff x="7537450" y="-861601"/>
            <a:chExt cx="2669040" cy="604332"/>
          </a:xfrm>
        </p:grpSpPr>
        <p:grpSp>
          <p:nvGrpSpPr>
            <p:cNvPr id="12" name="图形 7">
              <a:extLst>
                <a:ext uri="{FF2B5EF4-FFF2-40B4-BE49-F238E27FC236}">
                  <a16:creationId xmlns:a16="http://schemas.microsoft.com/office/drawing/2014/main" id="{A0230BB4-1EDB-4554-B5E1-690B3B62B54B}"/>
                </a:ext>
              </a:extLst>
            </p:cNvPr>
            <p:cNvGrpSpPr/>
            <p:nvPr/>
          </p:nvGrpSpPr>
          <p:grpSpPr>
            <a:xfrm>
              <a:off x="7537450" y="-861601"/>
              <a:ext cx="604826" cy="604332"/>
              <a:chOff x="1948711" y="3428943"/>
              <a:chExt cx="3240058" cy="3237414"/>
            </a:xfrm>
          </p:grpSpPr>
          <p:grpSp>
            <p:nvGrpSpPr>
              <p:cNvPr id="71" name="图形 7">
                <a:extLst>
                  <a:ext uri="{FF2B5EF4-FFF2-40B4-BE49-F238E27FC236}">
                    <a16:creationId xmlns:a16="http://schemas.microsoft.com/office/drawing/2014/main" id="{F3D34B2A-5D60-4838-A8B3-6A67B9034B1F}"/>
                  </a:ext>
                </a:extLst>
              </p:cNvPr>
              <p:cNvGrpSpPr/>
              <p:nvPr/>
            </p:nvGrpSpPr>
            <p:grpSpPr>
              <a:xfrm>
                <a:off x="1948711" y="3428943"/>
                <a:ext cx="3240058" cy="3237414"/>
                <a:chOff x="1948710" y="3428943"/>
                <a:chExt cx="3240058" cy="3237414"/>
              </a:xfrm>
              <a:solidFill>
                <a:srgbClr val="00993E"/>
              </a:solidFill>
            </p:grpSpPr>
            <p:sp>
              <p:nvSpPr>
                <p:cNvPr id="150" name="任意多边形: 形状 149">
                  <a:extLst>
                    <a:ext uri="{FF2B5EF4-FFF2-40B4-BE49-F238E27FC236}">
                      <a16:creationId xmlns:a16="http://schemas.microsoft.com/office/drawing/2014/main" id="{A93CFF42-07F5-4512-8A30-B65DC8E8C3EF}"/>
                    </a:ext>
                  </a:extLst>
                </p:cNvPr>
                <p:cNvSpPr/>
                <p:nvPr/>
              </p:nvSpPr>
              <p:spPr>
                <a:xfrm>
                  <a:off x="1949069" y="3428943"/>
                  <a:ext cx="3239642" cy="3237414"/>
                </a:xfrm>
                <a:custGeom>
                  <a:avLst/>
                  <a:gdLst>
                    <a:gd name="connsiteX0" fmla="*/ 1612202 w 3239642"/>
                    <a:gd name="connsiteY0" fmla="*/ 3167977 h 3237414"/>
                    <a:gd name="connsiteX1" fmla="*/ 1660779 w 3239642"/>
                    <a:gd name="connsiteY1" fmla="*/ 3164357 h 3237414"/>
                    <a:gd name="connsiteX2" fmla="*/ 1785557 w 3239642"/>
                    <a:gd name="connsiteY2" fmla="*/ 3155309 h 3237414"/>
                    <a:gd name="connsiteX3" fmla="*/ 2056067 w 3239642"/>
                    <a:gd name="connsiteY3" fmla="*/ 3099683 h 3237414"/>
                    <a:gd name="connsiteX4" fmla="*/ 3034665 w 3239642"/>
                    <a:gd name="connsiteY4" fmla="*/ 2211286 h 3237414"/>
                    <a:gd name="connsiteX5" fmla="*/ 3135344 w 3239642"/>
                    <a:gd name="connsiteY5" fmla="*/ 1836953 h 3237414"/>
                    <a:gd name="connsiteX6" fmla="*/ 3147346 w 3239642"/>
                    <a:gd name="connsiteY6" fmla="*/ 1676266 h 3237414"/>
                    <a:gd name="connsiteX7" fmla="*/ 3141345 w 3239642"/>
                    <a:gd name="connsiteY7" fmla="*/ 1467288 h 3237414"/>
                    <a:gd name="connsiteX8" fmla="*/ 3037713 w 3239642"/>
                    <a:gd name="connsiteY8" fmla="*/ 1055332 h 3237414"/>
                    <a:gd name="connsiteX9" fmla="*/ 1612202 w 3239642"/>
                    <a:gd name="connsiteY9" fmla="*/ 90544 h 3237414"/>
                    <a:gd name="connsiteX10" fmla="*/ 1612202 w 3239642"/>
                    <a:gd name="connsiteY10" fmla="*/ 152 h 3237414"/>
                    <a:gd name="connsiteX11" fmla="*/ 3118961 w 3239642"/>
                    <a:gd name="connsiteY11" fmla="*/ 1014851 h 3237414"/>
                    <a:gd name="connsiteX12" fmla="*/ 3227070 w 3239642"/>
                    <a:gd name="connsiteY12" fmla="*/ 1438808 h 3237414"/>
                    <a:gd name="connsiteX13" fmla="*/ 3234690 w 3239642"/>
                    <a:gd name="connsiteY13" fmla="*/ 1566539 h 3237414"/>
                    <a:gd name="connsiteX14" fmla="*/ 3239643 w 3239642"/>
                    <a:gd name="connsiteY14" fmla="*/ 1632261 h 3237414"/>
                    <a:gd name="connsiteX15" fmla="*/ 3239643 w 3239642"/>
                    <a:gd name="connsiteY15" fmla="*/ 1646168 h 3237414"/>
                    <a:gd name="connsiteX16" fmla="*/ 3227070 w 3239642"/>
                    <a:gd name="connsiteY16" fmla="*/ 1780089 h 3237414"/>
                    <a:gd name="connsiteX17" fmla="*/ 3210497 w 3239642"/>
                    <a:gd name="connsiteY17" fmla="*/ 1907724 h 3237414"/>
                    <a:gd name="connsiteX18" fmla="*/ 3112675 w 3239642"/>
                    <a:gd name="connsiteY18" fmla="*/ 2238527 h 3237414"/>
                    <a:gd name="connsiteX19" fmla="*/ 2095119 w 3239642"/>
                    <a:gd name="connsiteY19" fmla="*/ 3162929 h 3237414"/>
                    <a:gd name="connsiteX20" fmla="*/ 1823180 w 3239642"/>
                    <a:gd name="connsiteY20" fmla="*/ 3221507 h 3237414"/>
                    <a:gd name="connsiteX21" fmla="*/ 1669733 w 3239642"/>
                    <a:gd name="connsiteY21" fmla="*/ 3233604 h 3237414"/>
                    <a:gd name="connsiteX22" fmla="*/ 1612202 w 3239642"/>
                    <a:gd name="connsiteY22" fmla="*/ 3237414 h 3237414"/>
                    <a:gd name="connsiteX23" fmla="*/ 1612202 w 3239642"/>
                    <a:gd name="connsiteY23" fmla="*/ 3167977 h 3237414"/>
                    <a:gd name="connsiteX24" fmla="*/ 1391793 w 3239642"/>
                    <a:gd name="connsiteY24" fmla="*/ 105499 h 3237414"/>
                    <a:gd name="connsiteX25" fmla="*/ 1082231 w 3239642"/>
                    <a:gd name="connsiteY25" fmla="*/ 183604 h 3237414"/>
                    <a:gd name="connsiteX26" fmla="*/ 160687 w 3239642"/>
                    <a:gd name="connsiteY26" fmla="*/ 1118768 h 3237414"/>
                    <a:gd name="connsiteX27" fmla="*/ 90107 w 3239642"/>
                    <a:gd name="connsiteY27" fmla="*/ 1407185 h 3237414"/>
                    <a:gd name="connsiteX28" fmla="*/ 136684 w 3239642"/>
                    <a:gd name="connsiteY28" fmla="*/ 2054981 h 3237414"/>
                    <a:gd name="connsiteX29" fmla="*/ 990410 w 3239642"/>
                    <a:gd name="connsiteY29" fmla="*/ 3032055 h 3237414"/>
                    <a:gd name="connsiteX30" fmla="*/ 1283494 w 3239642"/>
                    <a:gd name="connsiteY30" fmla="*/ 3129877 h 3237414"/>
                    <a:gd name="connsiteX31" fmla="*/ 1451801 w 3239642"/>
                    <a:gd name="connsiteY31" fmla="*/ 3155404 h 3237414"/>
                    <a:gd name="connsiteX32" fmla="*/ 1612202 w 3239642"/>
                    <a:gd name="connsiteY32" fmla="*/ 3168072 h 3237414"/>
                    <a:gd name="connsiteX33" fmla="*/ 1612202 w 3239642"/>
                    <a:gd name="connsiteY33" fmla="*/ 3237319 h 3237414"/>
                    <a:gd name="connsiteX34" fmla="*/ 1456277 w 3239642"/>
                    <a:gd name="connsiteY34" fmla="*/ 3224555 h 3237414"/>
                    <a:gd name="connsiteX35" fmla="*/ 1304639 w 3239642"/>
                    <a:gd name="connsiteY35" fmla="*/ 3203600 h 3237414"/>
                    <a:gd name="connsiteX36" fmla="*/ 981361 w 3239642"/>
                    <a:gd name="connsiteY36" fmla="*/ 3101302 h 3237414"/>
                    <a:gd name="connsiteX37" fmla="*/ 68961 w 3239642"/>
                    <a:gd name="connsiteY37" fmla="*/ 2071649 h 3237414"/>
                    <a:gd name="connsiteX38" fmla="*/ 0 w 3239642"/>
                    <a:gd name="connsiteY38" fmla="*/ 1637309 h 3237414"/>
                    <a:gd name="connsiteX39" fmla="*/ 0 w 3239642"/>
                    <a:gd name="connsiteY39" fmla="*/ 1568539 h 3237414"/>
                    <a:gd name="connsiteX40" fmla="*/ 18002 w 3239642"/>
                    <a:gd name="connsiteY40" fmla="*/ 1390707 h 3237414"/>
                    <a:gd name="connsiteX41" fmla="*/ 88583 w 3239642"/>
                    <a:gd name="connsiteY41" fmla="*/ 1094575 h 3237414"/>
                    <a:gd name="connsiteX42" fmla="*/ 1071563 w 3239642"/>
                    <a:gd name="connsiteY42" fmla="*/ 94926 h 3237414"/>
                    <a:gd name="connsiteX43" fmla="*/ 1393317 w 3239642"/>
                    <a:gd name="connsiteY43" fmla="*/ 15202 h 3237414"/>
                    <a:gd name="connsiteX44" fmla="*/ 1569053 w 3239642"/>
                    <a:gd name="connsiteY44" fmla="*/ 247 h 3237414"/>
                    <a:gd name="connsiteX45" fmla="*/ 1612106 w 3239642"/>
                    <a:gd name="connsiteY45" fmla="*/ 57 h 3237414"/>
                    <a:gd name="connsiteX46" fmla="*/ 1612106 w 3239642"/>
                    <a:gd name="connsiteY46" fmla="*/ 90544 h 3237414"/>
                    <a:gd name="connsiteX47" fmla="*/ 1562957 w 3239642"/>
                    <a:gd name="connsiteY47" fmla="*/ 90544 h 3237414"/>
                    <a:gd name="connsiteX48" fmla="*/ 1391793 w 3239642"/>
                    <a:gd name="connsiteY48" fmla="*/ 105499 h 32374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3239642" h="3237414">
                      <a:moveTo>
                        <a:pt x="1612202" y="3167977"/>
                      </a:moveTo>
                      <a:cubicBezTo>
                        <a:pt x="1630394" y="3167786"/>
                        <a:pt x="1647158" y="3166548"/>
                        <a:pt x="1660779" y="3164357"/>
                      </a:cubicBezTo>
                      <a:cubicBezTo>
                        <a:pt x="1702308" y="3161309"/>
                        <a:pt x="1743932" y="3158356"/>
                        <a:pt x="1785557" y="3155309"/>
                      </a:cubicBezTo>
                      <a:cubicBezTo>
                        <a:pt x="1881378" y="3137973"/>
                        <a:pt x="1971389" y="3126257"/>
                        <a:pt x="2056067" y="3099683"/>
                      </a:cubicBezTo>
                      <a:cubicBezTo>
                        <a:pt x="2522982" y="2953188"/>
                        <a:pt x="2851976" y="2642292"/>
                        <a:pt x="3034665" y="2211286"/>
                      </a:cubicBezTo>
                      <a:cubicBezTo>
                        <a:pt x="3082671" y="2097938"/>
                        <a:pt x="3109436" y="1974113"/>
                        <a:pt x="3135344" y="1836953"/>
                      </a:cubicBezTo>
                      <a:cubicBezTo>
                        <a:pt x="3145155" y="1784852"/>
                        <a:pt x="3138011" y="1732654"/>
                        <a:pt x="3147346" y="1676266"/>
                      </a:cubicBezTo>
                      <a:cubicBezTo>
                        <a:pt x="3156966" y="1617974"/>
                        <a:pt x="3150965" y="1521581"/>
                        <a:pt x="3141345" y="1467288"/>
                      </a:cubicBezTo>
                      <a:cubicBezTo>
                        <a:pt x="3114294" y="1312983"/>
                        <a:pt x="3088767" y="1179633"/>
                        <a:pt x="3037713" y="1055332"/>
                      </a:cubicBezTo>
                      <a:cubicBezTo>
                        <a:pt x="2825972" y="540410"/>
                        <a:pt x="2338578" y="99307"/>
                        <a:pt x="1612202" y="90544"/>
                      </a:cubicBezTo>
                      <a:lnTo>
                        <a:pt x="1612202" y="152"/>
                      </a:lnTo>
                      <a:cubicBezTo>
                        <a:pt x="2379821" y="6439"/>
                        <a:pt x="2895791" y="471449"/>
                        <a:pt x="3118961" y="1014851"/>
                      </a:cubicBezTo>
                      <a:cubicBezTo>
                        <a:pt x="3171444" y="1142962"/>
                        <a:pt x="3198781" y="1280217"/>
                        <a:pt x="3227070" y="1438808"/>
                      </a:cubicBezTo>
                      <a:cubicBezTo>
                        <a:pt x="3229547" y="1481385"/>
                        <a:pt x="3232118" y="1524057"/>
                        <a:pt x="3234690" y="1566539"/>
                      </a:cubicBezTo>
                      <a:cubicBezTo>
                        <a:pt x="3237929" y="1586922"/>
                        <a:pt x="3239453" y="1609306"/>
                        <a:pt x="3239643" y="1632261"/>
                      </a:cubicBezTo>
                      <a:lnTo>
                        <a:pt x="3239643" y="1646168"/>
                      </a:lnTo>
                      <a:cubicBezTo>
                        <a:pt x="3239167" y="1693697"/>
                        <a:pt x="3233642" y="1742561"/>
                        <a:pt x="3227070" y="1780089"/>
                      </a:cubicBezTo>
                      <a:cubicBezTo>
                        <a:pt x="3221641" y="1822666"/>
                        <a:pt x="3216021" y="1865243"/>
                        <a:pt x="3210497" y="1907724"/>
                      </a:cubicBezTo>
                      <a:cubicBezTo>
                        <a:pt x="3184112" y="2026787"/>
                        <a:pt x="3155918" y="2136800"/>
                        <a:pt x="3112675" y="2238527"/>
                      </a:cubicBezTo>
                      <a:cubicBezTo>
                        <a:pt x="2923604" y="2684297"/>
                        <a:pt x="2577370" y="3010529"/>
                        <a:pt x="2095119" y="3162929"/>
                      </a:cubicBezTo>
                      <a:cubicBezTo>
                        <a:pt x="2009775" y="3189980"/>
                        <a:pt x="1919097" y="3203696"/>
                        <a:pt x="1823180" y="3221507"/>
                      </a:cubicBezTo>
                      <a:cubicBezTo>
                        <a:pt x="1771936" y="3225508"/>
                        <a:pt x="1720977" y="3229604"/>
                        <a:pt x="1669733" y="3233604"/>
                      </a:cubicBezTo>
                      <a:cubicBezTo>
                        <a:pt x="1653826" y="3236271"/>
                        <a:pt x="1634014" y="3237319"/>
                        <a:pt x="1612202" y="3237414"/>
                      </a:cubicBezTo>
                      <a:lnTo>
                        <a:pt x="1612202" y="3167977"/>
                      </a:lnTo>
                      <a:close/>
                      <a:moveTo>
                        <a:pt x="1391793" y="105499"/>
                      </a:moveTo>
                      <a:cubicBezTo>
                        <a:pt x="1281113" y="127120"/>
                        <a:pt x="1177099" y="146551"/>
                        <a:pt x="1082231" y="183604"/>
                      </a:cubicBezTo>
                      <a:cubicBezTo>
                        <a:pt x="632269" y="359245"/>
                        <a:pt x="335947" y="667759"/>
                        <a:pt x="160687" y="1118768"/>
                      </a:cubicBezTo>
                      <a:cubicBezTo>
                        <a:pt x="126397" y="1206779"/>
                        <a:pt x="109823" y="1305173"/>
                        <a:pt x="90107" y="1407185"/>
                      </a:cubicBezTo>
                      <a:cubicBezTo>
                        <a:pt x="48482" y="1621688"/>
                        <a:pt x="84582" y="1883912"/>
                        <a:pt x="136684" y="2054981"/>
                      </a:cubicBezTo>
                      <a:cubicBezTo>
                        <a:pt x="277654" y="2517134"/>
                        <a:pt x="571595" y="2848604"/>
                        <a:pt x="990410" y="3032055"/>
                      </a:cubicBezTo>
                      <a:cubicBezTo>
                        <a:pt x="1080516" y="3071584"/>
                        <a:pt x="1178243" y="3103588"/>
                        <a:pt x="1283494" y="3129877"/>
                      </a:cubicBezTo>
                      <a:cubicBezTo>
                        <a:pt x="1338167" y="3143402"/>
                        <a:pt x="1392460" y="3144926"/>
                        <a:pt x="1451801" y="3155404"/>
                      </a:cubicBezTo>
                      <a:cubicBezTo>
                        <a:pt x="1487424" y="3161690"/>
                        <a:pt x="1556671" y="3168929"/>
                        <a:pt x="1612202" y="3168072"/>
                      </a:cubicBezTo>
                      <a:lnTo>
                        <a:pt x="1612202" y="3237319"/>
                      </a:lnTo>
                      <a:cubicBezTo>
                        <a:pt x="1557052" y="3237319"/>
                        <a:pt x="1491139" y="3230556"/>
                        <a:pt x="1456277" y="3224555"/>
                      </a:cubicBezTo>
                      <a:cubicBezTo>
                        <a:pt x="1402747" y="3215316"/>
                        <a:pt x="1354265" y="3214649"/>
                        <a:pt x="1304639" y="3203600"/>
                      </a:cubicBezTo>
                      <a:cubicBezTo>
                        <a:pt x="1187672" y="3177311"/>
                        <a:pt x="1080230" y="3143783"/>
                        <a:pt x="981361" y="3101302"/>
                      </a:cubicBezTo>
                      <a:cubicBezTo>
                        <a:pt x="534448" y="2908516"/>
                        <a:pt x="219170" y="2561520"/>
                        <a:pt x="68961" y="2071649"/>
                      </a:cubicBezTo>
                      <a:cubicBezTo>
                        <a:pt x="32861" y="1953730"/>
                        <a:pt x="3715" y="1795900"/>
                        <a:pt x="0" y="1637309"/>
                      </a:cubicBezTo>
                      <a:lnTo>
                        <a:pt x="0" y="1568539"/>
                      </a:lnTo>
                      <a:cubicBezTo>
                        <a:pt x="1524" y="1507865"/>
                        <a:pt x="7144" y="1447857"/>
                        <a:pt x="18002" y="1390707"/>
                      </a:cubicBezTo>
                      <a:cubicBezTo>
                        <a:pt x="37528" y="1286408"/>
                        <a:pt x="53531" y="1184872"/>
                        <a:pt x="88583" y="1094575"/>
                      </a:cubicBezTo>
                      <a:cubicBezTo>
                        <a:pt x="278797" y="604799"/>
                        <a:pt x="582644" y="285426"/>
                        <a:pt x="1071563" y="94926"/>
                      </a:cubicBezTo>
                      <a:cubicBezTo>
                        <a:pt x="1169861" y="56635"/>
                        <a:pt x="1278445" y="36919"/>
                        <a:pt x="1393317" y="15202"/>
                      </a:cubicBezTo>
                      <a:cubicBezTo>
                        <a:pt x="1451801" y="10249"/>
                        <a:pt x="1510474" y="5200"/>
                        <a:pt x="1569053" y="247"/>
                      </a:cubicBezTo>
                      <a:cubicBezTo>
                        <a:pt x="1583531" y="-38"/>
                        <a:pt x="1597819" y="-38"/>
                        <a:pt x="1612106" y="57"/>
                      </a:cubicBezTo>
                      <a:lnTo>
                        <a:pt x="1612106" y="90544"/>
                      </a:lnTo>
                      <a:cubicBezTo>
                        <a:pt x="1595914" y="90259"/>
                        <a:pt x="1579436" y="90259"/>
                        <a:pt x="1562957" y="90544"/>
                      </a:cubicBezTo>
                      <a:cubicBezTo>
                        <a:pt x="1505903" y="95593"/>
                        <a:pt x="1448848" y="100450"/>
                        <a:pt x="1391793" y="105499"/>
                      </a:cubicBezTo>
                      <a:close/>
                    </a:path>
                  </a:pathLst>
                </a:custGeom>
                <a:solidFill>
                  <a:srgbClr val="00993E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51" name="任意多边形: 形状 150">
                  <a:extLst>
                    <a:ext uri="{FF2B5EF4-FFF2-40B4-BE49-F238E27FC236}">
                      <a16:creationId xmlns:a16="http://schemas.microsoft.com/office/drawing/2014/main" id="{0EE12404-9815-42E1-8261-18E5D0F2EAD0}"/>
                    </a:ext>
                  </a:extLst>
                </p:cNvPr>
                <p:cNvSpPr/>
                <p:nvPr/>
              </p:nvSpPr>
              <p:spPr>
                <a:xfrm>
                  <a:off x="1948710" y="3429082"/>
                  <a:ext cx="3240058" cy="3237140"/>
                </a:xfrm>
                <a:custGeom>
                  <a:avLst/>
                  <a:gdLst>
                    <a:gd name="connsiteX0" fmla="*/ 1392152 w 3240058"/>
                    <a:gd name="connsiteY0" fmla="*/ 105359 h 3237140"/>
                    <a:gd name="connsiteX1" fmla="*/ 1082589 w 3240058"/>
                    <a:gd name="connsiteY1" fmla="*/ 183464 h 3237140"/>
                    <a:gd name="connsiteX2" fmla="*/ 161046 w 3240058"/>
                    <a:gd name="connsiteY2" fmla="*/ 1118629 h 3237140"/>
                    <a:gd name="connsiteX3" fmla="*/ 90465 w 3240058"/>
                    <a:gd name="connsiteY3" fmla="*/ 1407046 h 3237140"/>
                    <a:gd name="connsiteX4" fmla="*/ 137043 w 3240058"/>
                    <a:gd name="connsiteY4" fmla="*/ 2054841 h 3237140"/>
                    <a:gd name="connsiteX5" fmla="*/ 990768 w 3240058"/>
                    <a:gd name="connsiteY5" fmla="*/ 3031916 h 3237140"/>
                    <a:gd name="connsiteX6" fmla="*/ 1283853 w 3240058"/>
                    <a:gd name="connsiteY6" fmla="*/ 3129737 h 3237140"/>
                    <a:gd name="connsiteX7" fmla="*/ 1452159 w 3240058"/>
                    <a:gd name="connsiteY7" fmla="*/ 3155264 h 3237140"/>
                    <a:gd name="connsiteX8" fmla="*/ 1661138 w 3240058"/>
                    <a:gd name="connsiteY8" fmla="*/ 3164313 h 3237140"/>
                    <a:gd name="connsiteX9" fmla="*/ 1785915 w 3240058"/>
                    <a:gd name="connsiteY9" fmla="*/ 3155264 h 3237140"/>
                    <a:gd name="connsiteX10" fmla="*/ 2056425 w 3240058"/>
                    <a:gd name="connsiteY10" fmla="*/ 3099638 h 3237140"/>
                    <a:gd name="connsiteX11" fmla="*/ 3035024 w 3240058"/>
                    <a:gd name="connsiteY11" fmla="*/ 2211242 h 3237140"/>
                    <a:gd name="connsiteX12" fmla="*/ 3135703 w 3240058"/>
                    <a:gd name="connsiteY12" fmla="*/ 1836909 h 3237140"/>
                    <a:gd name="connsiteX13" fmla="*/ 3147705 w 3240058"/>
                    <a:gd name="connsiteY13" fmla="*/ 1676222 h 3237140"/>
                    <a:gd name="connsiteX14" fmla="*/ 3141704 w 3240058"/>
                    <a:gd name="connsiteY14" fmla="*/ 1467244 h 3237140"/>
                    <a:gd name="connsiteX15" fmla="*/ 3038072 w 3240058"/>
                    <a:gd name="connsiteY15" fmla="*/ 1055287 h 3237140"/>
                    <a:gd name="connsiteX16" fmla="*/ 1563411 w 3240058"/>
                    <a:gd name="connsiteY16" fmla="*/ 90405 h 3237140"/>
                    <a:gd name="connsiteX17" fmla="*/ 1392152 w 3240058"/>
                    <a:gd name="connsiteY17" fmla="*/ 105359 h 3237140"/>
                    <a:gd name="connsiteX18" fmla="*/ 1392152 w 3240058"/>
                    <a:gd name="connsiteY18" fmla="*/ 105359 h 3237140"/>
                    <a:gd name="connsiteX19" fmla="*/ 1569507 w 3240058"/>
                    <a:gd name="connsiteY19" fmla="*/ 203 h 3237140"/>
                    <a:gd name="connsiteX20" fmla="*/ 3119320 w 3240058"/>
                    <a:gd name="connsiteY20" fmla="*/ 1014711 h 3237140"/>
                    <a:gd name="connsiteX21" fmla="*/ 3227429 w 3240058"/>
                    <a:gd name="connsiteY21" fmla="*/ 1438669 h 3237140"/>
                    <a:gd name="connsiteX22" fmla="*/ 3235049 w 3240058"/>
                    <a:gd name="connsiteY22" fmla="*/ 1566399 h 3237140"/>
                    <a:gd name="connsiteX23" fmla="*/ 3227429 w 3240058"/>
                    <a:gd name="connsiteY23" fmla="*/ 1779854 h 3237140"/>
                    <a:gd name="connsiteX24" fmla="*/ 3210855 w 3240058"/>
                    <a:gd name="connsiteY24" fmla="*/ 1907489 h 3237140"/>
                    <a:gd name="connsiteX25" fmla="*/ 3113034 w 3240058"/>
                    <a:gd name="connsiteY25" fmla="*/ 2238293 h 3237140"/>
                    <a:gd name="connsiteX26" fmla="*/ 2095478 w 3240058"/>
                    <a:gd name="connsiteY26" fmla="*/ 3162694 h 3237140"/>
                    <a:gd name="connsiteX27" fmla="*/ 1823539 w 3240058"/>
                    <a:gd name="connsiteY27" fmla="*/ 3221273 h 3237140"/>
                    <a:gd name="connsiteX28" fmla="*/ 1670091 w 3240058"/>
                    <a:gd name="connsiteY28" fmla="*/ 3233369 h 3237140"/>
                    <a:gd name="connsiteX29" fmla="*/ 1456636 w 3240058"/>
                    <a:gd name="connsiteY29" fmla="*/ 3224320 h 3237140"/>
                    <a:gd name="connsiteX30" fmla="*/ 1304998 w 3240058"/>
                    <a:gd name="connsiteY30" fmla="*/ 3203366 h 3237140"/>
                    <a:gd name="connsiteX31" fmla="*/ 981720 w 3240058"/>
                    <a:gd name="connsiteY31" fmla="*/ 3101067 h 3237140"/>
                    <a:gd name="connsiteX32" fmla="*/ 69320 w 3240058"/>
                    <a:gd name="connsiteY32" fmla="*/ 2071414 h 3237140"/>
                    <a:gd name="connsiteX33" fmla="*/ 18361 w 3240058"/>
                    <a:gd name="connsiteY33" fmla="*/ 1390567 h 3237140"/>
                    <a:gd name="connsiteX34" fmla="*/ 88941 w 3240058"/>
                    <a:gd name="connsiteY34" fmla="*/ 1094435 h 3237140"/>
                    <a:gd name="connsiteX35" fmla="*/ 1071921 w 3240058"/>
                    <a:gd name="connsiteY35" fmla="*/ 94786 h 3237140"/>
                    <a:gd name="connsiteX36" fmla="*/ 1393676 w 3240058"/>
                    <a:gd name="connsiteY36" fmla="*/ 15062 h 3237140"/>
                    <a:gd name="connsiteX37" fmla="*/ 1569507 w 3240058"/>
                    <a:gd name="connsiteY37" fmla="*/ 203 h 32371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3240058" h="3237140">
                      <a:moveTo>
                        <a:pt x="1392152" y="105359"/>
                      </a:moveTo>
                      <a:cubicBezTo>
                        <a:pt x="1281471" y="126981"/>
                        <a:pt x="1177458" y="146412"/>
                        <a:pt x="1082589" y="183464"/>
                      </a:cubicBezTo>
                      <a:cubicBezTo>
                        <a:pt x="632628" y="359105"/>
                        <a:pt x="336306" y="667620"/>
                        <a:pt x="161046" y="1118629"/>
                      </a:cubicBezTo>
                      <a:cubicBezTo>
                        <a:pt x="126756" y="1206640"/>
                        <a:pt x="110182" y="1305033"/>
                        <a:pt x="90465" y="1407046"/>
                      </a:cubicBezTo>
                      <a:cubicBezTo>
                        <a:pt x="48841" y="1621549"/>
                        <a:pt x="84941" y="1883772"/>
                        <a:pt x="137043" y="2054841"/>
                      </a:cubicBezTo>
                      <a:cubicBezTo>
                        <a:pt x="278013" y="2516994"/>
                        <a:pt x="571954" y="2848464"/>
                        <a:pt x="990768" y="3031916"/>
                      </a:cubicBezTo>
                      <a:cubicBezTo>
                        <a:pt x="1080875" y="3071444"/>
                        <a:pt x="1178601" y="3103448"/>
                        <a:pt x="1283853" y="3129737"/>
                      </a:cubicBezTo>
                      <a:cubicBezTo>
                        <a:pt x="1338526" y="3143263"/>
                        <a:pt x="1392819" y="3144787"/>
                        <a:pt x="1452159" y="3155264"/>
                      </a:cubicBezTo>
                      <a:cubicBezTo>
                        <a:pt x="1499308" y="3163646"/>
                        <a:pt x="1606083" y="3173457"/>
                        <a:pt x="1661138" y="3164313"/>
                      </a:cubicBezTo>
                      <a:cubicBezTo>
                        <a:pt x="1702667" y="3161265"/>
                        <a:pt x="1744291" y="3158312"/>
                        <a:pt x="1785915" y="3155264"/>
                      </a:cubicBezTo>
                      <a:cubicBezTo>
                        <a:pt x="1881737" y="3137929"/>
                        <a:pt x="1971748" y="3126213"/>
                        <a:pt x="2056425" y="3099638"/>
                      </a:cubicBezTo>
                      <a:cubicBezTo>
                        <a:pt x="2523341" y="2953144"/>
                        <a:pt x="2852334" y="2642248"/>
                        <a:pt x="3035024" y="2211242"/>
                      </a:cubicBezTo>
                      <a:cubicBezTo>
                        <a:pt x="3083030" y="2097894"/>
                        <a:pt x="3109795" y="1974069"/>
                        <a:pt x="3135703" y="1836909"/>
                      </a:cubicBezTo>
                      <a:cubicBezTo>
                        <a:pt x="3145514" y="1784807"/>
                        <a:pt x="3138370" y="1732610"/>
                        <a:pt x="3147705" y="1676222"/>
                      </a:cubicBezTo>
                      <a:cubicBezTo>
                        <a:pt x="3157325" y="1617929"/>
                        <a:pt x="3151324" y="1521536"/>
                        <a:pt x="3141704" y="1467244"/>
                      </a:cubicBezTo>
                      <a:cubicBezTo>
                        <a:pt x="3114653" y="1312939"/>
                        <a:pt x="3089126" y="1179589"/>
                        <a:pt x="3038072" y="1055287"/>
                      </a:cubicBezTo>
                      <a:cubicBezTo>
                        <a:pt x="2821664" y="528745"/>
                        <a:pt x="2316839" y="79165"/>
                        <a:pt x="1563411" y="90405"/>
                      </a:cubicBezTo>
                      <a:cubicBezTo>
                        <a:pt x="1506261" y="95453"/>
                        <a:pt x="1449207" y="100311"/>
                        <a:pt x="1392152" y="105359"/>
                      </a:cubicBezTo>
                      <a:lnTo>
                        <a:pt x="1392152" y="105359"/>
                      </a:lnTo>
                      <a:close/>
                      <a:moveTo>
                        <a:pt x="1569507" y="203"/>
                      </a:moveTo>
                      <a:cubicBezTo>
                        <a:pt x="2360844" y="-11227"/>
                        <a:pt x="2892149" y="461308"/>
                        <a:pt x="3119320" y="1014711"/>
                      </a:cubicBezTo>
                      <a:cubicBezTo>
                        <a:pt x="3171803" y="1142822"/>
                        <a:pt x="3199140" y="1280077"/>
                        <a:pt x="3227429" y="1438669"/>
                      </a:cubicBezTo>
                      <a:cubicBezTo>
                        <a:pt x="3229905" y="1481245"/>
                        <a:pt x="3232477" y="1523917"/>
                        <a:pt x="3235049" y="1566399"/>
                      </a:cubicBezTo>
                      <a:cubicBezTo>
                        <a:pt x="3245526" y="1632883"/>
                        <a:pt x="3237906" y="1720418"/>
                        <a:pt x="3227429" y="1779854"/>
                      </a:cubicBezTo>
                      <a:cubicBezTo>
                        <a:pt x="3222000" y="1822431"/>
                        <a:pt x="3216380" y="1865008"/>
                        <a:pt x="3210855" y="1907489"/>
                      </a:cubicBezTo>
                      <a:cubicBezTo>
                        <a:pt x="3184471" y="2026552"/>
                        <a:pt x="3156277" y="2136566"/>
                        <a:pt x="3113034" y="2238293"/>
                      </a:cubicBezTo>
                      <a:cubicBezTo>
                        <a:pt x="2923962" y="2684062"/>
                        <a:pt x="2577729" y="3010294"/>
                        <a:pt x="2095478" y="3162694"/>
                      </a:cubicBezTo>
                      <a:cubicBezTo>
                        <a:pt x="2010134" y="3189745"/>
                        <a:pt x="1919456" y="3203461"/>
                        <a:pt x="1823539" y="3221273"/>
                      </a:cubicBezTo>
                      <a:cubicBezTo>
                        <a:pt x="1772295" y="3225273"/>
                        <a:pt x="1721336" y="3229369"/>
                        <a:pt x="1670091" y="3233369"/>
                      </a:cubicBezTo>
                      <a:cubicBezTo>
                        <a:pt x="1613799" y="3242704"/>
                        <a:pt x="1505214" y="3232798"/>
                        <a:pt x="1456636" y="3224320"/>
                      </a:cubicBezTo>
                      <a:cubicBezTo>
                        <a:pt x="1403106" y="3215081"/>
                        <a:pt x="1354623" y="3214415"/>
                        <a:pt x="1304998" y="3203366"/>
                      </a:cubicBezTo>
                      <a:cubicBezTo>
                        <a:pt x="1188031" y="3177076"/>
                        <a:pt x="1080589" y="3143549"/>
                        <a:pt x="981720" y="3101067"/>
                      </a:cubicBezTo>
                      <a:cubicBezTo>
                        <a:pt x="534807" y="2908281"/>
                        <a:pt x="219529" y="2561285"/>
                        <a:pt x="69320" y="2071414"/>
                      </a:cubicBezTo>
                      <a:cubicBezTo>
                        <a:pt x="14170" y="1891297"/>
                        <a:pt x="-24597" y="1617929"/>
                        <a:pt x="18361" y="1390567"/>
                      </a:cubicBezTo>
                      <a:cubicBezTo>
                        <a:pt x="37887" y="1286269"/>
                        <a:pt x="53889" y="1184732"/>
                        <a:pt x="88941" y="1094435"/>
                      </a:cubicBezTo>
                      <a:cubicBezTo>
                        <a:pt x="279156" y="604660"/>
                        <a:pt x="583003" y="285286"/>
                        <a:pt x="1071921" y="94786"/>
                      </a:cubicBezTo>
                      <a:cubicBezTo>
                        <a:pt x="1170219" y="56496"/>
                        <a:pt x="1278804" y="36779"/>
                        <a:pt x="1393676" y="15062"/>
                      </a:cubicBezTo>
                      <a:cubicBezTo>
                        <a:pt x="1452159" y="10204"/>
                        <a:pt x="1510833" y="5156"/>
                        <a:pt x="1569507" y="203"/>
                      </a:cubicBezTo>
                      <a:close/>
                    </a:path>
                  </a:pathLst>
                </a:custGeom>
                <a:solidFill>
                  <a:srgbClr val="00993E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6D288F0D-B881-43CA-A6CE-280668221A79}"/>
                  </a:ext>
                </a:extLst>
              </p:cNvPr>
              <p:cNvSpPr/>
              <p:nvPr/>
            </p:nvSpPr>
            <p:spPr>
              <a:xfrm>
                <a:off x="2205197" y="4387273"/>
                <a:ext cx="252048" cy="419849"/>
              </a:xfrm>
              <a:custGeom>
                <a:avLst/>
                <a:gdLst>
                  <a:gd name="connsiteX0" fmla="*/ 137541 w 252047"/>
                  <a:gd name="connsiteY0" fmla="*/ 322646 h 419850"/>
                  <a:gd name="connsiteX1" fmla="*/ 203645 w 252047"/>
                  <a:gd name="connsiteY1" fmla="*/ 411229 h 419850"/>
                  <a:gd name="connsiteX2" fmla="*/ 208979 w 252047"/>
                  <a:gd name="connsiteY2" fmla="*/ 404561 h 419850"/>
                  <a:gd name="connsiteX3" fmla="*/ 198501 w 252047"/>
                  <a:gd name="connsiteY3" fmla="*/ 366937 h 419850"/>
                  <a:gd name="connsiteX4" fmla="*/ 217265 w 252047"/>
                  <a:gd name="connsiteY4" fmla="*/ 365509 h 419850"/>
                  <a:gd name="connsiteX5" fmla="*/ 249555 w 252047"/>
                  <a:gd name="connsiteY5" fmla="*/ 375224 h 419850"/>
                  <a:gd name="connsiteX6" fmla="*/ 206312 w 252047"/>
                  <a:gd name="connsiteY6" fmla="*/ 339220 h 419850"/>
                  <a:gd name="connsiteX7" fmla="*/ 180404 w 252047"/>
                  <a:gd name="connsiteY7" fmla="*/ 325218 h 419850"/>
                  <a:gd name="connsiteX8" fmla="*/ 147257 w 252047"/>
                  <a:gd name="connsiteY8" fmla="*/ 297405 h 419850"/>
                  <a:gd name="connsiteX9" fmla="*/ 60960 w 252047"/>
                  <a:gd name="connsiteY9" fmla="*/ 168532 h 419850"/>
                  <a:gd name="connsiteX10" fmla="*/ 41720 w 252047"/>
                  <a:gd name="connsiteY10" fmla="*/ 126145 h 419850"/>
                  <a:gd name="connsiteX11" fmla="*/ 51054 w 252047"/>
                  <a:gd name="connsiteY11" fmla="*/ 128431 h 419850"/>
                  <a:gd name="connsiteX12" fmla="*/ 107537 w 252047"/>
                  <a:gd name="connsiteY12" fmla="*/ 222253 h 419850"/>
                  <a:gd name="connsiteX13" fmla="*/ 140113 w 252047"/>
                  <a:gd name="connsiteY13" fmla="*/ 229682 h 419850"/>
                  <a:gd name="connsiteX14" fmla="*/ 133445 w 252047"/>
                  <a:gd name="connsiteY14" fmla="*/ 211585 h 419850"/>
                  <a:gd name="connsiteX15" fmla="*/ 109442 w 252047"/>
                  <a:gd name="connsiteY15" fmla="*/ 177009 h 419850"/>
                  <a:gd name="connsiteX16" fmla="*/ 98489 w 252047"/>
                  <a:gd name="connsiteY16" fmla="*/ 140528 h 419850"/>
                  <a:gd name="connsiteX17" fmla="*/ 108014 w 252047"/>
                  <a:gd name="connsiteY17" fmla="*/ 147100 h 419850"/>
                  <a:gd name="connsiteX18" fmla="*/ 132683 w 252047"/>
                  <a:gd name="connsiteY18" fmla="*/ 194535 h 419850"/>
                  <a:gd name="connsiteX19" fmla="*/ 142494 w 252047"/>
                  <a:gd name="connsiteY19" fmla="*/ 195868 h 419850"/>
                  <a:gd name="connsiteX20" fmla="*/ 150209 w 252047"/>
                  <a:gd name="connsiteY20" fmla="*/ 158245 h 419850"/>
                  <a:gd name="connsiteX21" fmla="*/ 141827 w 252047"/>
                  <a:gd name="connsiteY21" fmla="*/ 157768 h 419850"/>
                  <a:gd name="connsiteX22" fmla="*/ 129826 w 252047"/>
                  <a:gd name="connsiteY22" fmla="*/ 153387 h 419850"/>
                  <a:gd name="connsiteX23" fmla="*/ 89535 w 252047"/>
                  <a:gd name="connsiteY23" fmla="*/ 79092 h 419850"/>
                  <a:gd name="connsiteX24" fmla="*/ 71438 w 252047"/>
                  <a:gd name="connsiteY24" fmla="*/ 86236 h 419850"/>
                  <a:gd name="connsiteX25" fmla="*/ 90297 w 252047"/>
                  <a:gd name="connsiteY25" fmla="*/ 157578 h 419850"/>
                  <a:gd name="connsiteX26" fmla="*/ 86773 w 252047"/>
                  <a:gd name="connsiteY26" fmla="*/ 166341 h 419850"/>
                  <a:gd name="connsiteX27" fmla="*/ 52483 w 252047"/>
                  <a:gd name="connsiteY27" fmla="*/ 96904 h 419850"/>
                  <a:gd name="connsiteX28" fmla="*/ 18098 w 252047"/>
                  <a:gd name="connsiteY28" fmla="*/ 7940 h 419850"/>
                  <a:gd name="connsiteX29" fmla="*/ 0 w 252047"/>
                  <a:gd name="connsiteY29" fmla="*/ 6892 h 419850"/>
                  <a:gd name="connsiteX30" fmla="*/ 2858 w 252047"/>
                  <a:gd name="connsiteY30" fmla="*/ 79949 h 419850"/>
                  <a:gd name="connsiteX31" fmla="*/ 11144 w 252047"/>
                  <a:gd name="connsiteY31" fmla="*/ 125860 h 419850"/>
                  <a:gd name="connsiteX32" fmla="*/ 23146 w 252047"/>
                  <a:gd name="connsiteY32" fmla="*/ 143671 h 419850"/>
                  <a:gd name="connsiteX33" fmla="*/ 83820 w 252047"/>
                  <a:gd name="connsiteY33" fmla="*/ 234826 h 419850"/>
                  <a:gd name="connsiteX34" fmla="*/ 114205 w 252047"/>
                  <a:gd name="connsiteY34" fmla="*/ 277593 h 419850"/>
                  <a:gd name="connsiteX35" fmla="*/ 103061 w 252047"/>
                  <a:gd name="connsiteY35" fmla="*/ 282165 h 419850"/>
                  <a:gd name="connsiteX36" fmla="*/ 48387 w 252047"/>
                  <a:gd name="connsiteY36" fmla="*/ 236921 h 419850"/>
                  <a:gd name="connsiteX37" fmla="*/ 35909 w 252047"/>
                  <a:gd name="connsiteY37" fmla="*/ 255685 h 419850"/>
                  <a:gd name="connsiteX38" fmla="*/ 64008 w 252047"/>
                  <a:gd name="connsiteY38" fmla="*/ 330076 h 419850"/>
                  <a:gd name="connsiteX39" fmla="*/ 84963 w 252047"/>
                  <a:gd name="connsiteY39" fmla="*/ 300548 h 419850"/>
                  <a:gd name="connsiteX40" fmla="*/ 76486 w 252047"/>
                  <a:gd name="connsiteY40" fmla="*/ 290261 h 419850"/>
                  <a:gd name="connsiteX41" fmla="*/ 89535 w 252047"/>
                  <a:gd name="connsiteY41" fmla="*/ 287213 h 419850"/>
                  <a:gd name="connsiteX42" fmla="*/ 132588 w 252047"/>
                  <a:gd name="connsiteY42" fmla="*/ 315407 h 419850"/>
                  <a:gd name="connsiteX43" fmla="*/ 137541 w 252047"/>
                  <a:gd name="connsiteY43" fmla="*/ 322646 h 419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252047" h="419850">
                    <a:moveTo>
                      <a:pt x="137541" y="322646"/>
                    </a:moveTo>
                    <a:cubicBezTo>
                      <a:pt x="137541" y="322646"/>
                      <a:pt x="177356" y="454186"/>
                      <a:pt x="203645" y="411229"/>
                    </a:cubicBezTo>
                    <a:lnTo>
                      <a:pt x="208979" y="404561"/>
                    </a:lnTo>
                    <a:lnTo>
                      <a:pt x="198501" y="366937"/>
                    </a:lnTo>
                    <a:cubicBezTo>
                      <a:pt x="198501" y="366937"/>
                      <a:pt x="194977" y="348554"/>
                      <a:pt x="217265" y="365509"/>
                    </a:cubicBezTo>
                    <a:cubicBezTo>
                      <a:pt x="217265" y="365509"/>
                      <a:pt x="246983" y="384654"/>
                      <a:pt x="249555" y="375224"/>
                    </a:cubicBezTo>
                    <a:cubicBezTo>
                      <a:pt x="249555" y="375224"/>
                      <a:pt x="267653" y="372652"/>
                      <a:pt x="206312" y="339220"/>
                    </a:cubicBezTo>
                    <a:cubicBezTo>
                      <a:pt x="206312" y="339220"/>
                      <a:pt x="183071" y="329695"/>
                      <a:pt x="180404" y="325218"/>
                    </a:cubicBezTo>
                    <a:cubicBezTo>
                      <a:pt x="177832" y="320646"/>
                      <a:pt x="168593" y="328552"/>
                      <a:pt x="147257" y="297405"/>
                    </a:cubicBezTo>
                    <a:cubicBezTo>
                      <a:pt x="147257" y="297405"/>
                      <a:pt x="87916" y="233111"/>
                      <a:pt x="60960" y="168532"/>
                    </a:cubicBezTo>
                    <a:cubicBezTo>
                      <a:pt x="60960" y="168532"/>
                      <a:pt x="42101" y="141100"/>
                      <a:pt x="41720" y="126145"/>
                    </a:cubicBezTo>
                    <a:cubicBezTo>
                      <a:pt x="41720" y="126145"/>
                      <a:pt x="46673" y="119383"/>
                      <a:pt x="51054" y="128431"/>
                    </a:cubicBezTo>
                    <a:cubicBezTo>
                      <a:pt x="51054" y="128431"/>
                      <a:pt x="87249" y="204631"/>
                      <a:pt x="107537" y="222253"/>
                    </a:cubicBezTo>
                    <a:cubicBezTo>
                      <a:pt x="107537" y="222253"/>
                      <a:pt x="134588" y="252828"/>
                      <a:pt x="140113" y="229682"/>
                    </a:cubicBezTo>
                    <a:cubicBezTo>
                      <a:pt x="140113" y="229682"/>
                      <a:pt x="142589" y="225491"/>
                      <a:pt x="133445" y="211585"/>
                    </a:cubicBezTo>
                    <a:cubicBezTo>
                      <a:pt x="133445" y="211585"/>
                      <a:pt x="115157" y="185581"/>
                      <a:pt x="109442" y="177009"/>
                    </a:cubicBezTo>
                    <a:cubicBezTo>
                      <a:pt x="109442" y="177009"/>
                      <a:pt x="97917" y="157006"/>
                      <a:pt x="98489" y="140528"/>
                    </a:cubicBezTo>
                    <a:cubicBezTo>
                      <a:pt x="98489" y="140528"/>
                      <a:pt x="102965" y="135194"/>
                      <a:pt x="108014" y="147100"/>
                    </a:cubicBezTo>
                    <a:lnTo>
                      <a:pt x="132683" y="194535"/>
                    </a:lnTo>
                    <a:lnTo>
                      <a:pt x="142494" y="195868"/>
                    </a:lnTo>
                    <a:cubicBezTo>
                      <a:pt x="142494" y="195868"/>
                      <a:pt x="164211" y="162626"/>
                      <a:pt x="150209" y="158245"/>
                    </a:cubicBezTo>
                    <a:cubicBezTo>
                      <a:pt x="150209" y="158245"/>
                      <a:pt x="144971" y="155197"/>
                      <a:pt x="141827" y="157768"/>
                    </a:cubicBezTo>
                    <a:cubicBezTo>
                      <a:pt x="141827" y="157768"/>
                      <a:pt x="132398" y="161674"/>
                      <a:pt x="129826" y="153387"/>
                    </a:cubicBezTo>
                    <a:lnTo>
                      <a:pt x="89535" y="79092"/>
                    </a:lnTo>
                    <a:cubicBezTo>
                      <a:pt x="89535" y="79092"/>
                      <a:pt x="73057" y="72329"/>
                      <a:pt x="71438" y="86236"/>
                    </a:cubicBezTo>
                    <a:cubicBezTo>
                      <a:pt x="71438" y="86236"/>
                      <a:pt x="66104" y="117097"/>
                      <a:pt x="90297" y="157578"/>
                    </a:cubicBezTo>
                    <a:cubicBezTo>
                      <a:pt x="90297" y="157578"/>
                      <a:pt x="96107" y="168532"/>
                      <a:pt x="86773" y="166341"/>
                    </a:cubicBezTo>
                    <a:cubicBezTo>
                      <a:pt x="86773" y="166341"/>
                      <a:pt x="54674" y="104524"/>
                      <a:pt x="52483" y="96904"/>
                    </a:cubicBezTo>
                    <a:cubicBezTo>
                      <a:pt x="52483" y="96904"/>
                      <a:pt x="26099" y="56994"/>
                      <a:pt x="18098" y="7940"/>
                    </a:cubicBezTo>
                    <a:cubicBezTo>
                      <a:pt x="18098" y="7940"/>
                      <a:pt x="8096" y="-9205"/>
                      <a:pt x="0" y="6892"/>
                    </a:cubicBezTo>
                    <a:cubicBezTo>
                      <a:pt x="0" y="6892"/>
                      <a:pt x="0" y="60328"/>
                      <a:pt x="2858" y="79949"/>
                    </a:cubicBezTo>
                    <a:cubicBezTo>
                      <a:pt x="2858" y="79949"/>
                      <a:pt x="12097" y="111286"/>
                      <a:pt x="11144" y="125860"/>
                    </a:cubicBezTo>
                    <a:cubicBezTo>
                      <a:pt x="11144" y="125860"/>
                      <a:pt x="14097" y="139099"/>
                      <a:pt x="23146" y="143671"/>
                    </a:cubicBezTo>
                    <a:cubicBezTo>
                      <a:pt x="23146" y="143671"/>
                      <a:pt x="70961" y="210823"/>
                      <a:pt x="83820" y="234826"/>
                    </a:cubicBezTo>
                    <a:cubicBezTo>
                      <a:pt x="83820" y="234826"/>
                      <a:pt x="106109" y="263496"/>
                      <a:pt x="114205" y="277593"/>
                    </a:cubicBezTo>
                    <a:cubicBezTo>
                      <a:pt x="114205" y="277593"/>
                      <a:pt x="117634" y="290452"/>
                      <a:pt x="103061" y="282165"/>
                    </a:cubicBezTo>
                    <a:cubicBezTo>
                      <a:pt x="103061" y="282165"/>
                      <a:pt x="55245" y="242636"/>
                      <a:pt x="48387" y="236921"/>
                    </a:cubicBezTo>
                    <a:cubicBezTo>
                      <a:pt x="48387" y="236921"/>
                      <a:pt x="31718" y="236159"/>
                      <a:pt x="35909" y="255685"/>
                    </a:cubicBezTo>
                    <a:cubicBezTo>
                      <a:pt x="35909" y="255685"/>
                      <a:pt x="56483" y="299691"/>
                      <a:pt x="64008" y="330076"/>
                    </a:cubicBezTo>
                    <a:cubicBezTo>
                      <a:pt x="64008" y="330076"/>
                      <a:pt x="88297" y="337124"/>
                      <a:pt x="84963" y="300548"/>
                    </a:cubicBezTo>
                    <a:cubicBezTo>
                      <a:pt x="84963" y="300548"/>
                      <a:pt x="84296" y="292738"/>
                      <a:pt x="76486" y="290261"/>
                    </a:cubicBezTo>
                    <a:cubicBezTo>
                      <a:pt x="76486" y="290261"/>
                      <a:pt x="74962" y="274164"/>
                      <a:pt x="89535" y="287213"/>
                    </a:cubicBezTo>
                    <a:cubicBezTo>
                      <a:pt x="89535" y="287213"/>
                      <a:pt x="125921" y="301405"/>
                      <a:pt x="132588" y="315407"/>
                    </a:cubicBezTo>
                    <a:cubicBezTo>
                      <a:pt x="132779" y="315502"/>
                      <a:pt x="137827" y="319598"/>
                      <a:pt x="137541" y="322646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5629C332-531E-49A0-8122-F3A3252D2210}"/>
                  </a:ext>
                </a:extLst>
              </p:cNvPr>
              <p:cNvSpPr/>
              <p:nvPr/>
            </p:nvSpPr>
            <p:spPr>
              <a:xfrm>
                <a:off x="2145666" y="4575586"/>
                <a:ext cx="37729" cy="37370"/>
              </a:xfrm>
              <a:custGeom>
                <a:avLst/>
                <a:gdLst>
                  <a:gd name="connsiteX0" fmla="*/ 0 w 37731"/>
                  <a:gd name="connsiteY0" fmla="*/ 36895 h 37371"/>
                  <a:gd name="connsiteX1" fmla="*/ 15431 w 37731"/>
                  <a:gd name="connsiteY1" fmla="*/ 37372 h 37371"/>
                  <a:gd name="connsiteX2" fmla="*/ 36671 w 37731"/>
                  <a:gd name="connsiteY2" fmla="*/ 16988 h 37371"/>
                  <a:gd name="connsiteX3" fmla="*/ 19145 w 37731"/>
                  <a:gd name="connsiteY3" fmla="*/ 415 h 37371"/>
                  <a:gd name="connsiteX4" fmla="*/ 857 w 37731"/>
                  <a:gd name="connsiteY4" fmla="*/ 22036 h 37371"/>
                  <a:gd name="connsiteX5" fmla="*/ 0 w 37731"/>
                  <a:gd name="connsiteY5" fmla="*/ 36895 h 37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731" h="37371">
                    <a:moveTo>
                      <a:pt x="0" y="36895"/>
                    </a:moveTo>
                    <a:lnTo>
                      <a:pt x="15431" y="37372"/>
                    </a:lnTo>
                    <a:lnTo>
                      <a:pt x="36671" y="16988"/>
                    </a:lnTo>
                    <a:cubicBezTo>
                      <a:pt x="36671" y="16988"/>
                      <a:pt x="44196" y="-3110"/>
                      <a:pt x="19145" y="415"/>
                    </a:cubicBezTo>
                    <a:cubicBezTo>
                      <a:pt x="19145" y="415"/>
                      <a:pt x="2286" y="18036"/>
                      <a:pt x="857" y="22036"/>
                    </a:cubicBezTo>
                    <a:cubicBezTo>
                      <a:pt x="857" y="22036"/>
                      <a:pt x="0" y="34609"/>
                      <a:pt x="0" y="36895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CBB0E9E4-CDA7-4812-B865-CDC545083517}"/>
                  </a:ext>
                </a:extLst>
              </p:cNvPr>
              <p:cNvSpPr/>
              <p:nvPr/>
            </p:nvSpPr>
            <p:spPr>
              <a:xfrm>
                <a:off x="2368892" y="4489780"/>
                <a:ext cx="143998" cy="212292"/>
              </a:xfrm>
              <a:custGeom>
                <a:avLst/>
                <a:gdLst>
                  <a:gd name="connsiteX0" fmla="*/ 28326 w 143997"/>
                  <a:gd name="connsiteY0" fmla="*/ 155560 h 212292"/>
                  <a:gd name="connsiteX1" fmla="*/ 228 w 143997"/>
                  <a:gd name="connsiteY1" fmla="*/ 88980 h 212292"/>
                  <a:gd name="connsiteX2" fmla="*/ 9562 w 143997"/>
                  <a:gd name="connsiteY2" fmla="*/ 684 h 212292"/>
                  <a:gd name="connsiteX3" fmla="*/ 79857 w 143997"/>
                  <a:gd name="connsiteY3" fmla="*/ 36403 h 212292"/>
                  <a:gd name="connsiteX4" fmla="*/ 143388 w 143997"/>
                  <a:gd name="connsiteY4" fmla="*/ 110507 h 212292"/>
                  <a:gd name="connsiteX5" fmla="*/ 121862 w 143997"/>
                  <a:gd name="connsiteY5" fmla="*/ 149559 h 212292"/>
                  <a:gd name="connsiteX6" fmla="*/ 112527 w 143997"/>
                  <a:gd name="connsiteY6" fmla="*/ 153560 h 212292"/>
                  <a:gd name="connsiteX7" fmla="*/ 101193 w 143997"/>
                  <a:gd name="connsiteY7" fmla="*/ 170133 h 212292"/>
                  <a:gd name="connsiteX8" fmla="*/ 95478 w 143997"/>
                  <a:gd name="connsiteY8" fmla="*/ 184516 h 212292"/>
                  <a:gd name="connsiteX9" fmla="*/ 100431 w 143997"/>
                  <a:gd name="connsiteY9" fmla="*/ 196518 h 212292"/>
                  <a:gd name="connsiteX10" fmla="*/ 89572 w 143997"/>
                  <a:gd name="connsiteY10" fmla="*/ 210043 h 212292"/>
                  <a:gd name="connsiteX11" fmla="*/ 61759 w 143997"/>
                  <a:gd name="connsiteY11" fmla="*/ 206233 h 212292"/>
                  <a:gd name="connsiteX12" fmla="*/ 3180 w 143997"/>
                  <a:gd name="connsiteY12" fmla="*/ 171277 h 212292"/>
                  <a:gd name="connsiteX13" fmla="*/ 13182 w 143997"/>
                  <a:gd name="connsiteY13" fmla="*/ 156608 h 212292"/>
                  <a:gd name="connsiteX14" fmla="*/ 29089 w 143997"/>
                  <a:gd name="connsiteY14" fmla="*/ 161180 h 212292"/>
                  <a:gd name="connsiteX15" fmla="*/ 28326 w 143997"/>
                  <a:gd name="connsiteY15" fmla="*/ 155560 h 21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43997" h="212292">
                    <a:moveTo>
                      <a:pt x="28326" y="155560"/>
                    </a:moveTo>
                    <a:cubicBezTo>
                      <a:pt x="26802" y="153941"/>
                      <a:pt x="3562" y="114126"/>
                      <a:pt x="228" y="88980"/>
                    </a:cubicBezTo>
                    <a:cubicBezTo>
                      <a:pt x="1371" y="86028"/>
                      <a:pt x="-4344" y="26592"/>
                      <a:pt x="9562" y="684"/>
                    </a:cubicBezTo>
                    <a:cubicBezTo>
                      <a:pt x="9562" y="684"/>
                      <a:pt x="22707" y="-7984"/>
                      <a:pt x="79857" y="36403"/>
                    </a:cubicBezTo>
                    <a:cubicBezTo>
                      <a:pt x="79857" y="36403"/>
                      <a:pt x="136435" y="86885"/>
                      <a:pt x="143388" y="110507"/>
                    </a:cubicBezTo>
                    <a:cubicBezTo>
                      <a:pt x="143388" y="110507"/>
                      <a:pt x="149675" y="138606"/>
                      <a:pt x="121862" y="149559"/>
                    </a:cubicBezTo>
                    <a:cubicBezTo>
                      <a:pt x="121862" y="149559"/>
                      <a:pt x="119671" y="157751"/>
                      <a:pt x="112527" y="153560"/>
                    </a:cubicBezTo>
                    <a:cubicBezTo>
                      <a:pt x="112527" y="153560"/>
                      <a:pt x="103479" y="163466"/>
                      <a:pt x="101193" y="170133"/>
                    </a:cubicBezTo>
                    <a:cubicBezTo>
                      <a:pt x="101193" y="170133"/>
                      <a:pt x="103860" y="180706"/>
                      <a:pt x="95478" y="184516"/>
                    </a:cubicBezTo>
                    <a:cubicBezTo>
                      <a:pt x="95478" y="184516"/>
                      <a:pt x="91763" y="187850"/>
                      <a:pt x="100431" y="196518"/>
                    </a:cubicBezTo>
                    <a:cubicBezTo>
                      <a:pt x="100431" y="196518"/>
                      <a:pt x="105003" y="204900"/>
                      <a:pt x="89572" y="210043"/>
                    </a:cubicBezTo>
                    <a:cubicBezTo>
                      <a:pt x="89572" y="210043"/>
                      <a:pt x="84619" y="217092"/>
                      <a:pt x="61759" y="206233"/>
                    </a:cubicBezTo>
                    <a:cubicBezTo>
                      <a:pt x="61759" y="206233"/>
                      <a:pt x="8134" y="172800"/>
                      <a:pt x="3180" y="171277"/>
                    </a:cubicBezTo>
                    <a:cubicBezTo>
                      <a:pt x="3180" y="171277"/>
                      <a:pt x="-3582" y="158513"/>
                      <a:pt x="13182" y="156608"/>
                    </a:cubicBezTo>
                    <a:cubicBezTo>
                      <a:pt x="13182" y="156608"/>
                      <a:pt x="27850" y="164895"/>
                      <a:pt x="29089" y="161180"/>
                    </a:cubicBezTo>
                    <a:cubicBezTo>
                      <a:pt x="29184" y="161085"/>
                      <a:pt x="29850" y="156989"/>
                      <a:pt x="28326" y="155560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A400B8BE-657C-47F3-9348-DC1DEC460D64}"/>
                  </a:ext>
                </a:extLst>
              </p:cNvPr>
              <p:cNvSpPr/>
              <p:nvPr/>
            </p:nvSpPr>
            <p:spPr>
              <a:xfrm>
                <a:off x="2379875" y="4500547"/>
                <a:ext cx="111164" cy="129234"/>
              </a:xfrm>
              <a:custGeom>
                <a:avLst/>
                <a:gdLst>
                  <a:gd name="connsiteX0" fmla="*/ 4200 w 111165"/>
                  <a:gd name="connsiteY0" fmla="*/ 81549 h 129236"/>
                  <a:gd name="connsiteX1" fmla="*/ 8772 w 111165"/>
                  <a:gd name="connsiteY1" fmla="*/ 777 h 129236"/>
                  <a:gd name="connsiteX2" fmla="*/ 56397 w 111165"/>
                  <a:gd name="connsiteY2" fmla="*/ 44021 h 129236"/>
                  <a:gd name="connsiteX3" fmla="*/ 109356 w 111165"/>
                  <a:gd name="connsiteY3" fmla="*/ 101837 h 129236"/>
                  <a:gd name="connsiteX4" fmla="*/ 111165 w 111165"/>
                  <a:gd name="connsiteY4" fmla="*/ 118030 h 129236"/>
                  <a:gd name="connsiteX5" fmla="*/ 97640 w 111165"/>
                  <a:gd name="connsiteY5" fmla="*/ 128984 h 129236"/>
                  <a:gd name="connsiteX6" fmla="*/ 80019 w 111165"/>
                  <a:gd name="connsiteY6" fmla="*/ 117649 h 129236"/>
                  <a:gd name="connsiteX7" fmla="*/ 85353 w 111165"/>
                  <a:gd name="connsiteY7" fmla="*/ 90217 h 129236"/>
                  <a:gd name="connsiteX8" fmla="*/ 33060 w 111165"/>
                  <a:gd name="connsiteY8" fmla="*/ 53736 h 129236"/>
                  <a:gd name="connsiteX9" fmla="*/ 13153 w 111165"/>
                  <a:gd name="connsiteY9" fmla="*/ 52688 h 129236"/>
                  <a:gd name="connsiteX10" fmla="*/ 11534 w 111165"/>
                  <a:gd name="connsiteY10" fmla="*/ 81073 h 129236"/>
                  <a:gd name="connsiteX11" fmla="*/ 4200 w 111165"/>
                  <a:gd name="connsiteY11" fmla="*/ 81549 h 129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1165" h="129236">
                    <a:moveTo>
                      <a:pt x="4200" y="81549"/>
                    </a:moveTo>
                    <a:cubicBezTo>
                      <a:pt x="4200" y="81549"/>
                      <a:pt x="-7802" y="6492"/>
                      <a:pt x="8772" y="777"/>
                    </a:cubicBezTo>
                    <a:cubicBezTo>
                      <a:pt x="8772" y="777"/>
                      <a:pt x="14296" y="-9415"/>
                      <a:pt x="56397" y="44021"/>
                    </a:cubicBezTo>
                    <a:cubicBezTo>
                      <a:pt x="56397" y="44021"/>
                      <a:pt x="103450" y="89455"/>
                      <a:pt x="109356" y="101837"/>
                    </a:cubicBezTo>
                    <a:cubicBezTo>
                      <a:pt x="109356" y="101837"/>
                      <a:pt x="108117" y="117268"/>
                      <a:pt x="111165" y="118030"/>
                    </a:cubicBezTo>
                    <a:cubicBezTo>
                      <a:pt x="111165" y="118030"/>
                      <a:pt x="108594" y="131079"/>
                      <a:pt x="97640" y="128984"/>
                    </a:cubicBezTo>
                    <a:cubicBezTo>
                      <a:pt x="97640" y="128984"/>
                      <a:pt x="90115" y="131936"/>
                      <a:pt x="80019" y="117649"/>
                    </a:cubicBezTo>
                    <a:cubicBezTo>
                      <a:pt x="80019" y="117649"/>
                      <a:pt x="81543" y="97075"/>
                      <a:pt x="85353" y="90217"/>
                    </a:cubicBezTo>
                    <a:cubicBezTo>
                      <a:pt x="85353" y="90217"/>
                      <a:pt x="45824" y="87169"/>
                      <a:pt x="33060" y="53736"/>
                    </a:cubicBezTo>
                    <a:cubicBezTo>
                      <a:pt x="33060" y="53736"/>
                      <a:pt x="25155" y="45830"/>
                      <a:pt x="13153" y="52688"/>
                    </a:cubicBezTo>
                    <a:cubicBezTo>
                      <a:pt x="13153" y="52688"/>
                      <a:pt x="8200" y="66214"/>
                      <a:pt x="11534" y="81073"/>
                    </a:cubicBezTo>
                    <a:cubicBezTo>
                      <a:pt x="11629" y="81168"/>
                      <a:pt x="15534" y="93170"/>
                      <a:pt x="4200" y="81549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30E160A6-1A8C-4141-9178-3076E4619C49}"/>
                  </a:ext>
                </a:extLst>
              </p:cNvPr>
              <p:cNvSpPr/>
              <p:nvPr/>
            </p:nvSpPr>
            <p:spPr>
              <a:xfrm>
                <a:off x="2409445" y="4588402"/>
                <a:ext cx="17236" cy="18665"/>
              </a:xfrm>
              <a:custGeom>
                <a:avLst/>
                <a:gdLst>
                  <a:gd name="connsiteX0" fmla="*/ 4540 w 17237"/>
                  <a:gd name="connsiteY0" fmla="*/ 75 h 18666"/>
                  <a:gd name="connsiteX1" fmla="*/ 16637 w 17237"/>
                  <a:gd name="connsiteY1" fmla="*/ 12457 h 18666"/>
                  <a:gd name="connsiteX2" fmla="*/ 16351 w 17237"/>
                  <a:gd name="connsiteY2" fmla="*/ 18648 h 18666"/>
                  <a:gd name="connsiteX3" fmla="*/ 8446 w 17237"/>
                  <a:gd name="connsiteY3" fmla="*/ 16267 h 18666"/>
                  <a:gd name="connsiteX4" fmla="*/ 2826 w 17237"/>
                  <a:gd name="connsiteY4" fmla="*/ 8076 h 18666"/>
                  <a:gd name="connsiteX5" fmla="*/ 4540 w 17237"/>
                  <a:gd name="connsiteY5" fmla="*/ 75 h 186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237" h="18666">
                    <a:moveTo>
                      <a:pt x="4540" y="75"/>
                    </a:moveTo>
                    <a:cubicBezTo>
                      <a:pt x="4540" y="75"/>
                      <a:pt x="17494" y="-1735"/>
                      <a:pt x="16637" y="12457"/>
                    </a:cubicBezTo>
                    <a:cubicBezTo>
                      <a:pt x="16637" y="12457"/>
                      <a:pt x="18161" y="18363"/>
                      <a:pt x="16351" y="18648"/>
                    </a:cubicBezTo>
                    <a:cubicBezTo>
                      <a:pt x="16351" y="18648"/>
                      <a:pt x="9398" y="19029"/>
                      <a:pt x="8446" y="16267"/>
                    </a:cubicBezTo>
                    <a:cubicBezTo>
                      <a:pt x="7588" y="13600"/>
                      <a:pt x="9970" y="8076"/>
                      <a:pt x="2826" y="8076"/>
                    </a:cubicBezTo>
                    <a:cubicBezTo>
                      <a:pt x="-4413" y="8076"/>
                      <a:pt x="4540" y="75"/>
                      <a:pt x="4540" y="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FBB310A5-A456-4324-9D75-26209EFF3A07}"/>
                  </a:ext>
                </a:extLst>
              </p:cNvPr>
              <p:cNvSpPr/>
              <p:nvPr/>
            </p:nvSpPr>
            <p:spPr>
              <a:xfrm>
                <a:off x="2398364" y="4613615"/>
                <a:ext cx="19442" cy="15471"/>
              </a:xfrm>
              <a:custGeom>
                <a:avLst/>
                <a:gdLst>
                  <a:gd name="connsiteX0" fmla="*/ 0 w 19442"/>
                  <a:gd name="connsiteY0" fmla="*/ 104 h 15471"/>
                  <a:gd name="connsiteX1" fmla="*/ 13811 w 19442"/>
                  <a:gd name="connsiteY1" fmla="*/ 15440 h 15471"/>
                  <a:gd name="connsiteX2" fmla="*/ 16764 w 19442"/>
                  <a:gd name="connsiteY2" fmla="*/ 9153 h 15471"/>
                  <a:gd name="connsiteX3" fmla="*/ 0 w 19442"/>
                  <a:gd name="connsiteY3" fmla="*/ 104 h 15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442" h="15471">
                    <a:moveTo>
                      <a:pt x="0" y="104"/>
                    </a:moveTo>
                    <a:cubicBezTo>
                      <a:pt x="0" y="104"/>
                      <a:pt x="8477" y="15440"/>
                      <a:pt x="13811" y="15440"/>
                    </a:cubicBezTo>
                    <a:cubicBezTo>
                      <a:pt x="13811" y="15440"/>
                      <a:pt x="24193" y="16297"/>
                      <a:pt x="16764" y="9153"/>
                    </a:cubicBezTo>
                    <a:cubicBezTo>
                      <a:pt x="16859" y="9058"/>
                      <a:pt x="8096" y="-1134"/>
                      <a:pt x="0" y="10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C595ED37-48A5-4C88-86C4-82896C60EFDF}"/>
                  </a:ext>
                </a:extLst>
              </p:cNvPr>
              <p:cNvSpPr/>
              <p:nvPr/>
            </p:nvSpPr>
            <p:spPr>
              <a:xfrm>
                <a:off x="2436101" y="4644601"/>
                <a:ext cx="23186" cy="22748"/>
              </a:xfrm>
              <a:custGeom>
                <a:avLst/>
                <a:gdLst>
                  <a:gd name="connsiteX0" fmla="*/ 2935 w 23186"/>
                  <a:gd name="connsiteY0" fmla="*/ 1217 h 22747"/>
                  <a:gd name="connsiteX1" fmla="*/ 22176 w 23186"/>
                  <a:gd name="connsiteY1" fmla="*/ 6932 h 22747"/>
                  <a:gd name="connsiteX2" fmla="*/ 18271 w 23186"/>
                  <a:gd name="connsiteY2" fmla="*/ 10552 h 22747"/>
                  <a:gd name="connsiteX3" fmla="*/ 18080 w 23186"/>
                  <a:gd name="connsiteY3" fmla="*/ 19220 h 22747"/>
                  <a:gd name="connsiteX4" fmla="*/ 3031 w 23186"/>
                  <a:gd name="connsiteY4" fmla="*/ 16838 h 22747"/>
                  <a:gd name="connsiteX5" fmla="*/ 2935 w 23186"/>
                  <a:gd name="connsiteY5" fmla="*/ 1217 h 22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186" h="22747">
                    <a:moveTo>
                      <a:pt x="2935" y="1217"/>
                    </a:moveTo>
                    <a:cubicBezTo>
                      <a:pt x="2935" y="1217"/>
                      <a:pt x="18747" y="-3926"/>
                      <a:pt x="22176" y="6932"/>
                    </a:cubicBezTo>
                    <a:cubicBezTo>
                      <a:pt x="25414" y="17886"/>
                      <a:pt x="19985" y="8552"/>
                      <a:pt x="18271" y="10552"/>
                    </a:cubicBezTo>
                    <a:cubicBezTo>
                      <a:pt x="16461" y="12647"/>
                      <a:pt x="17604" y="17219"/>
                      <a:pt x="18080" y="19220"/>
                    </a:cubicBezTo>
                    <a:cubicBezTo>
                      <a:pt x="18271" y="21410"/>
                      <a:pt x="9603" y="27030"/>
                      <a:pt x="3031" y="16838"/>
                    </a:cubicBezTo>
                    <a:cubicBezTo>
                      <a:pt x="-3732" y="6742"/>
                      <a:pt x="2935" y="1217"/>
                      <a:pt x="2935" y="121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1660701C-E604-4FDA-B2AE-078A74D28E7D}"/>
                  </a:ext>
                </a:extLst>
              </p:cNvPr>
              <p:cNvSpPr/>
              <p:nvPr/>
            </p:nvSpPr>
            <p:spPr>
              <a:xfrm>
                <a:off x="2578446" y="3906083"/>
                <a:ext cx="293879" cy="391114"/>
              </a:xfrm>
              <a:custGeom>
                <a:avLst/>
                <a:gdLst>
                  <a:gd name="connsiteX0" fmla="*/ 104905 w 293880"/>
                  <a:gd name="connsiteY0" fmla="*/ 352828 h 391115"/>
                  <a:gd name="connsiteX1" fmla="*/ 104524 w 293880"/>
                  <a:gd name="connsiteY1" fmla="*/ 389880 h 391115"/>
                  <a:gd name="connsiteX2" fmla="*/ 135480 w 293880"/>
                  <a:gd name="connsiteY2" fmla="*/ 375307 h 391115"/>
                  <a:gd name="connsiteX3" fmla="*/ 188725 w 293880"/>
                  <a:gd name="connsiteY3" fmla="*/ 329206 h 391115"/>
                  <a:gd name="connsiteX4" fmla="*/ 208632 w 293880"/>
                  <a:gd name="connsiteY4" fmla="*/ 300631 h 391115"/>
                  <a:gd name="connsiteX5" fmla="*/ 229777 w 293880"/>
                  <a:gd name="connsiteY5" fmla="*/ 304250 h 391115"/>
                  <a:gd name="connsiteX6" fmla="*/ 247303 w 293880"/>
                  <a:gd name="connsiteY6" fmla="*/ 298726 h 391115"/>
                  <a:gd name="connsiteX7" fmla="*/ 235778 w 293880"/>
                  <a:gd name="connsiteY7" fmla="*/ 282152 h 391115"/>
                  <a:gd name="connsiteX8" fmla="*/ 269306 w 293880"/>
                  <a:gd name="connsiteY8" fmla="*/ 258626 h 391115"/>
                  <a:gd name="connsiteX9" fmla="*/ 293881 w 293880"/>
                  <a:gd name="connsiteY9" fmla="*/ 212525 h 391115"/>
                  <a:gd name="connsiteX10" fmla="*/ 284356 w 293880"/>
                  <a:gd name="connsiteY10" fmla="*/ 213001 h 391115"/>
                  <a:gd name="connsiteX11" fmla="*/ 225682 w 293880"/>
                  <a:gd name="connsiteY11" fmla="*/ 265579 h 391115"/>
                  <a:gd name="connsiteX12" fmla="*/ 211585 w 293880"/>
                  <a:gd name="connsiteY12" fmla="*/ 238147 h 391115"/>
                  <a:gd name="connsiteX13" fmla="*/ 202060 w 293880"/>
                  <a:gd name="connsiteY13" fmla="*/ 174901 h 391115"/>
                  <a:gd name="connsiteX14" fmla="*/ 197107 w 293880"/>
                  <a:gd name="connsiteY14" fmla="*/ 171853 h 391115"/>
                  <a:gd name="connsiteX15" fmla="*/ 176056 w 293880"/>
                  <a:gd name="connsiteY15" fmla="*/ 163947 h 391115"/>
                  <a:gd name="connsiteX16" fmla="*/ 163579 w 293880"/>
                  <a:gd name="connsiteY16" fmla="*/ 162899 h 391115"/>
                  <a:gd name="connsiteX17" fmla="*/ 162626 w 293880"/>
                  <a:gd name="connsiteY17" fmla="*/ 148326 h 391115"/>
                  <a:gd name="connsiteX18" fmla="*/ 155482 w 293880"/>
                  <a:gd name="connsiteY18" fmla="*/ 127276 h 391115"/>
                  <a:gd name="connsiteX19" fmla="*/ 143481 w 293880"/>
                  <a:gd name="connsiteY19" fmla="*/ 117751 h 391115"/>
                  <a:gd name="connsiteX20" fmla="*/ 142528 w 293880"/>
                  <a:gd name="connsiteY20" fmla="*/ 66125 h 391115"/>
                  <a:gd name="connsiteX21" fmla="*/ 131098 w 293880"/>
                  <a:gd name="connsiteY21" fmla="*/ 56696 h 391115"/>
                  <a:gd name="connsiteX22" fmla="*/ 127574 w 293880"/>
                  <a:gd name="connsiteY22" fmla="*/ 43742 h 391115"/>
                  <a:gd name="connsiteX23" fmla="*/ 126050 w 293880"/>
                  <a:gd name="connsiteY23" fmla="*/ 25168 h 391115"/>
                  <a:gd name="connsiteX24" fmla="*/ 98523 w 293880"/>
                  <a:gd name="connsiteY24" fmla="*/ 593 h 391115"/>
                  <a:gd name="connsiteX25" fmla="*/ 84426 w 293880"/>
                  <a:gd name="connsiteY25" fmla="*/ 9166 h 391115"/>
                  <a:gd name="connsiteX26" fmla="*/ 61852 w 293880"/>
                  <a:gd name="connsiteY26" fmla="*/ 23263 h 391115"/>
                  <a:gd name="connsiteX27" fmla="*/ 40801 w 293880"/>
                  <a:gd name="connsiteY27" fmla="*/ 12690 h 391115"/>
                  <a:gd name="connsiteX28" fmla="*/ 28800 w 293880"/>
                  <a:gd name="connsiteY28" fmla="*/ 34121 h 391115"/>
                  <a:gd name="connsiteX29" fmla="*/ 33277 w 293880"/>
                  <a:gd name="connsiteY29" fmla="*/ 38693 h 391115"/>
                  <a:gd name="connsiteX30" fmla="*/ 64328 w 293880"/>
                  <a:gd name="connsiteY30" fmla="*/ 68221 h 391115"/>
                  <a:gd name="connsiteX31" fmla="*/ 48802 w 293880"/>
                  <a:gd name="connsiteY31" fmla="*/ 91748 h 391115"/>
                  <a:gd name="connsiteX32" fmla="*/ 59947 w 293880"/>
                  <a:gd name="connsiteY32" fmla="*/ 104225 h 391115"/>
                  <a:gd name="connsiteX33" fmla="*/ 79949 w 293880"/>
                  <a:gd name="connsiteY33" fmla="*/ 93748 h 391115"/>
                  <a:gd name="connsiteX34" fmla="*/ 107000 w 293880"/>
                  <a:gd name="connsiteY34" fmla="*/ 121751 h 391115"/>
                  <a:gd name="connsiteX35" fmla="*/ 92998 w 293880"/>
                  <a:gd name="connsiteY35" fmla="*/ 185950 h 391115"/>
                  <a:gd name="connsiteX36" fmla="*/ 59470 w 293880"/>
                  <a:gd name="connsiteY36" fmla="*/ 175949 h 391115"/>
                  <a:gd name="connsiteX37" fmla="*/ 10226 w 293880"/>
                  <a:gd name="connsiteY37" fmla="*/ 161852 h 391115"/>
                  <a:gd name="connsiteX38" fmla="*/ 225 w 293880"/>
                  <a:gd name="connsiteY38" fmla="*/ 179378 h 391115"/>
                  <a:gd name="connsiteX39" fmla="*/ 92522 w 293880"/>
                  <a:gd name="connsiteY39" fmla="*/ 244052 h 391115"/>
                  <a:gd name="connsiteX40" fmla="*/ 140528 w 293880"/>
                  <a:gd name="connsiteY40" fmla="*/ 269579 h 391115"/>
                  <a:gd name="connsiteX41" fmla="*/ 131479 w 293880"/>
                  <a:gd name="connsiteY41" fmla="*/ 283772 h 391115"/>
                  <a:gd name="connsiteX42" fmla="*/ 133480 w 293880"/>
                  <a:gd name="connsiteY42" fmla="*/ 299202 h 391115"/>
                  <a:gd name="connsiteX43" fmla="*/ 138528 w 293880"/>
                  <a:gd name="connsiteY43" fmla="*/ 296821 h 391115"/>
                  <a:gd name="connsiteX44" fmla="*/ 169960 w 293880"/>
                  <a:gd name="connsiteY44" fmla="*/ 294725 h 391115"/>
                  <a:gd name="connsiteX45" fmla="*/ 175485 w 293880"/>
                  <a:gd name="connsiteY45" fmla="*/ 287296 h 391115"/>
                  <a:gd name="connsiteX46" fmla="*/ 187963 w 293880"/>
                  <a:gd name="connsiteY46" fmla="*/ 299774 h 391115"/>
                  <a:gd name="connsiteX47" fmla="*/ 119859 w 293880"/>
                  <a:gd name="connsiteY47" fmla="*/ 357876 h 391115"/>
                  <a:gd name="connsiteX48" fmla="*/ 104905 w 293880"/>
                  <a:gd name="connsiteY48" fmla="*/ 352828 h 391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293880" h="391115">
                    <a:moveTo>
                      <a:pt x="104905" y="352828"/>
                    </a:moveTo>
                    <a:cubicBezTo>
                      <a:pt x="104905" y="352828"/>
                      <a:pt x="81949" y="376831"/>
                      <a:pt x="104524" y="389880"/>
                    </a:cubicBezTo>
                    <a:cubicBezTo>
                      <a:pt x="104524" y="389880"/>
                      <a:pt x="111001" y="397405"/>
                      <a:pt x="135480" y="375307"/>
                    </a:cubicBezTo>
                    <a:lnTo>
                      <a:pt x="188725" y="329206"/>
                    </a:lnTo>
                    <a:cubicBezTo>
                      <a:pt x="188725" y="329206"/>
                      <a:pt x="203298" y="300155"/>
                      <a:pt x="208632" y="300631"/>
                    </a:cubicBezTo>
                    <a:cubicBezTo>
                      <a:pt x="208632" y="300631"/>
                      <a:pt x="223205" y="297107"/>
                      <a:pt x="229777" y="304250"/>
                    </a:cubicBezTo>
                    <a:cubicBezTo>
                      <a:pt x="229777" y="304250"/>
                      <a:pt x="243779" y="305203"/>
                      <a:pt x="247303" y="298726"/>
                    </a:cubicBezTo>
                    <a:cubicBezTo>
                      <a:pt x="247303" y="298726"/>
                      <a:pt x="249208" y="290725"/>
                      <a:pt x="235778" y="282152"/>
                    </a:cubicBezTo>
                    <a:cubicBezTo>
                      <a:pt x="235778" y="282152"/>
                      <a:pt x="251780" y="259578"/>
                      <a:pt x="269306" y="258626"/>
                    </a:cubicBezTo>
                    <a:cubicBezTo>
                      <a:pt x="269306" y="258626"/>
                      <a:pt x="284356" y="246529"/>
                      <a:pt x="293881" y="212525"/>
                    </a:cubicBezTo>
                    <a:cubicBezTo>
                      <a:pt x="293881" y="212525"/>
                      <a:pt x="289880" y="206048"/>
                      <a:pt x="284356" y="213001"/>
                    </a:cubicBezTo>
                    <a:cubicBezTo>
                      <a:pt x="284356" y="213001"/>
                      <a:pt x="261305" y="252244"/>
                      <a:pt x="225682" y="265579"/>
                    </a:cubicBezTo>
                    <a:cubicBezTo>
                      <a:pt x="225682" y="265579"/>
                      <a:pt x="207203" y="271199"/>
                      <a:pt x="211585" y="238147"/>
                    </a:cubicBezTo>
                    <a:cubicBezTo>
                      <a:pt x="211585" y="238147"/>
                      <a:pt x="217014" y="200523"/>
                      <a:pt x="202060" y="174901"/>
                    </a:cubicBezTo>
                    <a:lnTo>
                      <a:pt x="197107" y="171853"/>
                    </a:lnTo>
                    <a:cubicBezTo>
                      <a:pt x="197107" y="171853"/>
                      <a:pt x="178533" y="168424"/>
                      <a:pt x="176056" y="163947"/>
                    </a:cubicBezTo>
                    <a:cubicBezTo>
                      <a:pt x="173580" y="159280"/>
                      <a:pt x="166055" y="161471"/>
                      <a:pt x="163579" y="162899"/>
                    </a:cubicBezTo>
                    <a:cubicBezTo>
                      <a:pt x="161102" y="164423"/>
                      <a:pt x="157578" y="161852"/>
                      <a:pt x="162626" y="148326"/>
                    </a:cubicBezTo>
                    <a:cubicBezTo>
                      <a:pt x="162626" y="148326"/>
                      <a:pt x="163579" y="130800"/>
                      <a:pt x="155482" y="127276"/>
                    </a:cubicBezTo>
                    <a:lnTo>
                      <a:pt x="143481" y="117751"/>
                    </a:lnTo>
                    <a:cubicBezTo>
                      <a:pt x="143481" y="117751"/>
                      <a:pt x="146053" y="76222"/>
                      <a:pt x="142528" y="66125"/>
                    </a:cubicBezTo>
                    <a:lnTo>
                      <a:pt x="131098" y="56696"/>
                    </a:lnTo>
                    <a:lnTo>
                      <a:pt x="127574" y="43742"/>
                    </a:lnTo>
                    <a:cubicBezTo>
                      <a:pt x="127574" y="43742"/>
                      <a:pt x="126050" y="27168"/>
                      <a:pt x="126050" y="25168"/>
                    </a:cubicBezTo>
                    <a:cubicBezTo>
                      <a:pt x="126050" y="23263"/>
                      <a:pt x="111001" y="-4360"/>
                      <a:pt x="98523" y="593"/>
                    </a:cubicBezTo>
                    <a:cubicBezTo>
                      <a:pt x="98523" y="593"/>
                      <a:pt x="86045" y="11642"/>
                      <a:pt x="84426" y="9166"/>
                    </a:cubicBezTo>
                    <a:cubicBezTo>
                      <a:pt x="82997" y="6594"/>
                      <a:pt x="77949" y="26692"/>
                      <a:pt x="61852" y="23263"/>
                    </a:cubicBezTo>
                    <a:cubicBezTo>
                      <a:pt x="61852" y="23263"/>
                      <a:pt x="48802" y="12690"/>
                      <a:pt x="40801" y="12690"/>
                    </a:cubicBezTo>
                    <a:cubicBezTo>
                      <a:pt x="40801" y="12690"/>
                      <a:pt x="22799" y="14690"/>
                      <a:pt x="28800" y="34121"/>
                    </a:cubicBezTo>
                    <a:cubicBezTo>
                      <a:pt x="28800" y="34121"/>
                      <a:pt x="31276" y="35741"/>
                      <a:pt x="33277" y="38693"/>
                    </a:cubicBezTo>
                    <a:cubicBezTo>
                      <a:pt x="35182" y="41741"/>
                      <a:pt x="52803" y="39170"/>
                      <a:pt x="64328" y="68221"/>
                    </a:cubicBezTo>
                    <a:cubicBezTo>
                      <a:pt x="64328" y="68221"/>
                      <a:pt x="62423" y="83747"/>
                      <a:pt x="48802" y="91748"/>
                    </a:cubicBezTo>
                    <a:cubicBezTo>
                      <a:pt x="48802" y="91748"/>
                      <a:pt x="41849" y="111845"/>
                      <a:pt x="59947" y="104225"/>
                    </a:cubicBezTo>
                    <a:lnTo>
                      <a:pt x="79949" y="93748"/>
                    </a:lnTo>
                    <a:cubicBezTo>
                      <a:pt x="79949" y="93748"/>
                      <a:pt x="98523" y="103368"/>
                      <a:pt x="107000" y="121751"/>
                    </a:cubicBezTo>
                    <a:cubicBezTo>
                      <a:pt x="107000" y="121751"/>
                      <a:pt x="108905" y="164042"/>
                      <a:pt x="92998" y="185950"/>
                    </a:cubicBezTo>
                    <a:cubicBezTo>
                      <a:pt x="92998" y="185950"/>
                      <a:pt x="84902" y="203476"/>
                      <a:pt x="59470" y="175949"/>
                    </a:cubicBezTo>
                    <a:cubicBezTo>
                      <a:pt x="59470" y="175949"/>
                      <a:pt x="37753" y="154994"/>
                      <a:pt x="10226" y="161852"/>
                    </a:cubicBezTo>
                    <a:cubicBezTo>
                      <a:pt x="10226" y="161852"/>
                      <a:pt x="-1775" y="173377"/>
                      <a:pt x="225" y="179378"/>
                    </a:cubicBezTo>
                    <a:cubicBezTo>
                      <a:pt x="225" y="179378"/>
                      <a:pt x="18799" y="212429"/>
                      <a:pt x="92522" y="244052"/>
                    </a:cubicBezTo>
                    <a:cubicBezTo>
                      <a:pt x="92522" y="244052"/>
                      <a:pt x="137575" y="258149"/>
                      <a:pt x="140528" y="269579"/>
                    </a:cubicBezTo>
                    <a:cubicBezTo>
                      <a:pt x="140528" y="269579"/>
                      <a:pt x="148434" y="280057"/>
                      <a:pt x="131479" y="283772"/>
                    </a:cubicBezTo>
                    <a:cubicBezTo>
                      <a:pt x="131479" y="283772"/>
                      <a:pt x="111858" y="306156"/>
                      <a:pt x="133480" y="299202"/>
                    </a:cubicBezTo>
                    <a:lnTo>
                      <a:pt x="138528" y="296821"/>
                    </a:lnTo>
                    <a:cubicBezTo>
                      <a:pt x="138528" y="296821"/>
                      <a:pt x="164531" y="293297"/>
                      <a:pt x="169960" y="294725"/>
                    </a:cubicBezTo>
                    <a:cubicBezTo>
                      <a:pt x="169960" y="294725"/>
                      <a:pt x="174532" y="292820"/>
                      <a:pt x="175485" y="287296"/>
                    </a:cubicBezTo>
                    <a:cubicBezTo>
                      <a:pt x="176628" y="281771"/>
                      <a:pt x="195106" y="286248"/>
                      <a:pt x="187963" y="299774"/>
                    </a:cubicBezTo>
                    <a:cubicBezTo>
                      <a:pt x="187963" y="299774"/>
                      <a:pt x="125955" y="357876"/>
                      <a:pt x="119859" y="357876"/>
                    </a:cubicBezTo>
                    <a:cubicBezTo>
                      <a:pt x="119954" y="357876"/>
                      <a:pt x="104905" y="357400"/>
                      <a:pt x="104905" y="352828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C6916F1D-EFFF-40C7-9C75-2A4A55C10D66}"/>
                  </a:ext>
                </a:extLst>
              </p:cNvPr>
              <p:cNvSpPr/>
              <p:nvPr/>
            </p:nvSpPr>
            <p:spPr>
              <a:xfrm>
                <a:off x="2676107" y="3924325"/>
                <a:ext cx="20198" cy="70488"/>
              </a:xfrm>
              <a:custGeom>
                <a:avLst/>
                <a:gdLst>
                  <a:gd name="connsiteX0" fmla="*/ 1340 w 20198"/>
                  <a:gd name="connsiteY0" fmla="*/ 1976 h 70487"/>
                  <a:gd name="connsiteX1" fmla="*/ 2959 w 20198"/>
                  <a:gd name="connsiteY1" fmla="*/ 37123 h 70487"/>
                  <a:gd name="connsiteX2" fmla="*/ 8960 w 20198"/>
                  <a:gd name="connsiteY2" fmla="*/ 66079 h 70487"/>
                  <a:gd name="connsiteX3" fmla="*/ 16865 w 20198"/>
                  <a:gd name="connsiteY3" fmla="*/ 70080 h 70487"/>
                  <a:gd name="connsiteX4" fmla="*/ 18009 w 20198"/>
                  <a:gd name="connsiteY4" fmla="*/ 15501 h 70487"/>
                  <a:gd name="connsiteX5" fmla="*/ 1340 w 20198"/>
                  <a:gd name="connsiteY5" fmla="*/ 1976 h 70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198" h="70487">
                    <a:moveTo>
                      <a:pt x="1340" y="1976"/>
                    </a:moveTo>
                    <a:cubicBezTo>
                      <a:pt x="1340" y="1976"/>
                      <a:pt x="-2566" y="25503"/>
                      <a:pt x="2959" y="37123"/>
                    </a:cubicBezTo>
                    <a:cubicBezTo>
                      <a:pt x="2959" y="37123"/>
                      <a:pt x="10293" y="61126"/>
                      <a:pt x="8960" y="66079"/>
                    </a:cubicBezTo>
                    <a:cubicBezTo>
                      <a:pt x="8960" y="66079"/>
                      <a:pt x="13913" y="72080"/>
                      <a:pt x="16865" y="70080"/>
                    </a:cubicBezTo>
                    <a:cubicBezTo>
                      <a:pt x="16865" y="70080"/>
                      <a:pt x="23533" y="30456"/>
                      <a:pt x="18009" y="15501"/>
                    </a:cubicBezTo>
                    <a:cubicBezTo>
                      <a:pt x="17913" y="15501"/>
                      <a:pt x="10865" y="-6597"/>
                      <a:pt x="1340" y="197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7FCABEE8-2500-4D4F-B433-3BFC781BB0F2}"/>
                  </a:ext>
                </a:extLst>
              </p:cNvPr>
              <p:cNvSpPr/>
              <p:nvPr/>
            </p:nvSpPr>
            <p:spPr>
              <a:xfrm>
                <a:off x="2688332" y="4060967"/>
                <a:ext cx="87792" cy="118718"/>
              </a:xfrm>
              <a:custGeom>
                <a:avLst/>
                <a:gdLst>
                  <a:gd name="connsiteX0" fmla="*/ 20830 w 87790"/>
                  <a:gd name="connsiteY0" fmla="*/ 16 h 118719"/>
                  <a:gd name="connsiteX1" fmla="*/ 12162 w 87790"/>
                  <a:gd name="connsiteY1" fmla="*/ 14209 h 118719"/>
                  <a:gd name="connsiteX2" fmla="*/ 8448 w 87790"/>
                  <a:gd name="connsiteY2" fmla="*/ 15733 h 118719"/>
                  <a:gd name="connsiteX3" fmla="*/ 542 w 87790"/>
                  <a:gd name="connsiteY3" fmla="*/ 47356 h 118719"/>
                  <a:gd name="connsiteX4" fmla="*/ 1971 w 87790"/>
                  <a:gd name="connsiteY4" fmla="*/ 52595 h 118719"/>
                  <a:gd name="connsiteX5" fmla="*/ 43785 w 87790"/>
                  <a:gd name="connsiteY5" fmla="*/ 99934 h 118719"/>
                  <a:gd name="connsiteX6" fmla="*/ 64836 w 87790"/>
                  <a:gd name="connsiteY6" fmla="*/ 106316 h 118719"/>
                  <a:gd name="connsiteX7" fmla="*/ 77218 w 87790"/>
                  <a:gd name="connsiteY7" fmla="*/ 112793 h 118719"/>
                  <a:gd name="connsiteX8" fmla="*/ 80171 w 87790"/>
                  <a:gd name="connsiteY8" fmla="*/ 117650 h 118719"/>
                  <a:gd name="connsiteX9" fmla="*/ 87791 w 87790"/>
                  <a:gd name="connsiteY9" fmla="*/ 114697 h 118719"/>
                  <a:gd name="connsiteX10" fmla="*/ 75694 w 87790"/>
                  <a:gd name="connsiteY10" fmla="*/ 104506 h 118719"/>
                  <a:gd name="connsiteX11" fmla="*/ 64074 w 87790"/>
                  <a:gd name="connsiteY11" fmla="*/ 89552 h 118719"/>
                  <a:gd name="connsiteX12" fmla="*/ 62835 w 87790"/>
                  <a:gd name="connsiteY12" fmla="*/ 66977 h 118719"/>
                  <a:gd name="connsiteX13" fmla="*/ 38451 w 87790"/>
                  <a:gd name="connsiteY13" fmla="*/ 47070 h 118719"/>
                  <a:gd name="connsiteX14" fmla="*/ 37689 w 87790"/>
                  <a:gd name="connsiteY14" fmla="*/ 33164 h 118719"/>
                  <a:gd name="connsiteX15" fmla="*/ 25593 w 87790"/>
                  <a:gd name="connsiteY15" fmla="*/ 32116 h 118719"/>
                  <a:gd name="connsiteX16" fmla="*/ 20830 w 87790"/>
                  <a:gd name="connsiteY16" fmla="*/ 16 h 118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87790" h="118719">
                    <a:moveTo>
                      <a:pt x="20830" y="16"/>
                    </a:moveTo>
                    <a:cubicBezTo>
                      <a:pt x="20830" y="16"/>
                      <a:pt x="12639" y="2207"/>
                      <a:pt x="12162" y="14209"/>
                    </a:cubicBezTo>
                    <a:lnTo>
                      <a:pt x="8448" y="15733"/>
                    </a:lnTo>
                    <a:lnTo>
                      <a:pt x="542" y="47356"/>
                    </a:lnTo>
                    <a:cubicBezTo>
                      <a:pt x="542" y="47356"/>
                      <a:pt x="-1363" y="51070"/>
                      <a:pt x="1971" y="52595"/>
                    </a:cubicBezTo>
                    <a:cubicBezTo>
                      <a:pt x="5495" y="54023"/>
                      <a:pt x="35784" y="93457"/>
                      <a:pt x="43785" y="99934"/>
                    </a:cubicBezTo>
                    <a:cubicBezTo>
                      <a:pt x="43785" y="99934"/>
                      <a:pt x="54549" y="109649"/>
                      <a:pt x="64836" y="106316"/>
                    </a:cubicBezTo>
                    <a:cubicBezTo>
                      <a:pt x="64836" y="106316"/>
                      <a:pt x="70074" y="113840"/>
                      <a:pt x="77218" y="112793"/>
                    </a:cubicBezTo>
                    <a:lnTo>
                      <a:pt x="80171" y="117650"/>
                    </a:lnTo>
                    <a:cubicBezTo>
                      <a:pt x="80171" y="117650"/>
                      <a:pt x="86553" y="121460"/>
                      <a:pt x="87791" y="114697"/>
                    </a:cubicBezTo>
                    <a:cubicBezTo>
                      <a:pt x="84267" y="113554"/>
                      <a:pt x="83219" y="108697"/>
                      <a:pt x="75694" y="104506"/>
                    </a:cubicBezTo>
                    <a:cubicBezTo>
                      <a:pt x="68074" y="100410"/>
                      <a:pt x="64074" y="96600"/>
                      <a:pt x="64074" y="89552"/>
                    </a:cubicBezTo>
                    <a:lnTo>
                      <a:pt x="62835" y="66977"/>
                    </a:lnTo>
                    <a:cubicBezTo>
                      <a:pt x="62835" y="66977"/>
                      <a:pt x="58644" y="53452"/>
                      <a:pt x="38451" y="47070"/>
                    </a:cubicBezTo>
                    <a:lnTo>
                      <a:pt x="37689" y="33164"/>
                    </a:lnTo>
                    <a:lnTo>
                      <a:pt x="25593" y="32116"/>
                    </a:lnTo>
                    <a:cubicBezTo>
                      <a:pt x="25688" y="32020"/>
                      <a:pt x="29498" y="-841"/>
                      <a:pt x="20830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91149FA6-5F64-45F6-966B-CA7C4E455F94}"/>
                  </a:ext>
                </a:extLst>
              </p:cNvPr>
              <p:cNvSpPr/>
              <p:nvPr/>
            </p:nvSpPr>
            <p:spPr>
              <a:xfrm>
                <a:off x="2608734" y="4092111"/>
                <a:ext cx="66902" cy="44550"/>
              </a:xfrm>
              <a:custGeom>
                <a:avLst/>
                <a:gdLst>
                  <a:gd name="connsiteX0" fmla="*/ 12420 w 66902"/>
                  <a:gd name="connsiteY0" fmla="*/ 304 h 44549"/>
                  <a:gd name="connsiteX1" fmla="*/ 38 w 66902"/>
                  <a:gd name="connsiteY1" fmla="*/ 2209 h 44549"/>
                  <a:gd name="connsiteX2" fmla="*/ 43567 w 66902"/>
                  <a:gd name="connsiteY2" fmla="*/ 36118 h 44549"/>
                  <a:gd name="connsiteX3" fmla="*/ 66903 w 66902"/>
                  <a:gd name="connsiteY3" fmla="*/ 44310 h 44549"/>
                  <a:gd name="connsiteX4" fmla="*/ 33565 w 66902"/>
                  <a:gd name="connsiteY4" fmla="*/ 19926 h 44549"/>
                  <a:gd name="connsiteX5" fmla="*/ 12420 w 66902"/>
                  <a:gd name="connsiteY5" fmla="*/ 304 h 44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902" h="44549">
                    <a:moveTo>
                      <a:pt x="12420" y="304"/>
                    </a:moveTo>
                    <a:cubicBezTo>
                      <a:pt x="12420" y="304"/>
                      <a:pt x="3752" y="-1124"/>
                      <a:pt x="38" y="2209"/>
                    </a:cubicBezTo>
                    <a:cubicBezTo>
                      <a:pt x="38" y="2209"/>
                      <a:pt x="-2915" y="19069"/>
                      <a:pt x="43567" y="36118"/>
                    </a:cubicBezTo>
                    <a:cubicBezTo>
                      <a:pt x="43567" y="36118"/>
                      <a:pt x="61664" y="46215"/>
                      <a:pt x="66903" y="44310"/>
                    </a:cubicBezTo>
                    <a:cubicBezTo>
                      <a:pt x="66903" y="44310"/>
                      <a:pt x="53473" y="31927"/>
                      <a:pt x="33565" y="19926"/>
                    </a:cubicBezTo>
                    <a:cubicBezTo>
                      <a:pt x="33565" y="19926"/>
                      <a:pt x="13182" y="3638"/>
                      <a:pt x="12420" y="30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862E3E98-1A06-4599-8E49-EF86B1B6A1D6}"/>
                  </a:ext>
                </a:extLst>
              </p:cNvPr>
              <p:cNvSpPr/>
              <p:nvPr/>
            </p:nvSpPr>
            <p:spPr>
              <a:xfrm>
                <a:off x="2761475" y="4090959"/>
                <a:ext cx="13410" cy="39079"/>
              </a:xfrm>
              <a:custGeom>
                <a:avLst/>
                <a:gdLst>
                  <a:gd name="connsiteX0" fmla="*/ 3313 w 13409"/>
                  <a:gd name="connsiteY0" fmla="*/ 1457 h 39080"/>
                  <a:gd name="connsiteX1" fmla="*/ 646 w 13409"/>
                  <a:gd name="connsiteY1" fmla="*/ 12316 h 39080"/>
                  <a:gd name="connsiteX2" fmla="*/ 7314 w 13409"/>
                  <a:gd name="connsiteY2" fmla="*/ 39081 h 39080"/>
                  <a:gd name="connsiteX3" fmla="*/ 13410 w 13409"/>
                  <a:gd name="connsiteY3" fmla="*/ 20602 h 39080"/>
                  <a:gd name="connsiteX4" fmla="*/ 12267 w 13409"/>
                  <a:gd name="connsiteY4" fmla="*/ 2219 h 39080"/>
                  <a:gd name="connsiteX5" fmla="*/ 3313 w 13409"/>
                  <a:gd name="connsiteY5" fmla="*/ 1457 h 39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409" h="39080">
                    <a:moveTo>
                      <a:pt x="3313" y="1457"/>
                    </a:moveTo>
                    <a:cubicBezTo>
                      <a:pt x="3313" y="1457"/>
                      <a:pt x="4075" y="9077"/>
                      <a:pt x="646" y="12316"/>
                    </a:cubicBezTo>
                    <a:cubicBezTo>
                      <a:pt x="646" y="12316"/>
                      <a:pt x="-3068" y="33461"/>
                      <a:pt x="7314" y="39081"/>
                    </a:cubicBezTo>
                    <a:cubicBezTo>
                      <a:pt x="7314" y="39081"/>
                      <a:pt x="9981" y="22888"/>
                      <a:pt x="13410" y="20602"/>
                    </a:cubicBezTo>
                    <a:lnTo>
                      <a:pt x="12267" y="2219"/>
                    </a:lnTo>
                    <a:cubicBezTo>
                      <a:pt x="12267" y="2314"/>
                      <a:pt x="9314" y="-2258"/>
                      <a:pt x="3313" y="145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4F5FFFA6-AAE6-4048-A0E0-389CDFCA2D23}"/>
                  </a:ext>
                </a:extLst>
              </p:cNvPr>
              <p:cNvSpPr/>
              <p:nvPr/>
            </p:nvSpPr>
            <p:spPr>
              <a:xfrm>
                <a:off x="3148075" y="3720702"/>
                <a:ext cx="36203" cy="47673"/>
              </a:xfrm>
              <a:custGeom>
                <a:avLst/>
                <a:gdLst>
                  <a:gd name="connsiteX0" fmla="*/ 1 w 36205"/>
                  <a:gd name="connsiteY0" fmla="*/ 144 h 47673"/>
                  <a:gd name="connsiteX1" fmla="*/ 31433 w 36205"/>
                  <a:gd name="connsiteY1" fmla="*/ 47674 h 47673"/>
                  <a:gd name="connsiteX2" fmla="*/ 22003 w 36205"/>
                  <a:gd name="connsiteY2" fmla="*/ 17575 h 47673"/>
                  <a:gd name="connsiteX3" fmla="*/ 1 w 36205"/>
                  <a:gd name="connsiteY3" fmla="*/ 144 h 47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205" h="47673">
                    <a:moveTo>
                      <a:pt x="1" y="144"/>
                    </a:moveTo>
                    <a:cubicBezTo>
                      <a:pt x="1" y="144"/>
                      <a:pt x="-571" y="45578"/>
                      <a:pt x="31433" y="47674"/>
                    </a:cubicBezTo>
                    <a:cubicBezTo>
                      <a:pt x="31433" y="47674"/>
                      <a:pt x="46959" y="36148"/>
                      <a:pt x="22003" y="17575"/>
                    </a:cubicBezTo>
                    <a:cubicBezTo>
                      <a:pt x="22003" y="17670"/>
                      <a:pt x="14955" y="-1856"/>
                      <a:pt x="1" y="144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1DDF7D09-7128-4788-BBA1-B4D49EF0E226}"/>
                  </a:ext>
                </a:extLst>
              </p:cNvPr>
              <p:cNvSpPr/>
              <p:nvPr/>
            </p:nvSpPr>
            <p:spPr>
              <a:xfrm>
                <a:off x="3160431" y="3566423"/>
                <a:ext cx="216790" cy="426262"/>
              </a:xfrm>
              <a:custGeom>
                <a:avLst/>
                <a:gdLst>
                  <a:gd name="connsiteX0" fmla="*/ 67655 w 216791"/>
                  <a:gd name="connsiteY0" fmla="*/ 1069 h 426264"/>
                  <a:gd name="connsiteX1" fmla="*/ 74227 w 216791"/>
                  <a:gd name="connsiteY1" fmla="*/ 46694 h 426264"/>
                  <a:gd name="connsiteX2" fmla="*/ 70703 w 216791"/>
                  <a:gd name="connsiteY2" fmla="*/ 82222 h 426264"/>
                  <a:gd name="connsiteX3" fmla="*/ 26983 w 216791"/>
                  <a:gd name="connsiteY3" fmla="*/ 111083 h 426264"/>
                  <a:gd name="connsiteX4" fmla="*/ 14410 w 216791"/>
                  <a:gd name="connsiteY4" fmla="*/ 98605 h 426264"/>
                  <a:gd name="connsiteX5" fmla="*/ 14791 w 216791"/>
                  <a:gd name="connsiteY5" fmla="*/ 124894 h 426264"/>
                  <a:gd name="connsiteX6" fmla="*/ 27 w 216791"/>
                  <a:gd name="connsiteY6" fmla="*/ 142610 h 426264"/>
                  <a:gd name="connsiteX7" fmla="*/ 13743 w 216791"/>
                  <a:gd name="connsiteY7" fmla="*/ 149183 h 426264"/>
                  <a:gd name="connsiteX8" fmla="*/ 23840 w 216791"/>
                  <a:gd name="connsiteY8" fmla="*/ 160898 h 426264"/>
                  <a:gd name="connsiteX9" fmla="*/ 41270 w 216791"/>
                  <a:gd name="connsiteY9" fmla="*/ 146135 h 426264"/>
                  <a:gd name="connsiteX10" fmla="*/ 67178 w 216791"/>
                  <a:gd name="connsiteY10" fmla="*/ 112702 h 426264"/>
                  <a:gd name="connsiteX11" fmla="*/ 69083 w 216791"/>
                  <a:gd name="connsiteY11" fmla="*/ 121084 h 426264"/>
                  <a:gd name="connsiteX12" fmla="*/ 56987 w 216791"/>
                  <a:gd name="connsiteY12" fmla="*/ 140039 h 426264"/>
                  <a:gd name="connsiteX13" fmla="*/ 56987 w 216791"/>
                  <a:gd name="connsiteY13" fmla="*/ 150707 h 426264"/>
                  <a:gd name="connsiteX14" fmla="*/ 60320 w 216791"/>
                  <a:gd name="connsiteY14" fmla="*/ 152993 h 426264"/>
                  <a:gd name="connsiteX15" fmla="*/ 62987 w 216791"/>
                  <a:gd name="connsiteY15" fmla="*/ 174233 h 426264"/>
                  <a:gd name="connsiteX16" fmla="*/ 61082 w 216791"/>
                  <a:gd name="connsiteY16" fmla="*/ 191093 h 426264"/>
                  <a:gd name="connsiteX17" fmla="*/ 52700 w 216791"/>
                  <a:gd name="connsiteY17" fmla="*/ 219572 h 426264"/>
                  <a:gd name="connsiteX18" fmla="*/ 53081 w 216791"/>
                  <a:gd name="connsiteY18" fmla="*/ 221668 h 426264"/>
                  <a:gd name="connsiteX19" fmla="*/ 64511 w 216791"/>
                  <a:gd name="connsiteY19" fmla="*/ 219858 h 426264"/>
                  <a:gd name="connsiteX20" fmla="*/ 75275 w 216791"/>
                  <a:gd name="connsiteY20" fmla="*/ 210809 h 426264"/>
                  <a:gd name="connsiteX21" fmla="*/ 85085 w 216791"/>
                  <a:gd name="connsiteY21" fmla="*/ 204618 h 426264"/>
                  <a:gd name="connsiteX22" fmla="*/ 105659 w 216791"/>
                  <a:gd name="connsiteY22" fmla="*/ 203189 h 426264"/>
                  <a:gd name="connsiteX23" fmla="*/ 98325 w 216791"/>
                  <a:gd name="connsiteY23" fmla="*/ 224811 h 426264"/>
                  <a:gd name="connsiteX24" fmla="*/ 55463 w 216791"/>
                  <a:gd name="connsiteY24" fmla="*/ 301392 h 426264"/>
                  <a:gd name="connsiteX25" fmla="*/ 31555 w 216791"/>
                  <a:gd name="connsiteY25" fmla="*/ 375782 h 426264"/>
                  <a:gd name="connsiteX26" fmla="*/ 29364 w 216791"/>
                  <a:gd name="connsiteY26" fmla="*/ 409977 h 426264"/>
                  <a:gd name="connsiteX27" fmla="*/ 32888 w 216791"/>
                  <a:gd name="connsiteY27" fmla="*/ 426265 h 426264"/>
                  <a:gd name="connsiteX28" fmla="*/ 46033 w 216791"/>
                  <a:gd name="connsiteY28" fmla="*/ 412168 h 426264"/>
                  <a:gd name="connsiteX29" fmla="*/ 87848 w 216791"/>
                  <a:gd name="connsiteY29" fmla="*/ 291486 h 426264"/>
                  <a:gd name="connsiteX30" fmla="*/ 96611 w 216791"/>
                  <a:gd name="connsiteY30" fmla="*/ 279770 h 426264"/>
                  <a:gd name="connsiteX31" fmla="*/ 96134 w 216791"/>
                  <a:gd name="connsiteY31" fmla="*/ 266435 h 426264"/>
                  <a:gd name="connsiteX32" fmla="*/ 111755 w 216791"/>
                  <a:gd name="connsiteY32" fmla="*/ 243766 h 426264"/>
                  <a:gd name="connsiteX33" fmla="*/ 150046 w 216791"/>
                  <a:gd name="connsiteY33" fmla="*/ 230812 h 426264"/>
                  <a:gd name="connsiteX34" fmla="*/ 138711 w 216791"/>
                  <a:gd name="connsiteY34" fmla="*/ 249290 h 426264"/>
                  <a:gd name="connsiteX35" fmla="*/ 138330 w 216791"/>
                  <a:gd name="connsiteY35" fmla="*/ 263006 h 426264"/>
                  <a:gd name="connsiteX36" fmla="*/ 131186 w 216791"/>
                  <a:gd name="connsiteY36" fmla="*/ 266912 h 426264"/>
                  <a:gd name="connsiteX37" fmla="*/ 103373 w 216791"/>
                  <a:gd name="connsiteY37" fmla="*/ 278246 h 426264"/>
                  <a:gd name="connsiteX38" fmla="*/ 102326 w 216791"/>
                  <a:gd name="connsiteY38" fmla="*/ 366734 h 426264"/>
                  <a:gd name="connsiteX39" fmla="*/ 98039 w 216791"/>
                  <a:gd name="connsiteY39" fmla="*/ 380640 h 426264"/>
                  <a:gd name="connsiteX40" fmla="*/ 99278 w 216791"/>
                  <a:gd name="connsiteY40" fmla="*/ 419502 h 426264"/>
                  <a:gd name="connsiteX41" fmla="*/ 128043 w 216791"/>
                  <a:gd name="connsiteY41" fmla="*/ 401214 h 426264"/>
                  <a:gd name="connsiteX42" fmla="*/ 156809 w 216791"/>
                  <a:gd name="connsiteY42" fmla="*/ 350732 h 426264"/>
                  <a:gd name="connsiteX43" fmla="*/ 181097 w 216791"/>
                  <a:gd name="connsiteY43" fmla="*/ 363876 h 426264"/>
                  <a:gd name="connsiteX44" fmla="*/ 216721 w 216791"/>
                  <a:gd name="connsiteY44" fmla="*/ 346064 h 426264"/>
                  <a:gd name="connsiteX45" fmla="*/ 198147 w 216791"/>
                  <a:gd name="connsiteY45" fmla="*/ 331396 h 426264"/>
                  <a:gd name="connsiteX46" fmla="*/ 191003 w 216791"/>
                  <a:gd name="connsiteY46" fmla="*/ 331396 h 426264"/>
                  <a:gd name="connsiteX47" fmla="*/ 181193 w 216791"/>
                  <a:gd name="connsiteY47" fmla="*/ 319966 h 426264"/>
                  <a:gd name="connsiteX48" fmla="*/ 196337 w 216791"/>
                  <a:gd name="connsiteY48" fmla="*/ 305869 h 426264"/>
                  <a:gd name="connsiteX49" fmla="*/ 198528 w 216791"/>
                  <a:gd name="connsiteY49" fmla="*/ 278913 h 426264"/>
                  <a:gd name="connsiteX50" fmla="*/ 176621 w 216791"/>
                  <a:gd name="connsiteY50" fmla="*/ 274722 h 426264"/>
                  <a:gd name="connsiteX51" fmla="*/ 154332 w 216791"/>
                  <a:gd name="connsiteY51" fmla="*/ 282342 h 426264"/>
                  <a:gd name="connsiteX52" fmla="*/ 156237 w 216791"/>
                  <a:gd name="connsiteY52" fmla="*/ 270912 h 426264"/>
                  <a:gd name="connsiteX53" fmla="*/ 157761 w 216791"/>
                  <a:gd name="connsiteY53" fmla="*/ 263768 h 426264"/>
                  <a:gd name="connsiteX54" fmla="*/ 161285 w 216791"/>
                  <a:gd name="connsiteY54" fmla="*/ 251195 h 426264"/>
                  <a:gd name="connsiteX55" fmla="*/ 172239 w 216791"/>
                  <a:gd name="connsiteY55" fmla="*/ 213572 h 426264"/>
                  <a:gd name="connsiteX56" fmla="*/ 147950 w 216791"/>
                  <a:gd name="connsiteY56" fmla="*/ 204142 h 426264"/>
                  <a:gd name="connsiteX57" fmla="*/ 141473 w 216791"/>
                  <a:gd name="connsiteY57" fmla="*/ 209381 h 426264"/>
                  <a:gd name="connsiteX58" fmla="*/ 131567 w 216791"/>
                  <a:gd name="connsiteY58" fmla="*/ 209381 h 426264"/>
                  <a:gd name="connsiteX59" fmla="*/ 128615 w 216791"/>
                  <a:gd name="connsiteY59" fmla="*/ 214715 h 426264"/>
                  <a:gd name="connsiteX60" fmla="*/ 121280 w 216791"/>
                  <a:gd name="connsiteY60" fmla="*/ 205571 h 426264"/>
                  <a:gd name="connsiteX61" fmla="*/ 130520 w 216791"/>
                  <a:gd name="connsiteY61" fmla="*/ 174519 h 426264"/>
                  <a:gd name="connsiteX62" fmla="*/ 112232 w 216791"/>
                  <a:gd name="connsiteY62" fmla="*/ 172995 h 426264"/>
                  <a:gd name="connsiteX63" fmla="*/ 98135 w 216791"/>
                  <a:gd name="connsiteY63" fmla="*/ 182425 h 426264"/>
                  <a:gd name="connsiteX64" fmla="*/ 87943 w 216791"/>
                  <a:gd name="connsiteY64" fmla="*/ 189283 h 426264"/>
                  <a:gd name="connsiteX65" fmla="*/ 76894 w 216791"/>
                  <a:gd name="connsiteY65" fmla="*/ 188902 h 426264"/>
                  <a:gd name="connsiteX66" fmla="*/ 83752 w 216791"/>
                  <a:gd name="connsiteY66" fmla="*/ 177091 h 426264"/>
                  <a:gd name="connsiteX67" fmla="*/ 117851 w 216791"/>
                  <a:gd name="connsiteY67" fmla="*/ 157850 h 426264"/>
                  <a:gd name="connsiteX68" fmla="*/ 147188 w 216791"/>
                  <a:gd name="connsiteY68" fmla="*/ 110797 h 426264"/>
                  <a:gd name="connsiteX69" fmla="*/ 151760 w 216791"/>
                  <a:gd name="connsiteY69" fmla="*/ 37073 h 426264"/>
                  <a:gd name="connsiteX70" fmla="*/ 110041 w 216791"/>
                  <a:gd name="connsiteY70" fmla="*/ 60314 h 426264"/>
                  <a:gd name="connsiteX71" fmla="*/ 95277 w 216791"/>
                  <a:gd name="connsiteY71" fmla="*/ 62886 h 426264"/>
                  <a:gd name="connsiteX72" fmla="*/ 97182 w 216791"/>
                  <a:gd name="connsiteY72" fmla="*/ 47741 h 426264"/>
                  <a:gd name="connsiteX73" fmla="*/ 95944 w 216791"/>
                  <a:gd name="connsiteY73" fmla="*/ 22691 h 426264"/>
                  <a:gd name="connsiteX74" fmla="*/ 67655 w 216791"/>
                  <a:gd name="connsiteY74" fmla="*/ 1069 h 4262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216791" h="426264">
                    <a:moveTo>
                      <a:pt x="67655" y="1069"/>
                    </a:moveTo>
                    <a:cubicBezTo>
                      <a:pt x="67655" y="1069"/>
                      <a:pt x="74608" y="35168"/>
                      <a:pt x="74227" y="46694"/>
                    </a:cubicBezTo>
                    <a:cubicBezTo>
                      <a:pt x="74227" y="46694"/>
                      <a:pt x="79751" y="67744"/>
                      <a:pt x="70703" y="82222"/>
                    </a:cubicBezTo>
                    <a:cubicBezTo>
                      <a:pt x="70703" y="82222"/>
                      <a:pt x="40604" y="117274"/>
                      <a:pt x="26983" y="111083"/>
                    </a:cubicBezTo>
                    <a:cubicBezTo>
                      <a:pt x="26983" y="111083"/>
                      <a:pt x="20887" y="94795"/>
                      <a:pt x="14410" y="98605"/>
                    </a:cubicBezTo>
                    <a:cubicBezTo>
                      <a:pt x="14410" y="98605"/>
                      <a:pt x="8409" y="96700"/>
                      <a:pt x="14791" y="124894"/>
                    </a:cubicBezTo>
                    <a:cubicBezTo>
                      <a:pt x="14791" y="124894"/>
                      <a:pt x="-735" y="136991"/>
                      <a:pt x="27" y="142610"/>
                    </a:cubicBezTo>
                    <a:cubicBezTo>
                      <a:pt x="1932" y="143849"/>
                      <a:pt x="-4259" y="151754"/>
                      <a:pt x="13743" y="149183"/>
                    </a:cubicBezTo>
                    <a:cubicBezTo>
                      <a:pt x="13743" y="149183"/>
                      <a:pt x="18601" y="147278"/>
                      <a:pt x="23840" y="160898"/>
                    </a:cubicBezTo>
                    <a:cubicBezTo>
                      <a:pt x="23840" y="160898"/>
                      <a:pt x="38699" y="169947"/>
                      <a:pt x="41270" y="146135"/>
                    </a:cubicBezTo>
                    <a:cubicBezTo>
                      <a:pt x="41270" y="146135"/>
                      <a:pt x="37651" y="120608"/>
                      <a:pt x="67178" y="112702"/>
                    </a:cubicBezTo>
                    <a:cubicBezTo>
                      <a:pt x="67178" y="112702"/>
                      <a:pt x="76989" y="114131"/>
                      <a:pt x="69083" y="121084"/>
                    </a:cubicBezTo>
                    <a:cubicBezTo>
                      <a:pt x="69083" y="121084"/>
                      <a:pt x="68036" y="137753"/>
                      <a:pt x="56987" y="140039"/>
                    </a:cubicBezTo>
                    <a:cubicBezTo>
                      <a:pt x="56987" y="140039"/>
                      <a:pt x="56225" y="147944"/>
                      <a:pt x="56987" y="150707"/>
                    </a:cubicBezTo>
                    <a:cubicBezTo>
                      <a:pt x="57749" y="153374"/>
                      <a:pt x="60320" y="152993"/>
                      <a:pt x="60320" y="152993"/>
                    </a:cubicBezTo>
                    <a:cubicBezTo>
                      <a:pt x="60320" y="152993"/>
                      <a:pt x="66131" y="161279"/>
                      <a:pt x="62987" y="174233"/>
                    </a:cubicBezTo>
                    <a:cubicBezTo>
                      <a:pt x="62987" y="174233"/>
                      <a:pt x="58892" y="187187"/>
                      <a:pt x="61082" y="191093"/>
                    </a:cubicBezTo>
                    <a:cubicBezTo>
                      <a:pt x="61082" y="191093"/>
                      <a:pt x="50700" y="204713"/>
                      <a:pt x="52700" y="219572"/>
                    </a:cubicBezTo>
                    <a:cubicBezTo>
                      <a:pt x="52891" y="220334"/>
                      <a:pt x="52986" y="220906"/>
                      <a:pt x="53081" y="221668"/>
                    </a:cubicBezTo>
                    <a:cubicBezTo>
                      <a:pt x="56606" y="237194"/>
                      <a:pt x="62987" y="223192"/>
                      <a:pt x="64511" y="219858"/>
                    </a:cubicBezTo>
                    <a:cubicBezTo>
                      <a:pt x="64511" y="219858"/>
                      <a:pt x="74036" y="209095"/>
                      <a:pt x="75275" y="210809"/>
                    </a:cubicBezTo>
                    <a:cubicBezTo>
                      <a:pt x="76322" y="212333"/>
                      <a:pt x="82895" y="211476"/>
                      <a:pt x="85085" y="204618"/>
                    </a:cubicBezTo>
                    <a:lnTo>
                      <a:pt x="105659" y="203189"/>
                    </a:lnTo>
                    <a:cubicBezTo>
                      <a:pt x="105659" y="203189"/>
                      <a:pt x="106898" y="211476"/>
                      <a:pt x="98325" y="224811"/>
                    </a:cubicBezTo>
                    <a:cubicBezTo>
                      <a:pt x="98325" y="224811"/>
                      <a:pt x="81275" y="266150"/>
                      <a:pt x="55463" y="301392"/>
                    </a:cubicBezTo>
                    <a:cubicBezTo>
                      <a:pt x="55463" y="301392"/>
                      <a:pt x="33460" y="340921"/>
                      <a:pt x="31555" y="375782"/>
                    </a:cubicBezTo>
                    <a:lnTo>
                      <a:pt x="29364" y="409977"/>
                    </a:lnTo>
                    <a:cubicBezTo>
                      <a:pt x="29364" y="409977"/>
                      <a:pt x="13934" y="425789"/>
                      <a:pt x="32888" y="426265"/>
                    </a:cubicBezTo>
                    <a:cubicBezTo>
                      <a:pt x="32888" y="426265"/>
                      <a:pt x="40413" y="423693"/>
                      <a:pt x="46033" y="412168"/>
                    </a:cubicBezTo>
                    <a:lnTo>
                      <a:pt x="87848" y="291486"/>
                    </a:lnTo>
                    <a:lnTo>
                      <a:pt x="96611" y="279770"/>
                    </a:lnTo>
                    <a:lnTo>
                      <a:pt x="96134" y="266435"/>
                    </a:lnTo>
                    <a:cubicBezTo>
                      <a:pt x="96134" y="266435"/>
                      <a:pt x="105659" y="252338"/>
                      <a:pt x="111755" y="243766"/>
                    </a:cubicBezTo>
                    <a:cubicBezTo>
                      <a:pt x="111755" y="243766"/>
                      <a:pt x="142521" y="223954"/>
                      <a:pt x="150046" y="230812"/>
                    </a:cubicBezTo>
                    <a:cubicBezTo>
                      <a:pt x="150046" y="230812"/>
                      <a:pt x="138997" y="247957"/>
                      <a:pt x="138711" y="249290"/>
                    </a:cubicBezTo>
                    <a:cubicBezTo>
                      <a:pt x="138330" y="250814"/>
                      <a:pt x="138330" y="263006"/>
                      <a:pt x="138330" y="263006"/>
                    </a:cubicBezTo>
                    <a:cubicBezTo>
                      <a:pt x="138330" y="263006"/>
                      <a:pt x="139092" y="266435"/>
                      <a:pt x="131186" y="266912"/>
                    </a:cubicBezTo>
                    <a:cubicBezTo>
                      <a:pt x="131186" y="266912"/>
                      <a:pt x="107564" y="273293"/>
                      <a:pt x="103373" y="278246"/>
                    </a:cubicBezTo>
                    <a:lnTo>
                      <a:pt x="102326" y="366734"/>
                    </a:lnTo>
                    <a:lnTo>
                      <a:pt x="98039" y="380640"/>
                    </a:lnTo>
                    <a:lnTo>
                      <a:pt x="99278" y="419502"/>
                    </a:lnTo>
                    <a:cubicBezTo>
                      <a:pt x="99278" y="419502"/>
                      <a:pt x="119661" y="419121"/>
                      <a:pt x="128043" y="401214"/>
                    </a:cubicBezTo>
                    <a:cubicBezTo>
                      <a:pt x="128043" y="401214"/>
                      <a:pt x="141759" y="359590"/>
                      <a:pt x="156809" y="350732"/>
                    </a:cubicBezTo>
                    <a:cubicBezTo>
                      <a:pt x="156809" y="350732"/>
                      <a:pt x="178430" y="355018"/>
                      <a:pt x="181097" y="363876"/>
                    </a:cubicBezTo>
                    <a:cubicBezTo>
                      <a:pt x="181097" y="363876"/>
                      <a:pt x="218626" y="359876"/>
                      <a:pt x="216721" y="346064"/>
                    </a:cubicBezTo>
                    <a:cubicBezTo>
                      <a:pt x="216721" y="346064"/>
                      <a:pt x="214149" y="337397"/>
                      <a:pt x="198147" y="331396"/>
                    </a:cubicBezTo>
                    <a:lnTo>
                      <a:pt x="191003" y="331396"/>
                    </a:lnTo>
                    <a:lnTo>
                      <a:pt x="181193" y="319966"/>
                    </a:lnTo>
                    <a:cubicBezTo>
                      <a:pt x="181193" y="319966"/>
                      <a:pt x="190622" y="307869"/>
                      <a:pt x="196337" y="305869"/>
                    </a:cubicBezTo>
                    <a:cubicBezTo>
                      <a:pt x="196337" y="305869"/>
                      <a:pt x="209577" y="291772"/>
                      <a:pt x="198528" y="278913"/>
                    </a:cubicBezTo>
                    <a:cubicBezTo>
                      <a:pt x="198528" y="278913"/>
                      <a:pt x="206148" y="272436"/>
                      <a:pt x="176621" y="274722"/>
                    </a:cubicBezTo>
                    <a:cubicBezTo>
                      <a:pt x="176621" y="274722"/>
                      <a:pt x="169763" y="285295"/>
                      <a:pt x="154332" y="282342"/>
                    </a:cubicBezTo>
                    <a:cubicBezTo>
                      <a:pt x="154332" y="282342"/>
                      <a:pt x="150046" y="280437"/>
                      <a:pt x="156237" y="270912"/>
                    </a:cubicBezTo>
                    <a:lnTo>
                      <a:pt x="157761" y="263768"/>
                    </a:lnTo>
                    <a:cubicBezTo>
                      <a:pt x="157761" y="263768"/>
                      <a:pt x="163571" y="263292"/>
                      <a:pt x="161285" y="251195"/>
                    </a:cubicBezTo>
                    <a:cubicBezTo>
                      <a:pt x="161285" y="251195"/>
                      <a:pt x="175668" y="245576"/>
                      <a:pt x="172239" y="213572"/>
                    </a:cubicBezTo>
                    <a:cubicBezTo>
                      <a:pt x="172239" y="213572"/>
                      <a:pt x="168810" y="202142"/>
                      <a:pt x="147950" y="204142"/>
                    </a:cubicBezTo>
                    <a:lnTo>
                      <a:pt x="141473" y="209381"/>
                    </a:lnTo>
                    <a:lnTo>
                      <a:pt x="131567" y="209381"/>
                    </a:lnTo>
                    <a:cubicBezTo>
                      <a:pt x="129377" y="209381"/>
                      <a:pt x="130139" y="214715"/>
                      <a:pt x="128615" y="214715"/>
                    </a:cubicBezTo>
                    <a:cubicBezTo>
                      <a:pt x="126995" y="214715"/>
                      <a:pt x="113851" y="223478"/>
                      <a:pt x="121280" y="205571"/>
                    </a:cubicBezTo>
                    <a:cubicBezTo>
                      <a:pt x="121280" y="205571"/>
                      <a:pt x="131948" y="192236"/>
                      <a:pt x="130520" y="174519"/>
                    </a:cubicBezTo>
                    <a:cubicBezTo>
                      <a:pt x="130520" y="174519"/>
                      <a:pt x="123281" y="170614"/>
                      <a:pt x="112232" y="172995"/>
                    </a:cubicBezTo>
                    <a:cubicBezTo>
                      <a:pt x="112232" y="172995"/>
                      <a:pt x="104707" y="181663"/>
                      <a:pt x="98135" y="182425"/>
                    </a:cubicBezTo>
                    <a:cubicBezTo>
                      <a:pt x="91658" y="183092"/>
                      <a:pt x="87943" y="189283"/>
                      <a:pt x="87943" y="189283"/>
                    </a:cubicBezTo>
                    <a:cubicBezTo>
                      <a:pt x="87943" y="189283"/>
                      <a:pt x="79180" y="190902"/>
                      <a:pt x="76894" y="188902"/>
                    </a:cubicBezTo>
                    <a:cubicBezTo>
                      <a:pt x="74608" y="187092"/>
                      <a:pt x="71941" y="177948"/>
                      <a:pt x="83752" y="177091"/>
                    </a:cubicBezTo>
                    <a:cubicBezTo>
                      <a:pt x="83752" y="177091"/>
                      <a:pt x="112517" y="167280"/>
                      <a:pt x="117851" y="157850"/>
                    </a:cubicBezTo>
                    <a:cubicBezTo>
                      <a:pt x="117851" y="157850"/>
                      <a:pt x="145950" y="121370"/>
                      <a:pt x="147188" y="110797"/>
                    </a:cubicBezTo>
                    <a:cubicBezTo>
                      <a:pt x="147188" y="110797"/>
                      <a:pt x="161285" y="46979"/>
                      <a:pt x="151760" y="37073"/>
                    </a:cubicBezTo>
                    <a:cubicBezTo>
                      <a:pt x="151760" y="37073"/>
                      <a:pt x="141473" y="23453"/>
                      <a:pt x="110041" y="60314"/>
                    </a:cubicBezTo>
                    <a:cubicBezTo>
                      <a:pt x="110041" y="60314"/>
                      <a:pt x="108136" y="69839"/>
                      <a:pt x="95277" y="62886"/>
                    </a:cubicBezTo>
                    <a:cubicBezTo>
                      <a:pt x="95277" y="62886"/>
                      <a:pt x="95944" y="49646"/>
                      <a:pt x="97182" y="47741"/>
                    </a:cubicBezTo>
                    <a:cubicBezTo>
                      <a:pt x="98230" y="45932"/>
                      <a:pt x="103183" y="33263"/>
                      <a:pt x="95944" y="22691"/>
                    </a:cubicBezTo>
                    <a:cubicBezTo>
                      <a:pt x="95658" y="22595"/>
                      <a:pt x="73751" y="-5789"/>
                      <a:pt x="67655" y="1069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8FF22356-7CBB-4453-9308-F4E6DD68A271}"/>
                  </a:ext>
                </a:extLst>
              </p:cNvPr>
              <p:cNvSpPr/>
              <p:nvPr/>
            </p:nvSpPr>
            <p:spPr>
              <a:xfrm>
                <a:off x="3191818" y="3730923"/>
                <a:ext cx="14072" cy="14233"/>
              </a:xfrm>
              <a:custGeom>
                <a:avLst/>
                <a:gdLst>
                  <a:gd name="connsiteX0" fmla="*/ 3215 w 14073"/>
                  <a:gd name="connsiteY0" fmla="*/ 1161 h 14233"/>
                  <a:gd name="connsiteX1" fmla="*/ 14073 w 14073"/>
                  <a:gd name="connsiteY1" fmla="*/ 8686 h 14233"/>
                  <a:gd name="connsiteX2" fmla="*/ 643 w 14073"/>
                  <a:gd name="connsiteY2" fmla="*/ 11734 h 14233"/>
                  <a:gd name="connsiteX3" fmla="*/ 3215 w 14073"/>
                  <a:gd name="connsiteY3" fmla="*/ 1161 h 14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73" h="14233">
                    <a:moveTo>
                      <a:pt x="3215" y="1161"/>
                    </a:moveTo>
                    <a:cubicBezTo>
                      <a:pt x="3215" y="1161"/>
                      <a:pt x="13787" y="-4363"/>
                      <a:pt x="14073" y="8686"/>
                    </a:cubicBezTo>
                    <a:cubicBezTo>
                      <a:pt x="14073" y="8686"/>
                      <a:pt x="10358" y="18783"/>
                      <a:pt x="643" y="11734"/>
                    </a:cubicBezTo>
                    <a:cubicBezTo>
                      <a:pt x="643" y="11639"/>
                      <a:pt x="-1929" y="780"/>
                      <a:pt x="3215" y="1161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B6E1775E-6ADA-4743-83B2-A53EF33355C7}"/>
                  </a:ext>
                </a:extLst>
              </p:cNvPr>
              <p:cNvSpPr/>
              <p:nvPr/>
            </p:nvSpPr>
            <p:spPr>
              <a:xfrm>
                <a:off x="3236446" y="3635416"/>
                <a:ext cx="54576" cy="90765"/>
              </a:xfrm>
              <a:custGeom>
                <a:avLst/>
                <a:gdLst>
                  <a:gd name="connsiteX0" fmla="*/ 15356 w 54575"/>
                  <a:gd name="connsiteY0" fmla="*/ 25233 h 90765"/>
                  <a:gd name="connsiteX1" fmla="*/ 53742 w 54575"/>
                  <a:gd name="connsiteY1" fmla="*/ 87 h 90765"/>
                  <a:gd name="connsiteX2" fmla="*/ 50694 w 54575"/>
                  <a:gd name="connsiteY2" fmla="*/ 7707 h 90765"/>
                  <a:gd name="connsiteX3" fmla="*/ 31930 w 54575"/>
                  <a:gd name="connsiteY3" fmla="*/ 63333 h 90765"/>
                  <a:gd name="connsiteX4" fmla="*/ 4783 w 54575"/>
                  <a:gd name="connsiteY4" fmla="*/ 90765 h 90765"/>
                  <a:gd name="connsiteX5" fmla="*/ 2974 w 54575"/>
                  <a:gd name="connsiteY5" fmla="*/ 82193 h 90765"/>
                  <a:gd name="connsiteX6" fmla="*/ 13832 w 54575"/>
                  <a:gd name="connsiteY6" fmla="*/ 64095 h 90765"/>
                  <a:gd name="connsiteX7" fmla="*/ 15356 w 54575"/>
                  <a:gd name="connsiteY7" fmla="*/ 25233 h 90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575" h="90765">
                    <a:moveTo>
                      <a:pt x="15356" y="25233"/>
                    </a:moveTo>
                    <a:cubicBezTo>
                      <a:pt x="15356" y="25233"/>
                      <a:pt x="42502" y="-1723"/>
                      <a:pt x="53742" y="87"/>
                    </a:cubicBezTo>
                    <a:cubicBezTo>
                      <a:pt x="53742" y="87"/>
                      <a:pt x="56981" y="6659"/>
                      <a:pt x="50694" y="7707"/>
                    </a:cubicBezTo>
                    <a:cubicBezTo>
                      <a:pt x="50694" y="7707"/>
                      <a:pt x="54504" y="25233"/>
                      <a:pt x="31930" y="63333"/>
                    </a:cubicBezTo>
                    <a:cubicBezTo>
                      <a:pt x="31930" y="63333"/>
                      <a:pt x="19452" y="86003"/>
                      <a:pt x="4783" y="90765"/>
                    </a:cubicBezTo>
                    <a:cubicBezTo>
                      <a:pt x="4783" y="90765"/>
                      <a:pt x="-4646" y="90098"/>
                      <a:pt x="2974" y="82193"/>
                    </a:cubicBezTo>
                    <a:cubicBezTo>
                      <a:pt x="2974" y="82193"/>
                      <a:pt x="16118" y="72763"/>
                      <a:pt x="13832" y="64095"/>
                    </a:cubicBezTo>
                    <a:cubicBezTo>
                      <a:pt x="13832" y="64000"/>
                      <a:pt x="5641" y="42854"/>
                      <a:pt x="15356" y="2523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8" name="任意多边形: 形状 87">
                <a:extLst>
                  <a:ext uri="{FF2B5EF4-FFF2-40B4-BE49-F238E27FC236}">
                    <a16:creationId xmlns:a16="http://schemas.microsoft.com/office/drawing/2014/main" id="{D8A71188-3CDA-4306-8BD3-A89802FC4AC4}"/>
                  </a:ext>
                </a:extLst>
              </p:cNvPr>
              <p:cNvSpPr/>
              <p:nvPr/>
            </p:nvSpPr>
            <p:spPr>
              <a:xfrm>
                <a:off x="3202823" y="3889771"/>
                <a:ext cx="19065" cy="45612"/>
              </a:xfrm>
              <a:custGeom>
                <a:avLst/>
                <a:gdLst>
                  <a:gd name="connsiteX0" fmla="*/ 12975 w 19066"/>
                  <a:gd name="connsiteY0" fmla="*/ 143 h 45613"/>
                  <a:gd name="connsiteX1" fmla="*/ 2402 w 19066"/>
                  <a:gd name="connsiteY1" fmla="*/ 22336 h 45613"/>
                  <a:gd name="connsiteX2" fmla="*/ 497 w 19066"/>
                  <a:gd name="connsiteY2" fmla="*/ 44053 h 45613"/>
                  <a:gd name="connsiteX3" fmla="*/ 7355 w 19066"/>
                  <a:gd name="connsiteY3" fmla="*/ 37386 h 45613"/>
                  <a:gd name="connsiteX4" fmla="*/ 14499 w 19066"/>
                  <a:gd name="connsiteY4" fmla="*/ 23384 h 45613"/>
                  <a:gd name="connsiteX5" fmla="*/ 16689 w 19066"/>
                  <a:gd name="connsiteY5" fmla="*/ 9192 h 45613"/>
                  <a:gd name="connsiteX6" fmla="*/ 12975 w 19066"/>
                  <a:gd name="connsiteY6" fmla="*/ 143 h 45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066" h="45613">
                    <a:moveTo>
                      <a:pt x="12975" y="143"/>
                    </a:moveTo>
                    <a:cubicBezTo>
                      <a:pt x="12975" y="143"/>
                      <a:pt x="2878" y="19669"/>
                      <a:pt x="2402" y="22336"/>
                    </a:cubicBezTo>
                    <a:cubicBezTo>
                      <a:pt x="2402" y="22336"/>
                      <a:pt x="-1313" y="30623"/>
                      <a:pt x="497" y="44053"/>
                    </a:cubicBezTo>
                    <a:cubicBezTo>
                      <a:pt x="497" y="44053"/>
                      <a:pt x="6498" y="50435"/>
                      <a:pt x="7355" y="37386"/>
                    </a:cubicBezTo>
                    <a:cubicBezTo>
                      <a:pt x="7355" y="37386"/>
                      <a:pt x="11070" y="22336"/>
                      <a:pt x="14499" y="23384"/>
                    </a:cubicBezTo>
                    <a:cubicBezTo>
                      <a:pt x="14499" y="23384"/>
                      <a:pt x="14023" y="9954"/>
                      <a:pt x="16689" y="9192"/>
                    </a:cubicBezTo>
                    <a:cubicBezTo>
                      <a:pt x="19356" y="8430"/>
                      <a:pt x="21547" y="-1286"/>
                      <a:pt x="12975" y="14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9" name="任意多边形: 形状 88">
                <a:extLst>
                  <a:ext uri="{FF2B5EF4-FFF2-40B4-BE49-F238E27FC236}">
                    <a16:creationId xmlns:a16="http://schemas.microsoft.com/office/drawing/2014/main" id="{A61091BC-B55A-43CD-BB89-D2AFD481FB33}"/>
                  </a:ext>
                </a:extLst>
              </p:cNvPr>
              <p:cNvSpPr/>
              <p:nvPr/>
            </p:nvSpPr>
            <p:spPr>
              <a:xfrm>
                <a:off x="3275395" y="3852528"/>
                <a:ext cx="30456" cy="73607"/>
              </a:xfrm>
              <a:custGeom>
                <a:avLst/>
                <a:gdLst>
                  <a:gd name="connsiteX0" fmla="*/ 3842 w 30454"/>
                  <a:gd name="connsiteY0" fmla="*/ 240 h 73609"/>
                  <a:gd name="connsiteX1" fmla="*/ 508 w 30454"/>
                  <a:gd name="connsiteY1" fmla="*/ 9289 h 73609"/>
                  <a:gd name="connsiteX2" fmla="*/ 508 w 30454"/>
                  <a:gd name="connsiteY2" fmla="*/ 24624 h 73609"/>
                  <a:gd name="connsiteX3" fmla="*/ 3080 w 30454"/>
                  <a:gd name="connsiteY3" fmla="*/ 64534 h 73609"/>
                  <a:gd name="connsiteX4" fmla="*/ 21558 w 30454"/>
                  <a:gd name="connsiteY4" fmla="*/ 65963 h 73609"/>
                  <a:gd name="connsiteX5" fmla="*/ 27559 w 30454"/>
                  <a:gd name="connsiteY5" fmla="*/ 44627 h 73609"/>
                  <a:gd name="connsiteX6" fmla="*/ 15843 w 30454"/>
                  <a:gd name="connsiteY6" fmla="*/ 30339 h 73609"/>
                  <a:gd name="connsiteX7" fmla="*/ 23463 w 30454"/>
                  <a:gd name="connsiteY7" fmla="*/ 5860 h 73609"/>
                  <a:gd name="connsiteX8" fmla="*/ 14795 w 30454"/>
                  <a:gd name="connsiteY8" fmla="*/ 2145 h 73609"/>
                  <a:gd name="connsiteX9" fmla="*/ 3842 w 30454"/>
                  <a:gd name="connsiteY9" fmla="*/ 240 h 73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454" h="73609">
                    <a:moveTo>
                      <a:pt x="3842" y="240"/>
                    </a:moveTo>
                    <a:lnTo>
                      <a:pt x="508" y="9289"/>
                    </a:lnTo>
                    <a:cubicBezTo>
                      <a:pt x="508" y="9289"/>
                      <a:pt x="-635" y="14433"/>
                      <a:pt x="508" y="24624"/>
                    </a:cubicBezTo>
                    <a:cubicBezTo>
                      <a:pt x="1746" y="34721"/>
                      <a:pt x="3080" y="64534"/>
                      <a:pt x="3080" y="64534"/>
                    </a:cubicBezTo>
                    <a:cubicBezTo>
                      <a:pt x="3080" y="64534"/>
                      <a:pt x="8414" y="83965"/>
                      <a:pt x="21558" y="65963"/>
                    </a:cubicBezTo>
                    <a:cubicBezTo>
                      <a:pt x="21558" y="65963"/>
                      <a:pt x="36608" y="58914"/>
                      <a:pt x="27559" y="44627"/>
                    </a:cubicBezTo>
                    <a:lnTo>
                      <a:pt x="15843" y="30339"/>
                    </a:lnTo>
                    <a:lnTo>
                      <a:pt x="23463" y="5860"/>
                    </a:lnTo>
                    <a:cubicBezTo>
                      <a:pt x="23463" y="5860"/>
                      <a:pt x="15081" y="5098"/>
                      <a:pt x="14795" y="2145"/>
                    </a:cubicBezTo>
                    <a:cubicBezTo>
                      <a:pt x="14415" y="-998"/>
                      <a:pt x="3842" y="240"/>
                      <a:pt x="3842" y="24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0" name="任意多边形: 形状 89">
                <a:extLst>
                  <a:ext uri="{FF2B5EF4-FFF2-40B4-BE49-F238E27FC236}">
                    <a16:creationId xmlns:a16="http://schemas.microsoft.com/office/drawing/2014/main" id="{65A0B699-8FAA-4075-BCD1-3993DB5B24EB}"/>
                  </a:ext>
                </a:extLst>
              </p:cNvPr>
              <p:cNvSpPr/>
              <p:nvPr/>
            </p:nvSpPr>
            <p:spPr>
              <a:xfrm>
                <a:off x="3314713" y="3864711"/>
                <a:ext cx="22053" cy="16533"/>
              </a:xfrm>
              <a:custGeom>
                <a:avLst/>
                <a:gdLst>
                  <a:gd name="connsiteX0" fmla="*/ 5479 w 22052"/>
                  <a:gd name="connsiteY0" fmla="*/ 1198 h 16532"/>
                  <a:gd name="connsiteX1" fmla="*/ 22052 w 22052"/>
                  <a:gd name="connsiteY1" fmla="*/ 4056 h 16532"/>
                  <a:gd name="connsiteX2" fmla="*/ 4336 w 22052"/>
                  <a:gd name="connsiteY2" fmla="*/ 15390 h 16532"/>
                  <a:gd name="connsiteX3" fmla="*/ 5479 w 22052"/>
                  <a:gd name="connsiteY3" fmla="*/ 1198 h 16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052" h="16532">
                    <a:moveTo>
                      <a:pt x="5479" y="1198"/>
                    </a:moveTo>
                    <a:cubicBezTo>
                      <a:pt x="5479" y="1198"/>
                      <a:pt x="21004" y="-2898"/>
                      <a:pt x="22052" y="4056"/>
                    </a:cubicBezTo>
                    <a:cubicBezTo>
                      <a:pt x="22052" y="4056"/>
                      <a:pt x="14432" y="21010"/>
                      <a:pt x="4336" y="15390"/>
                    </a:cubicBezTo>
                    <a:cubicBezTo>
                      <a:pt x="4336" y="15486"/>
                      <a:pt x="-6142" y="6818"/>
                      <a:pt x="5479" y="119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EB71DE27-B86D-406C-8E48-2D01A40026D9}"/>
                  </a:ext>
                </a:extLst>
              </p:cNvPr>
              <p:cNvSpPr/>
              <p:nvPr/>
            </p:nvSpPr>
            <p:spPr>
              <a:xfrm>
                <a:off x="3743578" y="3654428"/>
                <a:ext cx="265615" cy="342685"/>
              </a:xfrm>
              <a:custGeom>
                <a:avLst/>
                <a:gdLst>
                  <a:gd name="connsiteX0" fmla="*/ 159734 w 265616"/>
                  <a:gd name="connsiteY0" fmla="*/ 22508 h 342687"/>
                  <a:gd name="connsiteX1" fmla="*/ 135636 w 265616"/>
                  <a:gd name="connsiteY1" fmla="*/ 70229 h 342687"/>
                  <a:gd name="connsiteX2" fmla="*/ 126587 w 265616"/>
                  <a:gd name="connsiteY2" fmla="*/ 79563 h 342687"/>
                  <a:gd name="connsiteX3" fmla="*/ 115633 w 265616"/>
                  <a:gd name="connsiteY3" fmla="*/ 87183 h 342687"/>
                  <a:gd name="connsiteX4" fmla="*/ 74009 w 265616"/>
                  <a:gd name="connsiteY4" fmla="*/ 84230 h 342687"/>
                  <a:gd name="connsiteX5" fmla="*/ 71723 w 265616"/>
                  <a:gd name="connsiteY5" fmla="*/ 95946 h 342687"/>
                  <a:gd name="connsiteX6" fmla="*/ 102965 w 265616"/>
                  <a:gd name="connsiteY6" fmla="*/ 131570 h 342687"/>
                  <a:gd name="connsiteX7" fmla="*/ 7810 w 265616"/>
                  <a:gd name="connsiteY7" fmla="*/ 217961 h 342687"/>
                  <a:gd name="connsiteX8" fmla="*/ 0 w 265616"/>
                  <a:gd name="connsiteY8" fmla="*/ 259300 h 342687"/>
                  <a:gd name="connsiteX9" fmla="*/ 12097 w 265616"/>
                  <a:gd name="connsiteY9" fmla="*/ 260538 h 342687"/>
                  <a:gd name="connsiteX10" fmla="*/ 47339 w 265616"/>
                  <a:gd name="connsiteY10" fmla="*/ 229296 h 342687"/>
                  <a:gd name="connsiteX11" fmla="*/ 67628 w 265616"/>
                  <a:gd name="connsiteY11" fmla="*/ 241012 h 342687"/>
                  <a:gd name="connsiteX12" fmla="*/ 64008 w 265616"/>
                  <a:gd name="connsiteY12" fmla="*/ 292637 h 342687"/>
                  <a:gd name="connsiteX13" fmla="*/ 73057 w 265616"/>
                  <a:gd name="connsiteY13" fmla="*/ 292637 h 342687"/>
                  <a:gd name="connsiteX14" fmla="*/ 75152 w 265616"/>
                  <a:gd name="connsiteY14" fmla="*/ 283589 h 342687"/>
                  <a:gd name="connsiteX15" fmla="*/ 92583 w 265616"/>
                  <a:gd name="connsiteY15" fmla="*/ 236059 h 342687"/>
                  <a:gd name="connsiteX16" fmla="*/ 120682 w 265616"/>
                  <a:gd name="connsiteY16" fmla="*/ 233963 h 342687"/>
                  <a:gd name="connsiteX17" fmla="*/ 152400 w 265616"/>
                  <a:gd name="connsiteY17" fmla="*/ 210246 h 342687"/>
                  <a:gd name="connsiteX18" fmla="*/ 150495 w 265616"/>
                  <a:gd name="connsiteY18" fmla="*/ 241107 h 342687"/>
                  <a:gd name="connsiteX19" fmla="*/ 133064 w 265616"/>
                  <a:gd name="connsiteY19" fmla="*/ 299781 h 342687"/>
                  <a:gd name="connsiteX20" fmla="*/ 134684 w 265616"/>
                  <a:gd name="connsiteY20" fmla="*/ 339119 h 342687"/>
                  <a:gd name="connsiteX21" fmla="*/ 146018 w 265616"/>
                  <a:gd name="connsiteY21" fmla="*/ 334643 h 342687"/>
                  <a:gd name="connsiteX22" fmla="*/ 145161 w 265616"/>
                  <a:gd name="connsiteY22" fmla="*/ 326737 h 342687"/>
                  <a:gd name="connsiteX23" fmla="*/ 181261 w 265616"/>
                  <a:gd name="connsiteY23" fmla="*/ 196721 h 342687"/>
                  <a:gd name="connsiteX24" fmla="*/ 197358 w 265616"/>
                  <a:gd name="connsiteY24" fmla="*/ 143476 h 342687"/>
                  <a:gd name="connsiteX25" fmla="*/ 209836 w 265616"/>
                  <a:gd name="connsiteY25" fmla="*/ 133094 h 342687"/>
                  <a:gd name="connsiteX26" fmla="*/ 210979 w 265616"/>
                  <a:gd name="connsiteY26" fmla="*/ 132903 h 342687"/>
                  <a:gd name="connsiteX27" fmla="*/ 224409 w 265616"/>
                  <a:gd name="connsiteY27" fmla="*/ 130236 h 342687"/>
                  <a:gd name="connsiteX28" fmla="*/ 226314 w 265616"/>
                  <a:gd name="connsiteY28" fmla="*/ 125378 h 342687"/>
                  <a:gd name="connsiteX29" fmla="*/ 264605 w 265616"/>
                  <a:gd name="connsiteY29" fmla="*/ 121949 h 342687"/>
                  <a:gd name="connsiteX30" fmla="*/ 258889 w 265616"/>
                  <a:gd name="connsiteY30" fmla="*/ 56608 h 342687"/>
                  <a:gd name="connsiteX31" fmla="*/ 253651 w 265616"/>
                  <a:gd name="connsiteY31" fmla="*/ 62894 h 342687"/>
                  <a:gd name="connsiteX32" fmla="*/ 250698 w 265616"/>
                  <a:gd name="connsiteY32" fmla="*/ 94422 h 342687"/>
                  <a:gd name="connsiteX33" fmla="*/ 222885 w 265616"/>
                  <a:gd name="connsiteY33" fmla="*/ 98994 h 342687"/>
                  <a:gd name="connsiteX34" fmla="*/ 217932 w 265616"/>
                  <a:gd name="connsiteY34" fmla="*/ 95184 h 342687"/>
                  <a:gd name="connsiteX35" fmla="*/ 231838 w 265616"/>
                  <a:gd name="connsiteY35" fmla="*/ 65752 h 342687"/>
                  <a:gd name="connsiteX36" fmla="*/ 249555 w 265616"/>
                  <a:gd name="connsiteY36" fmla="*/ 791 h 342687"/>
                  <a:gd name="connsiteX37" fmla="*/ 241268 w 265616"/>
                  <a:gd name="connsiteY37" fmla="*/ 5744 h 342687"/>
                  <a:gd name="connsiteX38" fmla="*/ 216122 w 265616"/>
                  <a:gd name="connsiteY38" fmla="*/ 60989 h 342687"/>
                  <a:gd name="connsiteX39" fmla="*/ 207835 w 265616"/>
                  <a:gd name="connsiteY39" fmla="*/ 71086 h 342687"/>
                  <a:gd name="connsiteX40" fmla="*/ 194215 w 265616"/>
                  <a:gd name="connsiteY40" fmla="*/ 110615 h 342687"/>
                  <a:gd name="connsiteX41" fmla="*/ 185928 w 265616"/>
                  <a:gd name="connsiteY41" fmla="*/ 117187 h 342687"/>
                  <a:gd name="connsiteX42" fmla="*/ 169450 w 265616"/>
                  <a:gd name="connsiteY42" fmla="*/ 122140 h 342687"/>
                  <a:gd name="connsiteX43" fmla="*/ 165545 w 265616"/>
                  <a:gd name="connsiteY43" fmla="*/ 128903 h 342687"/>
                  <a:gd name="connsiteX44" fmla="*/ 135160 w 265616"/>
                  <a:gd name="connsiteY44" fmla="*/ 129188 h 342687"/>
                  <a:gd name="connsiteX45" fmla="*/ 145733 w 265616"/>
                  <a:gd name="connsiteY45" fmla="*/ 113472 h 342687"/>
                  <a:gd name="connsiteX46" fmla="*/ 164116 w 265616"/>
                  <a:gd name="connsiteY46" fmla="*/ 105471 h 342687"/>
                  <a:gd name="connsiteX47" fmla="*/ 162592 w 265616"/>
                  <a:gd name="connsiteY47" fmla="*/ 86231 h 342687"/>
                  <a:gd name="connsiteX48" fmla="*/ 157353 w 265616"/>
                  <a:gd name="connsiteY48" fmla="*/ 66419 h 342687"/>
                  <a:gd name="connsiteX49" fmla="*/ 165163 w 265616"/>
                  <a:gd name="connsiteY49" fmla="*/ 40796 h 342687"/>
                  <a:gd name="connsiteX50" fmla="*/ 159734 w 265616"/>
                  <a:gd name="connsiteY50" fmla="*/ 22508 h 342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265616" h="342687">
                    <a:moveTo>
                      <a:pt x="159734" y="22508"/>
                    </a:moveTo>
                    <a:cubicBezTo>
                      <a:pt x="159734" y="22508"/>
                      <a:pt x="144304" y="60799"/>
                      <a:pt x="135636" y="70229"/>
                    </a:cubicBezTo>
                    <a:cubicBezTo>
                      <a:pt x="135636" y="70229"/>
                      <a:pt x="134874" y="79563"/>
                      <a:pt x="126587" y="79563"/>
                    </a:cubicBezTo>
                    <a:cubicBezTo>
                      <a:pt x="118300" y="79563"/>
                      <a:pt x="116110" y="85564"/>
                      <a:pt x="115633" y="87183"/>
                    </a:cubicBezTo>
                    <a:cubicBezTo>
                      <a:pt x="115348" y="88707"/>
                      <a:pt x="88297" y="94232"/>
                      <a:pt x="74009" y="84230"/>
                    </a:cubicBezTo>
                    <a:cubicBezTo>
                      <a:pt x="74009" y="84230"/>
                      <a:pt x="64008" y="86802"/>
                      <a:pt x="71723" y="95946"/>
                    </a:cubicBezTo>
                    <a:lnTo>
                      <a:pt x="102965" y="131570"/>
                    </a:lnTo>
                    <a:cubicBezTo>
                      <a:pt x="102965" y="131570"/>
                      <a:pt x="108585" y="155954"/>
                      <a:pt x="7810" y="217961"/>
                    </a:cubicBezTo>
                    <a:lnTo>
                      <a:pt x="0" y="259300"/>
                    </a:lnTo>
                    <a:lnTo>
                      <a:pt x="12097" y="260538"/>
                    </a:lnTo>
                    <a:lnTo>
                      <a:pt x="47339" y="229296"/>
                    </a:lnTo>
                    <a:cubicBezTo>
                      <a:pt x="47339" y="229296"/>
                      <a:pt x="75057" y="218438"/>
                      <a:pt x="67628" y="241012"/>
                    </a:cubicBezTo>
                    <a:cubicBezTo>
                      <a:pt x="67628" y="241012"/>
                      <a:pt x="57531" y="283017"/>
                      <a:pt x="64008" y="292637"/>
                    </a:cubicBezTo>
                    <a:lnTo>
                      <a:pt x="73057" y="292637"/>
                    </a:lnTo>
                    <a:cubicBezTo>
                      <a:pt x="73057" y="292637"/>
                      <a:pt x="73819" y="291399"/>
                      <a:pt x="75152" y="283589"/>
                    </a:cubicBezTo>
                    <a:cubicBezTo>
                      <a:pt x="75152" y="283589"/>
                      <a:pt x="85058" y="234344"/>
                      <a:pt x="92583" y="236059"/>
                    </a:cubicBezTo>
                    <a:cubicBezTo>
                      <a:pt x="92583" y="236059"/>
                      <a:pt x="116681" y="241393"/>
                      <a:pt x="120682" y="233963"/>
                    </a:cubicBezTo>
                    <a:cubicBezTo>
                      <a:pt x="120682" y="233963"/>
                      <a:pt x="139446" y="198626"/>
                      <a:pt x="152400" y="210246"/>
                    </a:cubicBezTo>
                    <a:cubicBezTo>
                      <a:pt x="152400" y="210246"/>
                      <a:pt x="161734" y="209484"/>
                      <a:pt x="150495" y="241107"/>
                    </a:cubicBezTo>
                    <a:cubicBezTo>
                      <a:pt x="150495" y="241107"/>
                      <a:pt x="139160" y="293018"/>
                      <a:pt x="133064" y="299781"/>
                    </a:cubicBezTo>
                    <a:lnTo>
                      <a:pt x="134684" y="339119"/>
                    </a:lnTo>
                    <a:cubicBezTo>
                      <a:pt x="134684" y="339119"/>
                      <a:pt x="142113" y="349597"/>
                      <a:pt x="146018" y="334643"/>
                    </a:cubicBezTo>
                    <a:lnTo>
                      <a:pt x="145161" y="326737"/>
                    </a:lnTo>
                    <a:lnTo>
                      <a:pt x="181261" y="196721"/>
                    </a:lnTo>
                    <a:cubicBezTo>
                      <a:pt x="181261" y="196721"/>
                      <a:pt x="189833" y="145571"/>
                      <a:pt x="197358" y="143476"/>
                    </a:cubicBezTo>
                    <a:cubicBezTo>
                      <a:pt x="197358" y="143476"/>
                      <a:pt x="201644" y="135380"/>
                      <a:pt x="209836" y="133094"/>
                    </a:cubicBezTo>
                    <a:cubicBezTo>
                      <a:pt x="211455" y="133094"/>
                      <a:pt x="210598" y="133094"/>
                      <a:pt x="210979" y="132903"/>
                    </a:cubicBezTo>
                    <a:cubicBezTo>
                      <a:pt x="220028" y="131093"/>
                      <a:pt x="224409" y="130236"/>
                      <a:pt x="224409" y="130236"/>
                    </a:cubicBezTo>
                    <a:lnTo>
                      <a:pt x="226314" y="125378"/>
                    </a:lnTo>
                    <a:cubicBezTo>
                      <a:pt x="226314" y="125378"/>
                      <a:pt x="262700" y="126521"/>
                      <a:pt x="264605" y="121949"/>
                    </a:cubicBezTo>
                    <a:cubicBezTo>
                      <a:pt x="264605" y="121949"/>
                      <a:pt x="269176" y="52417"/>
                      <a:pt x="258889" y="56608"/>
                    </a:cubicBezTo>
                    <a:cubicBezTo>
                      <a:pt x="258889" y="56608"/>
                      <a:pt x="249555" y="58132"/>
                      <a:pt x="253651" y="62894"/>
                    </a:cubicBezTo>
                    <a:cubicBezTo>
                      <a:pt x="253651" y="62894"/>
                      <a:pt x="257842" y="85469"/>
                      <a:pt x="250698" y="94422"/>
                    </a:cubicBezTo>
                    <a:cubicBezTo>
                      <a:pt x="250698" y="94422"/>
                      <a:pt x="243173" y="107186"/>
                      <a:pt x="222885" y="98994"/>
                    </a:cubicBezTo>
                    <a:lnTo>
                      <a:pt x="217932" y="95184"/>
                    </a:lnTo>
                    <a:cubicBezTo>
                      <a:pt x="217932" y="95184"/>
                      <a:pt x="231838" y="74896"/>
                      <a:pt x="231838" y="65752"/>
                    </a:cubicBezTo>
                    <a:cubicBezTo>
                      <a:pt x="231838" y="65752"/>
                      <a:pt x="252889" y="4887"/>
                      <a:pt x="249555" y="791"/>
                    </a:cubicBezTo>
                    <a:cubicBezTo>
                      <a:pt x="249555" y="791"/>
                      <a:pt x="244602" y="-2923"/>
                      <a:pt x="241268" y="5744"/>
                    </a:cubicBezTo>
                    <a:cubicBezTo>
                      <a:pt x="241268" y="5744"/>
                      <a:pt x="222028" y="57179"/>
                      <a:pt x="216122" y="60989"/>
                    </a:cubicBezTo>
                    <a:cubicBezTo>
                      <a:pt x="216122" y="60989"/>
                      <a:pt x="212217" y="70324"/>
                      <a:pt x="207835" y="71086"/>
                    </a:cubicBezTo>
                    <a:cubicBezTo>
                      <a:pt x="207835" y="71086"/>
                      <a:pt x="193929" y="98137"/>
                      <a:pt x="194215" y="110615"/>
                    </a:cubicBezTo>
                    <a:cubicBezTo>
                      <a:pt x="194215" y="110615"/>
                      <a:pt x="189262" y="112043"/>
                      <a:pt x="185928" y="117187"/>
                    </a:cubicBezTo>
                    <a:cubicBezTo>
                      <a:pt x="184023" y="119568"/>
                      <a:pt x="169450" y="122140"/>
                      <a:pt x="169450" y="122140"/>
                    </a:cubicBezTo>
                    <a:lnTo>
                      <a:pt x="165545" y="128903"/>
                    </a:lnTo>
                    <a:lnTo>
                      <a:pt x="135160" y="129188"/>
                    </a:lnTo>
                    <a:cubicBezTo>
                      <a:pt x="135160" y="129188"/>
                      <a:pt x="128397" y="113472"/>
                      <a:pt x="145733" y="113472"/>
                    </a:cubicBezTo>
                    <a:cubicBezTo>
                      <a:pt x="145733" y="113472"/>
                      <a:pt x="161449" y="106614"/>
                      <a:pt x="164116" y="105471"/>
                    </a:cubicBezTo>
                    <a:cubicBezTo>
                      <a:pt x="166783" y="104423"/>
                      <a:pt x="167068" y="93089"/>
                      <a:pt x="162592" y="86231"/>
                    </a:cubicBezTo>
                    <a:cubicBezTo>
                      <a:pt x="162592" y="86231"/>
                      <a:pt x="155829" y="79468"/>
                      <a:pt x="157353" y="66419"/>
                    </a:cubicBezTo>
                    <a:cubicBezTo>
                      <a:pt x="158877" y="53274"/>
                      <a:pt x="165545" y="42606"/>
                      <a:pt x="165163" y="40796"/>
                    </a:cubicBezTo>
                    <a:cubicBezTo>
                      <a:pt x="164973" y="38987"/>
                      <a:pt x="175070" y="20889"/>
                      <a:pt x="159734" y="22508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71BB3454-57D0-4544-B4C9-ED68702C0773}"/>
                  </a:ext>
                </a:extLst>
              </p:cNvPr>
              <p:cNvSpPr/>
              <p:nvPr/>
            </p:nvSpPr>
            <p:spPr>
              <a:xfrm>
                <a:off x="3839919" y="3801377"/>
                <a:ext cx="81098" cy="68117"/>
              </a:xfrm>
              <a:custGeom>
                <a:avLst/>
                <a:gdLst>
                  <a:gd name="connsiteX0" fmla="*/ 63109 w 81099"/>
                  <a:gd name="connsiteY0" fmla="*/ 432 h 68116"/>
                  <a:gd name="connsiteX1" fmla="*/ 8436 w 81099"/>
                  <a:gd name="connsiteY1" fmla="*/ 43390 h 68116"/>
                  <a:gd name="connsiteX2" fmla="*/ 10341 w 81099"/>
                  <a:gd name="connsiteY2" fmla="*/ 65297 h 68116"/>
                  <a:gd name="connsiteX3" fmla="*/ 24819 w 81099"/>
                  <a:gd name="connsiteY3" fmla="*/ 64154 h 68116"/>
                  <a:gd name="connsiteX4" fmla="*/ 36534 w 81099"/>
                  <a:gd name="connsiteY4" fmla="*/ 53010 h 68116"/>
                  <a:gd name="connsiteX5" fmla="*/ 73968 w 81099"/>
                  <a:gd name="connsiteY5" fmla="*/ 31864 h 68116"/>
                  <a:gd name="connsiteX6" fmla="*/ 63109 w 81099"/>
                  <a:gd name="connsiteY6" fmla="*/ 432 h 68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099" h="68116">
                    <a:moveTo>
                      <a:pt x="63109" y="432"/>
                    </a:moveTo>
                    <a:cubicBezTo>
                      <a:pt x="63109" y="432"/>
                      <a:pt x="29581" y="18053"/>
                      <a:pt x="8436" y="43390"/>
                    </a:cubicBezTo>
                    <a:cubicBezTo>
                      <a:pt x="8436" y="43390"/>
                      <a:pt x="-11757" y="62249"/>
                      <a:pt x="10341" y="65297"/>
                    </a:cubicBezTo>
                    <a:cubicBezTo>
                      <a:pt x="10341" y="65297"/>
                      <a:pt x="10626" y="72346"/>
                      <a:pt x="24819" y="64154"/>
                    </a:cubicBezTo>
                    <a:cubicBezTo>
                      <a:pt x="39201" y="56058"/>
                      <a:pt x="29676" y="56344"/>
                      <a:pt x="36534" y="53010"/>
                    </a:cubicBezTo>
                    <a:cubicBezTo>
                      <a:pt x="43392" y="49486"/>
                      <a:pt x="73968" y="31864"/>
                      <a:pt x="73968" y="31864"/>
                    </a:cubicBezTo>
                    <a:cubicBezTo>
                      <a:pt x="73968" y="31864"/>
                      <a:pt x="95780" y="-4331"/>
                      <a:pt x="63109" y="43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A1EAEA70-0E09-4C44-AAA5-C0FC0A30E979}"/>
                  </a:ext>
                </a:extLst>
              </p:cNvPr>
              <p:cNvSpPr/>
              <p:nvPr/>
            </p:nvSpPr>
            <p:spPr>
              <a:xfrm>
                <a:off x="3946394" y="3863339"/>
                <a:ext cx="69550" cy="43096"/>
              </a:xfrm>
              <a:custGeom>
                <a:avLst/>
                <a:gdLst>
                  <a:gd name="connsiteX0" fmla="*/ 5305 w 69550"/>
                  <a:gd name="connsiteY0" fmla="*/ 0 h 43094"/>
                  <a:gd name="connsiteX1" fmla="*/ 2257 w 69550"/>
                  <a:gd name="connsiteY1" fmla="*/ 8573 h 43094"/>
                  <a:gd name="connsiteX2" fmla="*/ 33118 w 69550"/>
                  <a:gd name="connsiteY2" fmla="*/ 42577 h 43094"/>
                  <a:gd name="connsiteX3" fmla="*/ 47881 w 69550"/>
                  <a:gd name="connsiteY3" fmla="*/ 37338 h 43094"/>
                  <a:gd name="connsiteX4" fmla="*/ 68836 w 69550"/>
                  <a:gd name="connsiteY4" fmla="*/ 23241 h 43094"/>
                  <a:gd name="connsiteX5" fmla="*/ 58073 w 69550"/>
                  <a:gd name="connsiteY5" fmla="*/ 18860 h 43094"/>
                  <a:gd name="connsiteX6" fmla="*/ 45595 w 69550"/>
                  <a:gd name="connsiteY6" fmla="*/ 18860 h 43094"/>
                  <a:gd name="connsiteX7" fmla="*/ 34927 w 69550"/>
                  <a:gd name="connsiteY7" fmla="*/ 17240 h 43094"/>
                  <a:gd name="connsiteX8" fmla="*/ 5305 w 69550"/>
                  <a:gd name="connsiteY8" fmla="*/ 0 h 43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9550" h="43094">
                    <a:moveTo>
                      <a:pt x="5305" y="0"/>
                    </a:moveTo>
                    <a:cubicBezTo>
                      <a:pt x="5305" y="0"/>
                      <a:pt x="-4220" y="3905"/>
                      <a:pt x="2257" y="8573"/>
                    </a:cubicBezTo>
                    <a:cubicBezTo>
                      <a:pt x="8638" y="13335"/>
                      <a:pt x="20354" y="42196"/>
                      <a:pt x="33118" y="42577"/>
                    </a:cubicBezTo>
                    <a:cubicBezTo>
                      <a:pt x="33118" y="42577"/>
                      <a:pt x="40452" y="45530"/>
                      <a:pt x="47881" y="37338"/>
                    </a:cubicBezTo>
                    <a:cubicBezTo>
                      <a:pt x="47881" y="37338"/>
                      <a:pt x="66360" y="20193"/>
                      <a:pt x="68836" y="23241"/>
                    </a:cubicBezTo>
                    <a:cubicBezTo>
                      <a:pt x="68836" y="23241"/>
                      <a:pt x="73694" y="15907"/>
                      <a:pt x="58073" y="18860"/>
                    </a:cubicBezTo>
                    <a:cubicBezTo>
                      <a:pt x="58073" y="18860"/>
                      <a:pt x="53501" y="23241"/>
                      <a:pt x="45595" y="18860"/>
                    </a:cubicBezTo>
                    <a:cubicBezTo>
                      <a:pt x="37975" y="14669"/>
                      <a:pt x="34927" y="17240"/>
                      <a:pt x="34927" y="17240"/>
                    </a:cubicBezTo>
                    <a:cubicBezTo>
                      <a:pt x="34927" y="17240"/>
                      <a:pt x="20830" y="13716"/>
                      <a:pt x="5305" y="0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0D1928E7-D49F-44F0-9AA6-D71EEF959270}"/>
                  </a:ext>
                </a:extLst>
              </p:cNvPr>
              <p:cNvSpPr/>
              <p:nvPr/>
            </p:nvSpPr>
            <p:spPr>
              <a:xfrm>
                <a:off x="4236227" y="3978707"/>
                <a:ext cx="290177" cy="182745"/>
              </a:xfrm>
              <a:custGeom>
                <a:avLst/>
                <a:gdLst>
                  <a:gd name="connsiteX0" fmla="*/ 276307 w 290178"/>
                  <a:gd name="connsiteY0" fmla="*/ 1314 h 182744"/>
                  <a:gd name="connsiteX1" fmla="*/ 159054 w 290178"/>
                  <a:gd name="connsiteY1" fmla="*/ 118662 h 182744"/>
                  <a:gd name="connsiteX2" fmla="*/ 92189 w 290178"/>
                  <a:gd name="connsiteY2" fmla="*/ 102850 h 182744"/>
                  <a:gd name="connsiteX3" fmla="*/ 59137 w 290178"/>
                  <a:gd name="connsiteY3" fmla="*/ 80371 h 182744"/>
                  <a:gd name="connsiteX4" fmla="*/ 61423 w 290178"/>
                  <a:gd name="connsiteY4" fmla="*/ 118662 h 182744"/>
                  <a:gd name="connsiteX5" fmla="*/ 109524 w 290178"/>
                  <a:gd name="connsiteY5" fmla="*/ 139712 h 182744"/>
                  <a:gd name="connsiteX6" fmla="*/ 105048 w 290178"/>
                  <a:gd name="connsiteY6" fmla="*/ 144951 h 182744"/>
                  <a:gd name="connsiteX7" fmla="*/ 2845 w 290178"/>
                  <a:gd name="connsiteY7" fmla="*/ 130759 h 182744"/>
                  <a:gd name="connsiteX8" fmla="*/ 11893 w 290178"/>
                  <a:gd name="connsiteY8" fmla="*/ 156286 h 182744"/>
                  <a:gd name="connsiteX9" fmla="*/ 35229 w 290178"/>
                  <a:gd name="connsiteY9" fmla="*/ 178003 h 182744"/>
                  <a:gd name="connsiteX10" fmla="*/ 162293 w 290178"/>
                  <a:gd name="connsiteY10" fmla="*/ 141998 h 182744"/>
                  <a:gd name="connsiteX11" fmla="*/ 270497 w 290178"/>
                  <a:gd name="connsiteY11" fmla="*/ 177336 h 182744"/>
                  <a:gd name="connsiteX12" fmla="*/ 290023 w 290178"/>
                  <a:gd name="connsiteY12" fmla="*/ 169049 h 182744"/>
                  <a:gd name="connsiteX13" fmla="*/ 273545 w 290178"/>
                  <a:gd name="connsiteY13" fmla="*/ 121710 h 182744"/>
                  <a:gd name="connsiteX14" fmla="*/ 260781 w 290178"/>
                  <a:gd name="connsiteY14" fmla="*/ 144284 h 182744"/>
                  <a:gd name="connsiteX15" fmla="*/ 190868 w 290178"/>
                  <a:gd name="connsiteY15" fmla="*/ 130759 h 182744"/>
                  <a:gd name="connsiteX16" fmla="*/ 274307 w 290178"/>
                  <a:gd name="connsiteY16" fmla="*/ 72085 h 182744"/>
                  <a:gd name="connsiteX17" fmla="*/ 282594 w 290178"/>
                  <a:gd name="connsiteY17" fmla="*/ 46462 h 182744"/>
                  <a:gd name="connsiteX18" fmla="*/ 276307 w 290178"/>
                  <a:gd name="connsiteY18" fmla="*/ 1314 h 182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90178" h="182744">
                    <a:moveTo>
                      <a:pt x="276307" y="1314"/>
                    </a:moveTo>
                    <a:cubicBezTo>
                      <a:pt x="276307" y="1314"/>
                      <a:pt x="273354" y="55606"/>
                      <a:pt x="159054" y="118662"/>
                    </a:cubicBezTo>
                    <a:lnTo>
                      <a:pt x="92189" y="102850"/>
                    </a:lnTo>
                    <a:cubicBezTo>
                      <a:pt x="92189" y="102850"/>
                      <a:pt x="65900" y="81038"/>
                      <a:pt x="59137" y="80371"/>
                    </a:cubicBezTo>
                    <a:cubicBezTo>
                      <a:pt x="59137" y="80371"/>
                      <a:pt x="46374" y="98374"/>
                      <a:pt x="61423" y="118662"/>
                    </a:cubicBezTo>
                    <a:cubicBezTo>
                      <a:pt x="61423" y="118662"/>
                      <a:pt x="103428" y="132283"/>
                      <a:pt x="109524" y="139712"/>
                    </a:cubicBezTo>
                    <a:cubicBezTo>
                      <a:pt x="109524" y="139712"/>
                      <a:pt x="114763" y="146380"/>
                      <a:pt x="105048" y="144951"/>
                    </a:cubicBezTo>
                    <a:cubicBezTo>
                      <a:pt x="105048" y="144951"/>
                      <a:pt x="53803" y="184003"/>
                      <a:pt x="2845" y="130759"/>
                    </a:cubicBezTo>
                    <a:cubicBezTo>
                      <a:pt x="2845" y="130759"/>
                      <a:pt x="-7728" y="132283"/>
                      <a:pt x="11893" y="156286"/>
                    </a:cubicBezTo>
                    <a:lnTo>
                      <a:pt x="35229" y="178003"/>
                    </a:lnTo>
                    <a:cubicBezTo>
                      <a:pt x="35229" y="178003"/>
                      <a:pt x="65233" y="202006"/>
                      <a:pt x="162293" y="141998"/>
                    </a:cubicBezTo>
                    <a:lnTo>
                      <a:pt x="270497" y="177336"/>
                    </a:lnTo>
                    <a:cubicBezTo>
                      <a:pt x="270497" y="177336"/>
                      <a:pt x="292214" y="185718"/>
                      <a:pt x="290023" y="169049"/>
                    </a:cubicBezTo>
                    <a:cubicBezTo>
                      <a:pt x="290023" y="169049"/>
                      <a:pt x="273545" y="153238"/>
                      <a:pt x="273545" y="121710"/>
                    </a:cubicBezTo>
                    <a:cubicBezTo>
                      <a:pt x="273545" y="121710"/>
                      <a:pt x="267449" y="109708"/>
                      <a:pt x="260781" y="144284"/>
                    </a:cubicBezTo>
                    <a:cubicBezTo>
                      <a:pt x="260781" y="144284"/>
                      <a:pt x="256210" y="160096"/>
                      <a:pt x="190868" y="130759"/>
                    </a:cubicBezTo>
                    <a:cubicBezTo>
                      <a:pt x="190868" y="130759"/>
                      <a:pt x="236683" y="83324"/>
                      <a:pt x="274307" y="72085"/>
                    </a:cubicBezTo>
                    <a:cubicBezTo>
                      <a:pt x="274307" y="72085"/>
                      <a:pt x="284880" y="69799"/>
                      <a:pt x="282594" y="46462"/>
                    </a:cubicBezTo>
                    <a:cubicBezTo>
                      <a:pt x="282213" y="46462"/>
                      <a:pt x="292786" y="-9164"/>
                      <a:pt x="276307" y="1314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55314635-B4E9-41D5-AC51-B60C3D8DEFF8}"/>
                  </a:ext>
                </a:extLst>
              </p:cNvPr>
              <p:cNvSpPr/>
              <p:nvPr/>
            </p:nvSpPr>
            <p:spPr>
              <a:xfrm>
                <a:off x="4388475" y="4173029"/>
                <a:ext cx="83256" cy="98558"/>
              </a:xfrm>
              <a:custGeom>
                <a:avLst/>
                <a:gdLst>
                  <a:gd name="connsiteX0" fmla="*/ 15091 w 83255"/>
                  <a:gd name="connsiteY0" fmla="*/ 729 h 98558"/>
                  <a:gd name="connsiteX1" fmla="*/ 41 w 83255"/>
                  <a:gd name="connsiteY1" fmla="*/ 68356 h 98558"/>
                  <a:gd name="connsiteX2" fmla="*/ 23568 w 83255"/>
                  <a:gd name="connsiteY2" fmla="*/ 98360 h 98558"/>
                  <a:gd name="connsiteX3" fmla="*/ 82623 w 83255"/>
                  <a:gd name="connsiteY3" fmla="*/ 97407 h 98558"/>
                  <a:gd name="connsiteX4" fmla="*/ 78718 w 83255"/>
                  <a:gd name="connsiteY4" fmla="*/ 88454 h 98558"/>
                  <a:gd name="connsiteX5" fmla="*/ 27569 w 83255"/>
                  <a:gd name="connsiteY5" fmla="*/ 13778 h 98558"/>
                  <a:gd name="connsiteX6" fmla="*/ 15091 w 83255"/>
                  <a:gd name="connsiteY6" fmla="*/ 729 h 98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3255" h="98558">
                    <a:moveTo>
                      <a:pt x="15091" y="729"/>
                    </a:moveTo>
                    <a:cubicBezTo>
                      <a:pt x="15091" y="729"/>
                      <a:pt x="20139" y="20826"/>
                      <a:pt x="41" y="68356"/>
                    </a:cubicBezTo>
                    <a:cubicBezTo>
                      <a:pt x="41" y="68356"/>
                      <a:pt x="-2054" y="101408"/>
                      <a:pt x="23568" y="98360"/>
                    </a:cubicBezTo>
                    <a:lnTo>
                      <a:pt x="82623" y="97407"/>
                    </a:lnTo>
                    <a:cubicBezTo>
                      <a:pt x="82623" y="97407"/>
                      <a:pt x="85576" y="91502"/>
                      <a:pt x="78718" y="88454"/>
                    </a:cubicBezTo>
                    <a:cubicBezTo>
                      <a:pt x="78718" y="88454"/>
                      <a:pt x="28521" y="80834"/>
                      <a:pt x="27569" y="13778"/>
                    </a:cubicBezTo>
                    <a:cubicBezTo>
                      <a:pt x="27569" y="13873"/>
                      <a:pt x="29569" y="-3748"/>
                      <a:pt x="15091" y="729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DE12C8EC-5242-450C-A7C5-51C1E3090350}"/>
                  </a:ext>
                </a:extLst>
              </p:cNvPr>
              <p:cNvSpPr/>
              <p:nvPr/>
            </p:nvSpPr>
            <p:spPr>
              <a:xfrm>
                <a:off x="4768183" y="4444362"/>
                <a:ext cx="42071" cy="30927"/>
              </a:xfrm>
              <a:custGeom>
                <a:avLst/>
                <a:gdLst>
                  <a:gd name="connsiteX0" fmla="*/ 32576 w 42071"/>
                  <a:gd name="connsiteY0" fmla="*/ 0 h 30927"/>
                  <a:gd name="connsiteX1" fmla="*/ 0 w 42071"/>
                  <a:gd name="connsiteY1" fmla="*/ 25622 h 30927"/>
                  <a:gd name="connsiteX2" fmla="*/ 27718 w 42071"/>
                  <a:gd name="connsiteY2" fmla="*/ 29623 h 30927"/>
                  <a:gd name="connsiteX3" fmla="*/ 30289 w 42071"/>
                  <a:gd name="connsiteY3" fmla="*/ 24194 h 30927"/>
                  <a:gd name="connsiteX4" fmla="*/ 32576 w 42071"/>
                  <a:gd name="connsiteY4" fmla="*/ 0 h 30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071" h="30927">
                    <a:moveTo>
                      <a:pt x="32576" y="0"/>
                    </a:moveTo>
                    <a:cubicBezTo>
                      <a:pt x="32576" y="0"/>
                      <a:pt x="476" y="18479"/>
                      <a:pt x="0" y="25622"/>
                    </a:cubicBezTo>
                    <a:cubicBezTo>
                      <a:pt x="0" y="25622"/>
                      <a:pt x="19241" y="34100"/>
                      <a:pt x="27718" y="29623"/>
                    </a:cubicBezTo>
                    <a:lnTo>
                      <a:pt x="30289" y="24194"/>
                    </a:lnTo>
                    <a:cubicBezTo>
                      <a:pt x="30194" y="24098"/>
                      <a:pt x="55245" y="1048"/>
                      <a:pt x="32576" y="0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2C67CB57-D1DE-48D7-9625-D081CBB6E4B1}"/>
                  </a:ext>
                </a:extLst>
              </p:cNvPr>
              <p:cNvSpPr/>
              <p:nvPr/>
            </p:nvSpPr>
            <p:spPr>
              <a:xfrm>
                <a:off x="4631813" y="4444071"/>
                <a:ext cx="340393" cy="221158"/>
              </a:xfrm>
              <a:custGeom>
                <a:avLst/>
                <a:gdLst>
                  <a:gd name="connsiteX0" fmla="*/ 226094 w 340394"/>
                  <a:gd name="connsiteY0" fmla="*/ 294 h 221160"/>
                  <a:gd name="connsiteX1" fmla="*/ 214664 w 340394"/>
                  <a:gd name="connsiteY1" fmla="*/ 4771 h 221160"/>
                  <a:gd name="connsiteX2" fmla="*/ 187137 w 340394"/>
                  <a:gd name="connsiteY2" fmla="*/ 30488 h 221160"/>
                  <a:gd name="connsiteX3" fmla="*/ 173992 w 340394"/>
                  <a:gd name="connsiteY3" fmla="*/ 36965 h 221160"/>
                  <a:gd name="connsiteX4" fmla="*/ 173516 w 340394"/>
                  <a:gd name="connsiteY4" fmla="*/ 51062 h 221160"/>
                  <a:gd name="connsiteX5" fmla="*/ 168849 w 340394"/>
                  <a:gd name="connsiteY5" fmla="*/ 58016 h 221160"/>
                  <a:gd name="connsiteX6" fmla="*/ 143893 w 340394"/>
                  <a:gd name="connsiteY6" fmla="*/ 62492 h 221160"/>
                  <a:gd name="connsiteX7" fmla="*/ 163515 w 340394"/>
                  <a:gd name="connsiteY7" fmla="*/ 72113 h 221160"/>
                  <a:gd name="connsiteX8" fmla="*/ 168373 w 340394"/>
                  <a:gd name="connsiteY8" fmla="*/ 92591 h 221160"/>
                  <a:gd name="connsiteX9" fmla="*/ 148942 w 340394"/>
                  <a:gd name="connsiteY9" fmla="*/ 103736 h 221160"/>
                  <a:gd name="connsiteX10" fmla="*/ 61312 w 340394"/>
                  <a:gd name="connsiteY10" fmla="*/ 48014 h 221160"/>
                  <a:gd name="connsiteX11" fmla="*/ 49215 w 340394"/>
                  <a:gd name="connsiteY11" fmla="*/ 41442 h 221160"/>
                  <a:gd name="connsiteX12" fmla="*/ 99793 w 340394"/>
                  <a:gd name="connsiteY12" fmla="*/ 41442 h 221160"/>
                  <a:gd name="connsiteX13" fmla="*/ 75790 w 340394"/>
                  <a:gd name="connsiteY13" fmla="*/ 28869 h 221160"/>
                  <a:gd name="connsiteX14" fmla="*/ 52168 w 340394"/>
                  <a:gd name="connsiteY14" fmla="*/ 29345 h 221160"/>
                  <a:gd name="connsiteX15" fmla="*/ 29117 w 340394"/>
                  <a:gd name="connsiteY15" fmla="*/ 25440 h 221160"/>
                  <a:gd name="connsiteX16" fmla="*/ 15973 w 340394"/>
                  <a:gd name="connsiteY16" fmla="*/ 31060 h 221160"/>
                  <a:gd name="connsiteX17" fmla="*/ 7495 w 340394"/>
                  <a:gd name="connsiteY17" fmla="*/ 36965 h 221160"/>
                  <a:gd name="connsiteX18" fmla="*/ 1495 w 340394"/>
                  <a:gd name="connsiteY18" fmla="*/ 38489 h 221160"/>
                  <a:gd name="connsiteX19" fmla="*/ 26069 w 340394"/>
                  <a:gd name="connsiteY19" fmla="*/ 52967 h 221160"/>
                  <a:gd name="connsiteX20" fmla="*/ 53120 w 340394"/>
                  <a:gd name="connsiteY20" fmla="*/ 59063 h 221160"/>
                  <a:gd name="connsiteX21" fmla="*/ 108270 w 340394"/>
                  <a:gd name="connsiteY21" fmla="*/ 88496 h 221160"/>
                  <a:gd name="connsiteX22" fmla="*/ 146275 w 340394"/>
                  <a:gd name="connsiteY22" fmla="*/ 120119 h 221160"/>
                  <a:gd name="connsiteX23" fmla="*/ 146751 w 340394"/>
                  <a:gd name="connsiteY23" fmla="*/ 132120 h 221160"/>
                  <a:gd name="connsiteX24" fmla="*/ 167706 w 340394"/>
                  <a:gd name="connsiteY24" fmla="*/ 146217 h 221160"/>
                  <a:gd name="connsiteX25" fmla="*/ 198376 w 340394"/>
                  <a:gd name="connsiteY25" fmla="*/ 187365 h 221160"/>
                  <a:gd name="connsiteX26" fmla="*/ 155704 w 340394"/>
                  <a:gd name="connsiteY26" fmla="*/ 157742 h 221160"/>
                  <a:gd name="connsiteX27" fmla="*/ 148084 w 340394"/>
                  <a:gd name="connsiteY27" fmla="*/ 152218 h 221160"/>
                  <a:gd name="connsiteX28" fmla="*/ 134654 w 340394"/>
                  <a:gd name="connsiteY28" fmla="*/ 136216 h 221160"/>
                  <a:gd name="connsiteX29" fmla="*/ 126558 w 340394"/>
                  <a:gd name="connsiteY29" fmla="*/ 136692 h 221160"/>
                  <a:gd name="connsiteX30" fmla="*/ 207235 w 340394"/>
                  <a:gd name="connsiteY30" fmla="*/ 218893 h 221160"/>
                  <a:gd name="connsiteX31" fmla="*/ 228190 w 340394"/>
                  <a:gd name="connsiteY31" fmla="*/ 206891 h 221160"/>
                  <a:gd name="connsiteX32" fmla="*/ 196186 w 340394"/>
                  <a:gd name="connsiteY32" fmla="*/ 154694 h 221160"/>
                  <a:gd name="connsiteX33" fmla="*/ 230095 w 340394"/>
                  <a:gd name="connsiteY33" fmla="*/ 150122 h 221160"/>
                  <a:gd name="connsiteX34" fmla="*/ 314772 w 340394"/>
                  <a:gd name="connsiteY34" fmla="*/ 163172 h 221160"/>
                  <a:gd name="connsiteX35" fmla="*/ 330393 w 340394"/>
                  <a:gd name="connsiteY35" fmla="*/ 142598 h 221160"/>
                  <a:gd name="connsiteX36" fmla="*/ 317249 w 340394"/>
                  <a:gd name="connsiteY36" fmla="*/ 121643 h 221160"/>
                  <a:gd name="connsiteX37" fmla="*/ 268766 w 340394"/>
                  <a:gd name="connsiteY37" fmla="*/ 78399 h 221160"/>
                  <a:gd name="connsiteX38" fmla="*/ 268195 w 340394"/>
                  <a:gd name="connsiteY38" fmla="*/ 71446 h 221160"/>
                  <a:gd name="connsiteX39" fmla="*/ 285721 w 340394"/>
                  <a:gd name="connsiteY39" fmla="*/ 78018 h 221160"/>
                  <a:gd name="connsiteX40" fmla="*/ 310391 w 340394"/>
                  <a:gd name="connsiteY40" fmla="*/ 79447 h 221160"/>
                  <a:gd name="connsiteX41" fmla="*/ 332393 w 340394"/>
                  <a:gd name="connsiteY41" fmla="*/ 75923 h 221160"/>
                  <a:gd name="connsiteX42" fmla="*/ 340394 w 340394"/>
                  <a:gd name="connsiteY42" fmla="*/ 67350 h 221160"/>
                  <a:gd name="connsiteX43" fmla="*/ 335441 w 340394"/>
                  <a:gd name="connsiteY43" fmla="*/ 54872 h 221160"/>
                  <a:gd name="connsiteX44" fmla="*/ 327917 w 340394"/>
                  <a:gd name="connsiteY44" fmla="*/ 55825 h 221160"/>
                  <a:gd name="connsiteX45" fmla="*/ 312867 w 340394"/>
                  <a:gd name="connsiteY45" fmla="*/ 62397 h 221160"/>
                  <a:gd name="connsiteX46" fmla="*/ 281720 w 340394"/>
                  <a:gd name="connsiteY46" fmla="*/ 58873 h 221160"/>
                  <a:gd name="connsiteX47" fmla="*/ 264766 w 340394"/>
                  <a:gd name="connsiteY47" fmla="*/ 55349 h 221160"/>
                  <a:gd name="connsiteX48" fmla="*/ 233047 w 340394"/>
                  <a:gd name="connsiteY48" fmla="*/ 44871 h 221160"/>
                  <a:gd name="connsiteX49" fmla="*/ 229142 w 340394"/>
                  <a:gd name="connsiteY49" fmla="*/ 52777 h 221160"/>
                  <a:gd name="connsiteX50" fmla="*/ 217045 w 340394"/>
                  <a:gd name="connsiteY50" fmla="*/ 63921 h 221160"/>
                  <a:gd name="connsiteX51" fmla="*/ 211140 w 340394"/>
                  <a:gd name="connsiteY51" fmla="*/ 66874 h 221160"/>
                  <a:gd name="connsiteX52" fmla="*/ 200567 w 340394"/>
                  <a:gd name="connsiteY52" fmla="*/ 62969 h 221160"/>
                  <a:gd name="connsiteX53" fmla="*/ 198567 w 340394"/>
                  <a:gd name="connsiteY53" fmla="*/ 55920 h 221160"/>
                  <a:gd name="connsiteX54" fmla="*/ 194947 w 340394"/>
                  <a:gd name="connsiteY54" fmla="*/ 52872 h 221160"/>
                  <a:gd name="connsiteX55" fmla="*/ 214950 w 340394"/>
                  <a:gd name="connsiteY55" fmla="*/ 37918 h 221160"/>
                  <a:gd name="connsiteX56" fmla="*/ 226570 w 340394"/>
                  <a:gd name="connsiteY56" fmla="*/ 27536 h 221160"/>
                  <a:gd name="connsiteX57" fmla="*/ 231047 w 340394"/>
                  <a:gd name="connsiteY57" fmla="*/ 10867 h 221160"/>
                  <a:gd name="connsiteX58" fmla="*/ 226094 w 340394"/>
                  <a:gd name="connsiteY58" fmla="*/ 294 h 221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340394" h="221160">
                    <a:moveTo>
                      <a:pt x="226094" y="294"/>
                    </a:moveTo>
                    <a:cubicBezTo>
                      <a:pt x="226094" y="294"/>
                      <a:pt x="223142" y="6866"/>
                      <a:pt x="214664" y="4771"/>
                    </a:cubicBezTo>
                    <a:cubicBezTo>
                      <a:pt x="214664" y="4771"/>
                      <a:pt x="199615" y="30965"/>
                      <a:pt x="187137" y="30488"/>
                    </a:cubicBezTo>
                    <a:cubicBezTo>
                      <a:pt x="187137" y="30488"/>
                      <a:pt x="179136" y="42014"/>
                      <a:pt x="173992" y="36965"/>
                    </a:cubicBezTo>
                    <a:cubicBezTo>
                      <a:pt x="173992" y="36965"/>
                      <a:pt x="167992" y="45538"/>
                      <a:pt x="173516" y="51062"/>
                    </a:cubicBezTo>
                    <a:cubicBezTo>
                      <a:pt x="173516" y="51062"/>
                      <a:pt x="184946" y="62016"/>
                      <a:pt x="168849" y="58016"/>
                    </a:cubicBezTo>
                    <a:cubicBezTo>
                      <a:pt x="168849" y="58016"/>
                      <a:pt x="150370" y="58968"/>
                      <a:pt x="143893" y="62492"/>
                    </a:cubicBezTo>
                    <a:cubicBezTo>
                      <a:pt x="143893" y="62492"/>
                      <a:pt x="146942" y="72494"/>
                      <a:pt x="163515" y="72113"/>
                    </a:cubicBezTo>
                    <a:cubicBezTo>
                      <a:pt x="163515" y="72113"/>
                      <a:pt x="181993" y="80590"/>
                      <a:pt x="168373" y="92591"/>
                    </a:cubicBezTo>
                    <a:cubicBezTo>
                      <a:pt x="168373" y="92591"/>
                      <a:pt x="161896" y="116118"/>
                      <a:pt x="148942" y="103736"/>
                    </a:cubicBezTo>
                    <a:cubicBezTo>
                      <a:pt x="148942" y="103736"/>
                      <a:pt x="126939" y="70017"/>
                      <a:pt x="61312" y="48014"/>
                    </a:cubicBezTo>
                    <a:cubicBezTo>
                      <a:pt x="61312" y="48014"/>
                      <a:pt x="47786" y="51539"/>
                      <a:pt x="49215" y="41442"/>
                    </a:cubicBezTo>
                    <a:lnTo>
                      <a:pt x="99793" y="41442"/>
                    </a:lnTo>
                    <a:cubicBezTo>
                      <a:pt x="99793" y="41442"/>
                      <a:pt x="125796" y="31917"/>
                      <a:pt x="75790" y="28869"/>
                    </a:cubicBezTo>
                    <a:lnTo>
                      <a:pt x="52168" y="29345"/>
                    </a:lnTo>
                    <a:cubicBezTo>
                      <a:pt x="52168" y="29345"/>
                      <a:pt x="39023" y="20392"/>
                      <a:pt x="29117" y="25440"/>
                    </a:cubicBezTo>
                    <a:cubicBezTo>
                      <a:pt x="29117" y="25440"/>
                      <a:pt x="20640" y="31917"/>
                      <a:pt x="15973" y="31060"/>
                    </a:cubicBezTo>
                    <a:cubicBezTo>
                      <a:pt x="11591" y="29917"/>
                      <a:pt x="10448" y="37442"/>
                      <a:pt x="7495" y="36965"/>
                    </a:cubicBezTo>
                    <a:cubicBezTo>
                      <a:pt x="4543" y="36489"/>
                      <a:pt x="3590" y="39442"/>
                      <a:pt x="1495" y="38489"/>
                    </a:cubicBezTo>
                    <a:cubicBezTo>
                      <a:pt x="-410" y="37442"/>
                      <a:pt x="-5459" y="54587"/>
                      <a:pt x="26069" y="52967"/>
                    </a:cubicBezTo>
                    <a:cubicBezTo>
                      <a:pt x="26069" y="52967"/>
                      <a:pt x="43595" y="62016"/>
                      <a:pt x="53120" y="59063"/>
                    </a:cubicBezTo>
                    <a:cubicBezTo>
                      <a:pt x="62550" y="56015"/>
                      <a:pt x="102269" y="82114"/>
                      <a:pt x="108270" y="88496"/>
                    </a:cubicBezTo>
                    <a:cubicBezTo>
                      <a:pt x="108270" y="88496"/>
                      <a:pt x="140750" y="102116"/>
                      <a:pt x="146275" y="120119"/>
                    </a:cubicBezTo>
                    <a:lnTo>
                      <a:pt x="146751" y="132120"/>
                    </a:lnTo>
                    <a:cubicBezTo>
                      <a:pt x="146751" y="132120"/>
                      <a:pt x="161324" y="147265"/>
                      <a:pt x="167706" y="146217"/>
                    </a:cubicBezTo>
                    <a:cubicBezTo>
                      <a:pt x="167706" y="146217"/>
                      <a:pt x="202758" y="176316"/>
                      <a:pt x="198376" y="187365"/>
                    </a:cubicBezTo>
                    <a:cubicBezTo>
                      <a:pt x="198376" y="187365"/>
                      <a:pt x="200853" y="203843"/>
                      <a:pt x="155704" y="157742"/>
                    </a:cubicBezTo>
                    <a:lnTo>
                      <a:pt x="148084" y="152218"/>
                    </a:lnTo>
                    <a:cubicBezTo>
                      <a:pt x="148084" y="152218"/>
                      <a:pt x="143132" y="136692"/>
                      <a:pt x="134654" y="136216"/>
                    </a:cubicBezTo>
                    <a:cubicBezTo>
                      <a:pt x="134654" y="136216"/>
                      <a:pt x="126558" y="134692"/>
                      <a:pt x="126558" y="136692"/>
                    </a:cubicBezTo>
                    <a:cubicBezTo>
                      <a:pt x="126558" y="138692"/>
                      <a:pt x="147608" y="191747"/>
                      <a:pt x="207235" y="218893"/>
                    </a:cubicBezTo>
                    <a:cubicBezTo>
                      <a:pt x="207235" y="218893"/>
                      <a:pt x="235238" y="228894"/>
                      <a:pt x="228190" y="206891"/>
                    </a:cubicBezTo>
                    <a:cubicBezTo>
                      <a:pt x="228190" y="206891"/>
                      <a:pt x="227142" y="187746"/>
                      <a:pt x="196186" y="154694"/>
                    </a:cubicBezTo>
                    <a:cubicBezTo>
                      <a:pt x="196186" y="154694"/>
                      <a:pt x="199138" y="132120"/>
                      <a:pt x="230095" y="150122"/>
                    </a:cubicBezTo>
                    <a:cubicBezTo>
                      <a:pt x="230095" y="150122"/>
                      <a:pt x="296770" y="157647"/>
                      <a:pt x="314772" y="163172"/>
                    </a:cubicBezTo>
                    <a:cubicBezTo>
                      <a:pt x="314772" y="163172"/>
                      <a:pt x="354967" y="168696"/>
                      <a:pt x="330393" y="142598"/>
                    </a:cubicBezTo>
                    <a:cubicBezTo>
                      <a:pt x="330393" y="142598"/>
                      <a:pt x="317249" y="129548"/>
                      <a:pt x="317249" y="121643"/>
                    </a:cubicBezTo>
                    <a:cubicBezTo>
                      <a:pt x="317249" y="121643"/>
                      <a:pt x="283816" y="84019"/>
                      <a:pt x="268766" y="78399"/>
                    </a:cubicBezTo>
                    <a:cubicBezTo>
                      <a:pt x="268766" y="78399"/>
                      <a:pt x="252669" y="71446"/>
                      <a:pt x="268195" y="71446"/>
                    </a:cubicBezTo>
                    <a:cubicBezTo>
                      <a:pt x="268195" y="71446"/>
                      <a:pt x="280863" y="70779"/>
                      <a:pt x="285721" y="78018"/>
                    </a:cubicBezTo>
                    <a:lnTo>
                      <a:pt x="310391" y="79447"/>
                    </a:lnTo>
                    <a:cubicBezTo>
                      <a:pt x="310391" y="79447"/>
                      <a:pt x="329917" y="84876"/>
                      <a:pt x="332393" y="75923"/>
                    </a:cubicBezTo>
                    <a:lnTo>
                      <a:pt x="340394" y="67350"/>
                    </a:lnTo>
                    <a:cubicBezTo>
                      <a:pt x="340394" y="67350"/>
                      <a:pt x="334870" y="58873"/>
                      <a:pt x="335441" y="54872"/>
                    </a:cubicBezTo>
                    <a:cubicBezTo>
                      <a:pt x="335917" y="50872"/>
                      <a:pt x="327917" y="55825"/>
                      <a:pt x="327917" y="55825"/>
                    </a:cubicBezTo>
                    <a:cubicBezTo>
                      <a:pt x="327917" y="55825"/>
                      <a:pt x="315439" y="58301"/>
                      <a:pt x="312867" y="62397"/>
                    </a:cubicBezTo>
                    <a:cubicBezTo>
                      <a:pt x="310391" y="66398"/>
                      <a:pt x="281720" y="65540"/>
                      <a:pt x="281720" y="58873"/>
                    </a:cubicBezTo>
                    <a:cubicBezTo>
                      <a:pt x="281720" y="58873"/>
                      <a:pt x="267718" y="54872"/>
                      <a:pt x="264766" y="55349"/>
                    </a:cubicBezTo>
                    <a:cubicBezTo>
                      <a:pt x="261718" y="55825"/>
                      <a:pt x="245239" y="34775"/>
                      <a:pt x="233047" y="44871"/>
                    </a:cubicBezTo>
                    <a:cubicBezTo>
                      <a:pt x="233047" y="44871"/>
                      <a:pt x="229142" y="48300"/>
                      <a:pt x="229142" y="52777"/>
                    </a:cubicBezTo>
                    <a:cubicBezTo>
                      <a:pt x="229142" y="57349"/>
                      <a:pt x="219141" y="64397"/>
                      <a:pt x="217045" y="63921"/>
                    </a:cubicBezTo>
                    <a:cubicBezTo>
                      <a:pt x="214950" y="63445"/>
                      <a:pt x="216093" y="70779"/>
                      <a:pt x="211140" y="66874"/>
                    </a:cubicBezTo>
                    <a:cubicBezTo>
                      <a:pt x="206092" y="62969"/>
                      <a:pt x="200567" y="62969"/>
                      <a:pt x="200567" y="62969"/>
                    </a:cubicBezTo>
                    <a:lnTo>
                      <a:pt x="198567" y="55920"/>
                    </a:lnTo>
                    <a:lnTo>
                      <a:pt x="194947" y="52872"/>
                    </a:lnTo>
                    <a:cubicBezTo>
                      <a:pt x="194947" y="52872"/>
                      <a:pt x="201615" y="34394"/>
                      <a:pt x="214950" y="37918"/>
                    </a:cubicBezTo>
                    <a:lnTo>
                      <a:pt x="226570" y="27536"/>
                    </a:lnTo>
                    <a:cubicBezTo>
                      <a:pt x="226570" y="27536"/>
                      <a:pt x="226570" y="13915"/>
                      <a:pt x="231047" y="10867"/>
                    </a:cubicBezTo>
                    <a:cubicBezTo>
                      <a:pt x="231619" y="10772"/>
                      <a:pt x="235619" y="-2087"/>
                      <a:pt x="226094" y="294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57852CBA-73D4-4806-9281-67BC59633A02}"/>
                  </a:ext>
                </a:extLst>
              </p:cNvPr>
              <p:cNvSpPr/>
              <p:nvPr/>
            </p:nvSpPr>
            <p:spPr>
              <a:xfrm>
                <a:off x="4572266" y="4539042"/>
                <a:ext cx="182528" cy="123883"/>
              </a:xfrm>
              <a:custGeom>
                <a:avLst/>
                <a:gdLst>
                  <a:gd name="connsiteX0" fmla="*/ 135433 w 182527"/>
                  <a:gd name="connsiteY0" fmla="*/ 3524 h 123883"/>
                  <a:gd name="connsiteX1" fmla="*/ 148864 w 182527"/>
                  <a:gd name="connsiteY1" fmla="*/ 20669 h 123883"/>
                  <a:gd name="connsiteX2" fmla="*/ 182487 w 182527"/>
                  <a:gd name="connsiteY2" fmla="*/ 51149 h 123883"/>
                  <a:gd name="connsiteX3" fmla="*/ 169819 w 182527"/>
                  <a:gd name="connsiteY3" fmla="*/ 67723 h 123883"/>
                  <a:gd name="connsiteX4" fmla="*/ 142291 w 182527"/>
                  <a:gd name="connsiteY4" fmla="*/ 67151 h 123883"/>
                  <a:gd name="connsiteX5" fmla="*/ 153912 w 182527"/>
                  <a:gd name="connsiteY5" fmla="*/ 84201 h 123883"/>
                  <a:gd name="connsiteX6" fmla="*/ 166389 w 182527"/>
                  <a:gd name="connsiteY6" fmla="*/ 119158 h 123883"/>
                  <a:gd name="connsiteX7" fmla="*/ 152197 w 182527"/>
                  <a:gd name="connsiteY7" fmla="*/ 121253 h 123883"/>
                  <a:gd name="connsiteX8" fmla="*/ 117241 w 182527"/>
                  <a:gd name="connsiteY8" fmla="*/ 72581 h 123883"/>
                  <a:gd name="connsiteX9" fmla="*/ 89237 w 182527"/>
                  <a:gd name="connsiteY9" fmla="*/ 86201 h 123883"/>
                  <a:gd name="connsiteX10" fmla="*/ 40564 w 182527"/>
                  <a:gd name="connsiteY10" fmla="*/ 114776 h 123883"/>
                  <a:gd name="connsiteX11" fmla="*/ 26563 w 182527"/>
                  <a:gd name="connsiteY11" fmla="*/ 121730 h 123883"/>
                  <a:gd name="connsiteX12" fmla="*/ 6846 w 182527"/>
                  <a:gd name="connsiteY12" fmla="*/ 112681 h 123883"/>
                  <a:gd name="connsiteX13" fmla="*/ 464 w 182527"/>
                  <a:gd name="connsiteY13" fmla="*/ 88202 h 123883"/>
                  <a:gd name="connsiteX14" fmla="*/ 2369 w 182527"/>
                  <a:gd name="connsiteY14" fmla="*/ 17526 h 123883"/>
                  <a:gd name="connsiteX15" fmla="*/ 14371 w 182527"/>
                  <a:gd name="connsiteY15" fmla="*/ 17526 h 123883"/>
                  <a:gd name="connsiteX16" fmla="*/ 35993 w 182527"/>
                  <a:gd name="connsiteY16" fmla="*/ 80200 h 123883"/>
                  <a:gd name="connsiteX17" fmla="*/ 59995 w 182527"/>
                  <a:gd name="connsiteY17" fmla="*/ 74200 h 123883"/>
                  <a:gd name="connsiteX18" fmla="*/ 72473 w 182527"/>
                  <a:gd name="connsiteY18" fmla="*/ 70580 h 123883"/>
                  <a:gd name="connsiteX19" fmla="*/ 84094 w 182527"/>
                  <a:gd name="connsiteY19" fmla="*/ 63532 h 123883"/>
                  <a:gd name="connsiteX20" fmla="*/ 101524 w 182527"/>
                  <a:gd name="connsiteY20" fmla="*/ 54102 h 123883"/>
                  <a:gd name="connsiteX21" fmla="*/ 87046 w 182527"/>
                  <a:gd name="connsiteY21" fmla="*/ 38576 h 123883"/>
                  <a:gd name="connsiteX22" fmla="*/ 69520 w 182527"/>
                  <a:gd name="connsiteY22" fmla="*/ 0 h 123883"/>
                  <a:gd name="connsiteX23" fmla="*/ 82189 w 182527"/>
                  <a:gd name="connsiteY23" fmla="*/ 476 h 123883"/>
                  <a:gd name="connsiteX24" fmla="*/ 105715 w 182527"/>
                  <a:gd name="connsiteY24" fmla="*/ 32956 h 123883"/>
                  <a:gd name="connsiteX25" fmla="*/ 115145 w 182527"/>
                  <a:gd name="connsiteY25" fmla="*/ 38957 h 123883"/>
                  <a:gd name="connsiteX26" fmla="*/ 131719 w 182527"/>
                  <a:gd name="connsiteY26" fmla="*/ 28956 h 123883"/>
                  <a:gd name="connsiteX27" fmla="*/ 123718 w 182527"/>
                  <a:gd name="connsiteY27" fmla="*/ 8573 h 123883"/>
                  <a:gd name="connsiteX28" fmla="*/ 135433 w 182527"/>
                  <a:gd name="connsiteY28" fmla="*/ 3524 h 123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82527" h="123883">
                    <a:moveTo>
                      <a:pt x="135433" y="3524"/>
                    </a:moveTo>
                    <a:cubicBezTo>
                      <a:pt x="135433" y="3524"/>
                      <a:pt x="144482" y="10954"/>
                      <a:pt x="148864" y="20669"/>
                    </a:cubicBezTo>
                    <a:cubicBezTo>
                      <a:pt x="153436" y="30099"/>
                      <a:pt x="172390" y="50673"/>
                      <a:pt x="182487" y="51149"/>
                    </a:cubicBezTo>
                    <a:cubicBezTo>
                      <a:pt x="182487" y="51149"/>
                      <a:pt x="183916" y="66675"/>
                      <a:pt x="169819" y="67723"/>
                    </a:cubicBezTo>
                    <a:cubicBezTo>
                      <a:pt x="169819" y="67723"/>
                      <a:pt x="152959" y="62198"/>
                      <a:pt x="142291" y="67151"/>
                    </a:cubicBezTo>
                    <a:cubicBezTo>
                      <a:pt x="142291" y="67151"/>
                      <a:pt x="138386" y="76676"/>
                      <a:pt x="153912" y="84201"/>
                    </a:cubicBezTo>
                    <a:cubicBezTo>
                      <a:pt x="153912" y="84201"/>
                      <a:pt x="180391" y="99346"/>
                      <a:pt x="166389" y="119158"/>
                    </a:cubicBezTo>
                    <a:cubicBezTo>
                      <a:pt x="166389" y="119158"/>
                      <a:pt x="160294" y="122777"/>
                      <a:pt x="152197" y="121253"/>
                    </a:cubicBezTo>
                    <a:lnTo>
                      <a:pt x="117241" y="72581"/>
                    </a:lnTo>
                    <a:cubicBezTo>
                      <a:pt x="117241" y="72581"/>
                      <a:pt x="117812" y="65246"/>
                      <a:pt x="89237" y="86201"/>
                    </a:cubicBezTo>
                    <a:cubicBezTo>
                      <a:pt x="89237" y="86201"/>
                      <a:pt x="54090" y="111823"/>
                      <a:pt x="40564" y="114776"/>
                    </a:cubicBezTo>
                    <a:cubicBezTo>
                      <a:pt x="40564" y="114776"/>
                      <a:pt x="28468" y="118681"/>
                      <a:pt x="26563" y="121730"/>
                    </a:cubicBezTo>
                    <a:cubicBezTo>
                      <a:pt x="24562" y="124682"/>
                      <a:pt x="7894" y="126778"/>
                      <a:pt x="6846" y="112681"/>
                    </a:cubicBezTo>
                    <a:cubicBezTo>
                      <a:pt x="6846" y="112681"/>
                      <a:pt x="-2108" y="99727"/>
                      <a:pt x="464" y="88202"/>
                    </a:cubicBezTo>
                    <a:lnTo>
                      <a:pt x="2369" y="17526"/>
                    </a:lnTo>
                    <a:cubicBezTo>
                      <a:pt x="2369" y="17526"/>
                      <a:pt x="11418" y="7429"/>
                      <a:pt x="14371" y="17526"/>
                    </a:cubicBezTo>
                    <a:cubicBezTo>
                      <a:pt x="17419" y="27527"/>
                      <a:pt x="12466" y="69056"/>
                      <a:pt x="35993" y="80200"/>
                    </a:cubicBezTo>
                    <a:cubicBezTo>
                      <a:pt x="35993" y="80200"/>
                      <a:pt x="59519" y="78105"/>
                      <a:pt x="59995" y="74200"/>
                    </a:cubicBezTo>
                    <a:cubicBezTo>
                      <a:pt x="60472" y="70199"/>
                      <a:pt x="69520" y="74200"/>
                      <a:pt x="72473" y="70580"/>
                    </a:cubicBezTo>
                    <a:cubicBezTo>
                      <a:pt x="75426" y="67056"/>
                      <a:pt x="76569" y="62579"/>
                      <a:pt x="84094" y="63532"/>
                    </a:cubicBezTo>
                    <a:cubicBezTo>
                      <a:pt x="91618" y="64579"/>
                      <a:pt x="99619" y="55626"/>
                      <a:pt x="101524" y="54102"/>
                    </a:cubicBezTo>
                    <a:cubicBezTo>
                      <a:pt x="103620" y="52578"/>
                      <a:pt x="102763" y="44958"/>
                      <a:pt x="87046" y="38576"/>
                    </a:cubicBezTo>
                    <a:cubicBezTo>
                      <a:pt x="87046" y="38576"/>
                      <a:pt x="44470" y="17526"/>
                      <a:pt x="69520" y="0"/>
                    </a:cubicBezTo>
                    <a:lnTo>
                      <a:pt x="82189" y="476"/>
                    </a:lnTo>
                    <a:cubicBezTo>
                      <a:pt x="82189" y="476"/>
                      <a:pt x="87142" y="28956"/>
                      <a:pt x="105715" y="32956"/>
                    </a:cubicBezTo>
                    <a:lnTo>
                      <a:pt x="115145" y="38957"/>
                    </a:lnTo>
                    <a:cubicBezTo>
                      <a:pt x="115145" y="38957"/>
                      <a:pt x="141720" y="47530"/>
                      <a:pt x="131719" y="28956"/>
                    </a:cubicBezTo>
                    <a:cubicBezTo>
                      <a:pt x="131719" y="28956"/>
                      <a:pt x="119717" y="15907"/>
                      <a:pt x="123718" y="8573"/>
                    </a:cubicBezTo>
                    <a:cubicBezTo>
                      <a:pt x="123908" y="8668"/>
                      <a:pt x="130385" y="-1048"/>
                      <a:pt x="135433" y="3524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4C05D9A6-BB1F-4268-AF38-94F932840248}"/>
                  </a:ext>
                </a:extLst>
              </p:cNvPr>
              <p:cNvSpPr/>
              <p:nvPr/>
            </p:nvSpPr>
            <p:spPr>
              <a:xfrm>
                <a:off x="4844052" y="4525516"/>
                <a:ext cx="26342" cy="24528"/>
              </a:xfrm>
              <a:custGeom>
                <a:avLst/>
                <a:gdLst>
                  <a:gd name="connsiteX0" fmla="*/ 22999 w 26343"/>
                  <a:gd name="connsiteY0" fmla="*/ 0 h 24528"/>
                  <a:gd name="connsiteX1" fmla="*/ 4425 w 26343"/>
                  <a:gd name="connsiteY1" fmla="*/ 6001 h 24528"/>
                  <a:gd name="connsiteX2" fmla="*/ 7950 w 26343"/>
                  <a:gd name="connsiteY2" fmla="*/ 19526 h 24528"/>
                  <a:gd name="connsiteX3" fmla="*/ 22999 w 26343"/>
                  <a:gd name="connsiteY3" fmla="*/ 24384 h 24528"/>
                  <a:gd name="connsiteX4" fmla="*/ 22999 w 26343"/>
                  <a:gd name="connsiteY4" fmla="*/ 0 h 24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343" h="24528">
                    <a:moveTo>
                      <a:pt x="22999" y="0"/>
                    </a:moveTo>
                    <a:cubicBezTo>
                      <a:pt x="22999" y="0"/>
                      <a:pt x="20427" y="7620"/>
                      <a:pt x="4425" y="6001"/>
                    </a:cubicBezTo>
                    <a:cubicBezTo>
                      <a:pt x="4425" y="6001"/>
                      <a:pt x="-7576" y="12001"/>
                      <a:pt x="7950" y="19526"/>
                    </a:cubicBezTo>
                    <a:cubicBezTo>
                      <a:pt x="7950" y="19526"/>
                      <a:pt x="18332" y="25527"/>
                      <a:pt x="22999" y="24384"/>
                    </a:cubicBezTo>
                    <a:cubicBezTo>
                      <a:pt x="22999" y="24479"/>
                      <a:pt x="30524" y="11049"/>
                      <a:pt x="2299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729DAEDD-5873-4B86-BF4B-AD15CE113155}"/>
                  </a:ext>
                </a:extLst>
              </p:cNvPr>
              <p:cNvSpPr/>
              <p:nvPr/>
            </p:nvSpPr>
            <p:spPr>
              <a:xfrm>
                <a:off x="4802089" y="4548567"/>
                <a:ext cx="139593" cy="38948"/>
              </a:xfrm>
              <a:custGeom>
                <a:avLst/>
                <a:gdLst>
                  <a:gd name="connsiteX0" fmla="*/ 15815 w 139592"/>
                  <a:gd name="connsiteY0" fmla="*/ 0 h 38947"/>
                  <a:gd name="connsiteX1" fmla="*/ 53438 w 139592"/>
                  <a:gd name="connsiteY1" fmla="*/ 22669 h 38947"/>
                  <a:gd name="connsiteX2" fmla="*/ 74012 w 139592"/>
                  <a:gd name="connsiteY2" fmla="*/ 15526 h 38947"/>
                  <a:gd name="connsiteX3" fmla="*/ 132115 w 139592"/>
                  <a:gd name="connsiteY3" fmla="*/ 23527 h 38947"/>
                  <a:gd name="connsiteX4" fmla="*/ 131162 w 139592"/>
                  <a:gd name="connsiteY4" fmla="*/ 37624 h 38947"/>
                  <a:gd name="connsiteX5" fmla="*/ 68964 w 139592"/>
                  <a:gd name="connsiteY5" fmla="*/ 31623 h 38947"/>
                  <a:gd name="connsiteX6" fmla="*/ 7909 w 139592"/>
                  <a:gd name="connsiteY6" fmla="*/ 24003 h 38947"/>
                  <a:gd name="connsiteX7" fmla="*/ 15815 w 139592"/>
                  <a:gd name="connsiteY7" fmla="*/ 0 h 38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592" h="38947">
                    <a:moveTo>
                      <a:pt x="15815" y="0"/>
                    </a:moveTo>
                    <a:cubicBezTo>
                      <a:pt x="15815" y="0"/>
                      <a:pt x="46961" y="12573"/>
                      <a:pt x="53438" y="22669"/>
                    </a:cubicBezTo>
                    <a:cubicBezTo>
                      <a:pt x="53438" y="22669"/>
                      <a:pt x="67535" y="26670"/>
                      <a:pt x="74012" y="15526"/>
                    </a:cubicBezTo>
                    <a:cubicBezTo>
                      <a:pt x="74012" y="15526"/>
                      <a:pt x="105635" y="-20955"/>
                      <a:pt x="132115" y="23527"/>
                    </a:cubicBezTo>
                    <a:cubicBezTo>
                      <a:pt x="134687" y="26575"/>
                      <a:pt x="148117" y="35528"/>
                      <a:pt x="131162" y="37624"/>
                    </a:cubicBezTo>
                    <a:cubicBezTo>
                      <a:pt x="131162" y="37624"/>
                      <a:pt x="111541" y="43148"/>
                      <a:pt x="68964" y="31623"/>
                    </a:cubicBezTo>
                    <a:cubicBezTo>
                      <a:pt x="68964" y="31623"/>
                      <a:pt x="17434" y="36576"/>
                      <a:pt x="7909" y="24003"/>
                    </a:cubicBezTo>
                    <a:cubicBezTo>
                      <a:pt x="7814" y="24003"/>
                      <a:pt x="-14284" y="12478"/>
                      <a:pt x="1581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01" name="图形 7">
                <a:extLst>
                  <a:ext uri="{FF2B5EF4-FFF2-40B4-BE49-F238E27FC236}">
                    <a16:creationId xmlns:a16="http://schemas.microsoft.com/office/drawing/2014/main" id="{891337FF-9219-455B-9C43-D4549FA49F09}"/>
                  </a:ext>
                </a:extLst>
              </p:cNvPr>
              <p:cNvGrpSpPr/>
              <p:nvPr/>
            </p:nvGrpSpPr>
            <p:grpSpPr>
              <a:xfrm>
                <a:off x="2478512" y="4029861"/>
                <a:ext cx="2154471" cy="2155770"/>
                <a:chOff x="2478510" y="4029860"/>
                <a:chExt cx="2154470" cy="2155769"/>
              </a:xfrm>
              <a:solidFill>
                <a:srgbClr val="EA6000"/>
              </a:solidFill>
            </p:grpSpPr>
            <p:sp>
              <p:nvSpPr>
                <p:cNvPr id="148" name="任意多边形: 形状 147">
                  <a:extLst>
                    <a:ext uri="{FF2B5EF4-FFF2-40B4-BE49-F238E27FC236}">
                      <a16:creationId xmlns:a16="http://schemas.microsoft.com/office/drawing/2014/main" id="{90747C48-676D-4068-BBE1-1BEFA6632D41}"/>
                    </a:ext>
                  </a:extLst>
                </p:cNvPr>
                <p:cNvSpPr/>
                <p:nvPr/>
              </p:nvSpPr>
              <p:spPr>
                <a:xfrm>
                  <a:off x="2478658" y="4030012"/>
                  <a:ext cx="2154226" cy="2155617"/>
                </a:xfrm>
                <a:custGeom>
                  <a:avLst/>
                  <a:gdLst>
                    <a:gd name="connsiteX0" fmla="*/ 1077087 w 2154226"/>
                    <a:gd name="connsiteY0" fmla="*/ 2010171 h 2155617"/>
                    <a:gd name="connsiteX1" fmla="*/ 1116997 w 2154226"/>
                    <a:gd name="connsiteY1" fmla="*/ 2011314 h 2155617"/>
                    <a:gd name="connsiteX2" fmla="*/ 1345406 w 2154226"/>
                    <a:gd name="connsiteY2" fmla="*/ 1973690 h 2155617"/>
                    <a:gd name="connsiteX3" fmla="*/ 1943767 w 2154226"/>
                    <a:gd name="connsiteY3" fmla="*/ 1439909 h 2155617"/>
                    <a:gd name="connsiteX4" fmla="*/ 1943767 w 2154226"/>
                    <a:gd name="connsiteY4" fmla="*/ 711151 h 2155617"/>
                    <a:gd name="connsiteX5" fmla="*/ 1077087 w 2154226"/>
                    <a:gd name="connsiteY5" fmla="*/ 135937 h 2155617"/>
                    <a:gd name="connsiteX6" fmla="*/ 1077087 w 2154226"/>
                    <a:gd name="connsiteY6" fmla="*/ 15 h 2155617"/>
                    <a:gd name="connsiteX7" fmla="*/ 2077403 w 2154226"/>
                    <a:gd name="connsiteY7" fmla="*/ 673432 h 2155617"/>
                    <a:gd name="connsiteX8" fmla="*/ 2074450 w 2154226"/>
                    <a:gd name="connsiteY8" fmla="*/ 1494106 h 2155617"/>
                    <a:gd name="connsiteX9" fmla="*/ 1364837 w 2154226"/>
                    <a:gd name="connsiteY9" fmla="*/ 2117994 h 2155617"/>
                    <a:gd name="connsiteX10" fmla="*/ 1119950 w 2154226"/>
                    <a:gd name="connsiteY10" fmla="*/ 2155618 h 2155617"/>
                    <a:gd name="connsiteX11" fmla="*/ 1077087 w 2154226"/>
                    <a:gd name="connsiteY11" fmla="*/ 2154475 h 2155617"/>
                    <a:gd name="connsiteX12" fmla="*/ 1077087 w 2154226"/>
                    <a:gd name="connsiteY12" fmla="*/ 2010171 h 2155617"/>
                    <a:gd name="connsiteX13" fmla="*/ 1041749 w 2154226"/>
                    <a:gd name="connsiteY13" fmla="*/ 135365 h 2155617"/>
                    <a:gd name="connsiteX14" fmla="*/ 933545 w 2154226"/>
                    <a:gd name="connsiteY14" fmla="*/ 146033 h 2155617"/>
                    <a:gd name="connsiteX15" fmla="*/ 750189 w 2154226"/>
                    <a:gd name="connsiteY15" fmla="*/ 194039 h 2155617"/>
                    <a:gd name="connsiteX16" fmla="*/ 192596 w 2154226"/>
                    <a:gd name="connsiteY16" fmla="*/ 765253 h 2155617"/>
                    <a:gd name="connsiteX17" fmla="*/ 150495 w 2154226"/>
                    <a:gd name="connsiteY17" fmla="*/ 938132 h 2155617"/>
                    <a:gd name="connsiteX18" fmla="*/ 179165 w 2154226"/>
                    <a:gd name="connsiteY18" fmla="*/ 1333324 h 2155617"/>
                    <a:gd name="connsiteX19" fmla="*/ 706755 w 2154226"/>
                    <a:gd name="connsiteY19" fmla="*/ 1933209 h 2155617"/>
                    <a:gd name="connsiteX20" fmla="*/ 915543 w 2154226"/>
                    <a:gd name="connsiteY20" fmla="*/ 1997884 h 2155617"/>
                    <a:gd name="connsiteX21" fmla="*/ 1014698 w 2154226"/>
                    <a:gd name="connsiteY21" fmla="*/ 2008266 h 2155617"/>
                    <a:gd name="connsiteX22" fmla="*/ 1077087 w 2154226"/>
                    <a:gd name="connsiteY22" fmla="*/ 2010266 h 2155617"/>
                    <a:gd name="connsiteX23" fmla="*/ 1077087 w 2154226"/>
                    <a:gd name="connsiteY23" fmla="*/ 2154570 h 2155617"/>
                    <a:gd name="connsiteX24" fmla="*/ 1008698 w 2154226"/>
                    <a:gd name="connsiteY24" fmla="*/ 2152760 h 2155617"/>
                    <a:gd name="connsiteX25" fmla="*/ 886873 w 2154226"/>
                    <a:gd name="connsiteY25" fmla="*/ 2139044 h 2155617"/>
                    <a:gd name="connsiteX26" fmla="*/ 657034 w 2154226"/>
                    <a:gd name="connsiteY26" fmla="*/ 2068464 h 2155617"/>
                    <a:gd name="connsiteX27" fmla="*/ 51245 w 2154226"/>
                    <a:gd name="connsiteY27" fmla="*/ 1397999 h 2155617"/>
                    <a:gd name="connsiteX28" fmla="*/ 0 w 2154226"/>
                    <a:gd name="connsiteY28" fmla="*/ 1082531 h 2155617"/>
                    <a:gd name="connsiteX29" fmla="*/ 0 w 2154226"/>
                    <a:gd name="connsiteY29" fmla="*/ 1048908 h 2155617"/>
                    <a:gd name="connsiteX30" fmla="*/ 12192 w 2154226"/>
                    <a:gd name="connsiteY30" fmla="*/ 923178 h 2155617"/>
                    <a:gd name="connsiteX31" fmla="*/ 61817 w 2154226"/>
                    <a:gd name="connsiteY31" fmla="*/ 720295 h 2155617"/>
                    <a:gd name="connsiteX32" fmla="*/ 705136 w 2154226"/>
                    <a:gd name="connsiteY32" fmla="*/ 66404 h 2155617"/>
                    <a:gd name="connsiteX33" fmla="*/ 913829 w 2154226"/>
                    <a:gd name="connsiteY33" fmla="*/ 12207 h 2155617"/>
                    <a:gd name="connsiteX34" fmla="*/ 1038701 w 2154226"/>
                    <a:gd name="connsiteY34" fmla="*/ 110 h 2155617"/>
                    <a:gd name="connsiteX35" fmla="*/ 1076992 w 2154226"/>
                    <a:gd name="connsiteY35" fmla="*/ 110 h 2155617"/>
                    <a:gd name="connsiteX36" fmla="*/ 1076992 w 2154226"/>
                    <a:gd name="connsiteY36" fmla="*/ 135937 h 2155617"/>
                    <a:gd name="connsiteX37" fmla="*/ 1041749 w 2154226"/>
                    <a:gd name="connsiteY37" fmla="*/ 135365 h 21556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2154226" h="2155617">
                      <a:moveTo>
                        <a:pt x="1077087" y="2010171"/>
                      </a:moveTo>
                      <a:cubicBezTo>
                        <a:pt x="1090232" y="2010552"/>
                        <a:pt x="1103662" y="2010933"/>
                        <a:pt x="1116997" y="2011314"/>
                      </a:cubicBezTo>
                      <a:cubicBezTo>
                        <a:pt x="1200341" y="1997312"/>
                        <a:pt x="1275017" y="1995788"/>
                        <a:pt x="1345406" y="1973690"/>
                      </a:cubicBezTo>
                      <a:cubicBezTo>
                        <a:pt x="1627156" y="1885393"/>
                        <a:pt x="1833277" y="1699370"/>
                        <a:pt x="1943767" y="1439909"/>
                      </a:cubicBezTo>
                      <a:cubicBezTo>
                        <a:pt x="2039493" y="1215214"/>
                        <a:pt x="2037493" y="935274"/>
                        <a:pt x="1943767" y="711151"/>
                      </a:cubicBezTo>
                      <a:cubicBezTo>
                        <a:pt x="1810798" y="393207"/>
                        <a:pt x="1521809" y="147271"/>
                        <a:pt x="1077087" y="135937"/>
                      </a:cubicBezTo>
                      <a:lnTo>
                        <a:pt x="1077087" y="15"/>
                      </a:lnTo>
                      <a:cubicBezTo>
                        <a:pt x="1589913" y="6682"/>
                        <a:pt x="1928241" y="308815"/>
                        <a:pt x="2077403" y="673432"/>
                      </a:cubicBezTo>
                      <a:cubicBezTo>
                        <a:pt x="2180558" y="925654"/>
                        <a:pt x="2180082" y="1243789"/>
                        <a:pt x="2074450" y="1494106"/>
                      </a:cubicBezTo>
                      <a:cubicBezTo>
                        <a:pt x="1944814" y="1800907"/>
                        <a:pt x="1702213" y="2018553"/>
                        <a:pt x="1364837" y="2117994"/>
                      </a:cubicBezTo>
                      <a:cubicBezTo>
                        <a:pt x="1289114" y="2140282"/>
                        <a:pt x="1208818" y="2142092"/>
                        <a:pt x="1119950" y="2155618"/>
                      </a:cubicBezTo>
                      <a:lnTo>
                        <a:pt x="1077087" y="2154475"/>
                      </a:lnTo>
                      <a:lnTo>
                        <a:pt x="1077087" y="2010171"/>
                      </a:lnTo>
                      <a:close/>
                      <a:moveTo>
                        <a:pt x="1041749" y="135365"/>
                      </a:moveTo>
                      <a:cubicBezTo>
                        <a:pt x="1005745" y="138889"/>
                        <a:pt x="969550" y="142509"/>
                        <a:pt x="933545" y="146033"/>
                      </a:cubicBezTo>
                      <a:cubicBezTo>
                        <a:pt x="868775" y="159082"/>
                        <a:pt x="806482" y="171941"/>
                        <a:pt x="750189" y="194039"/>
                      </a:cubicBezTo>
                      <a:cubicBezTo>
                        <a:pt x="478155" y="301386"/>
                        <a:pt x="299276" y="491981"/>
                        <a:pt x="192596" y="765253"/>
                      </a:cubicBezTo>
                      <a:cubicBezTo>
                        <a:pt x="172022" y="818117"/>
                        <a:pt x="162497" y="877744"/>
                        <a:pt x="150495" y="938132"/>
                      </a:cubicBezTo>
                      <a:cubicBezTo>
                        <a:pt x="124587" y="1068529"/>
                        <a:pt x="146971" y="1229883"/>
                        <a:pt x="179165" y="1333324"/>
                      </a:cubicBezTo>
                      <a:cubicBezTo>
                        <a:pt x="267557" y="1618884"/>
                        <a:pt x="445770" y="1820719"/>
                        <a:pt x="706755" y="1933209"/>
                      </a:cubicBezTo>
                      <a:cubicBezTo>
                        <a:pt x="770287" y="1960545"/>
                        <a:pt x="839534" y="1980738"/>
                        <a:pt x="915543" y="1997884"/>
                      </a:cubicBezTo>
                      <a:cubicBezTo>
                        <a:pt x="948595" y="2001408"/>
                        <a:pt x="981647" y="2004837"/>
                        <a:pt x="1014698" y="2008266"/>
                      </a:cubicBezTo>
                      <a:lnTo>
                        <a:pt x="1077087" y="2010266"/>
                      </a:lnTo>
                      <a:lnTo>
                        <a:pt x="1077087" y="2154570"/>
                      </a:lnTo>
                      <a:lnTo>
                        <a:pt x="1008698" y="2152760"/>
                      </a:lnTo>
                      <a:cubicBezTo>
                        <a:pt x="965073" y="2145997"/>
                        <a:pt x="926783" y="2147617"/>
                        <a:pt x="886873" y="2139044"/>
                      </a:cubicBezTo>
                      <a:cubicBezTo>
                        <a:pt x="803434" y="2121137"/>
                        <a:pt x="726948" y="2098372"/>
                        <a:pt x="657034" y="2068464"/>
                      </a:cubicBezTo>
                      <a:cubicBezTo>
                        <a:pt x="364331" y="1943115"/>
                        <a:pt x="150400" y="1716420"/>
                        <a:pt x="51245" y="1397999"/>
                      </a:cubicBezTo>
                      <a:cubicBezTo>
                        <a:pt x="24575" y="1312274"/>
                        <a:pt x="2000" y="1197784"/>
                        <a:pt x="0" y="1082531"/>
                      </a:cubicBezTo>
                      <a:lnTo>
                        <a:pt x="0" y="1048908"/>
                      </a:lnTo>
                      <a:cubicBezTo>
                        <a:pt x="667" y="1006236"/>
                        <a:pt x="4572" y="963849"/>
                        <a:pt x="12192" y="923178"/>
                      </a:cubicBezTo>
                      <a:cubicBezTo>
                        <a:pt x="25622" y="851550"/>
                        <a:pt x="37814" y="782303"/>
                        <a:pt x="61817" y="720295"/>
                      </a:cubicBezTo>
                      <a:cubicBezTo>
                        <a:pt x="182499" y="407018"/>
                        <a:pt x="392811" y="187467"/>
                        <a:pt x="705136" y="66404"/>
                      </a:cubicBezTo>
                      <a:cubicBezTo>
                        <a:pt x="769239" y="41448"/>
                        <a:pt x="839915" y="26589"/>
                        <a:pt x="913829" y="12207"/>
                      </a:cubicBezTo>
                      <a:cubicBezTo>
                        <a:pt x="955453" y="8206"/>
                        <a:pt x="997077" y="4206"/>
                        <a:pt x="1038701" y="110"/>
                      </a:cubicBezTo>
                      <a:cubicBezTo>
                        <a:pt x="1051560" y="-81"/>
                        <a:pt x="1064324" y="15"/>
                        <a:pt x="1076992" y="110"/>
                      </a:cubicBezTo>
                      <a:lnTo>
                        <a:pt x="1076992" y="135937"/>
                      </a:lnTo>
                      <a:cubicBezTo>
                        <a:pt x="1065371" y="135556"/>
                        <a:pt x="1053656" y="135365"/>
                        <a:pt x="1041749" y="135365"/>
                      </a:cubicBezTo>
                      <a:close/>
                    </a:path>
                  </a:pathLst>
                </a:custGeom>
                <a:solidFill>
                  <a:srgbClr val="EA6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9" name="任意多边形: 形状 148">
                  <a:extLst>
                    <a:ext uri="{FF2B5EF4-FFF2-40B4-BE49-F238E27FC236}">
                      <a16:creationId xmlns:a16="http://schemas.microsoft.com/office/drawing/2014/main" id="{DF5A772C-B1AC-417F-8F17-3E9D3D3395C1}"/>
                    </a:ext>
                  </a:extLst>
                </p:cNvPr>
                <p:cNvSpPr/>
                <p:nvPr/>
              </p:nvSpPr>
              <p:spPr>
                <a:xfrm>
                  <a:off x="2478510" y="4029860"/>
                  <a:ext cx="2154470" cy="2155769"/>
                </a:xfrm>
                <a:custGeom>
                  <a:avLst/>
                  <a:gdLst>
                    <a:gd name="connsiteX0" fmla="*/ 1041897 w 2154470"/>
                    <a:gd name="connsiteY0" fmla="*/ 135517 h 2155769"/>
                    <a:gd name="connsiteX1" fmla="*/ 933693 w 2154470"/>
                    <a:gd name="connsiteY1" fmla="*/ 146185 h 2155769"/>
                    <a:gd name="connsiteX2" fmla="*/ 750337 w 2154470"/>
                    <a:gd name="connsiteY2" fmla="*/ 194191 h 2155769"/>
                    <a:gd name="connsiteX3" fmla="*/ 192744 w 2154470"/>
                    <a:gd name="connsiteY3" fmla="*/ 765406 h 2155769"/>
                    <a:gd name="connsiteX4" fmla="*/ 150643 w 2154470"/>
                    <a:gd name="connsiteY4" fmla="*/ 938284 h 2155769"/>
                    <a:gd name="connsiteX5" fmla="*/ 179313 w 2154470"/>
                    <a:gd name="connsiteY5" fmla="*/ 1333477 h 2155769"/>
                    <a:gd name="connsiteX6" fmla="*/ 706903 w 2154470"/>
                    <a:gd name="connsiteY6" fmla="*/ 1933361 h 2155769"/>
                    <a:gd name="connsiteX7" fmla="*/ 915691 w 2154470"/>
                    <a:gd name="connsiteY7" fmla="*/ 1998036 h 2155769"/>
                    <a:gd name="connsiteX8" fmla="*/ 1014846 w 2154470"/>
                    <a:gd name="connsiteY8" fmla="*/ 2008418 h 2155769"/>
                    <a:gd name="connsiteX9" fmla="*/ 1117050 w 2154470"/>
                    <a:gd name="connsiteY9" fmla="*/ 2011466 h 2155769"/>
                    <a:gd name="connsiteX10" fmla="*/ 1345459 w 2154470"/>
                    <a:gd name="connsiteY10" fmla="*/ 1973842 h 2155769"/>
                    <a:gd name="connsiteX11" fmla="*/ 1943820 w 2154470"/>
                    <a:gd name="connsiteY11" fmla="*/ 1440062 h 2155769"/>
                    <a:gd name="connsiteX12" fmla="*/ 1943820 w 2154470"/>
                    <a:gd name="connsiteY12" fmla="*/ 711304 h 2155769"/>
                    <a:gd name="connsiteX13" fmla="*/ 1041897 w 2154470"/>
                    <a:gd name="connsiteY13" fmla="*/ 135517 h 2155769"/>
                    <a:gd name="connsiteX14" fmla="*/ 1041897 w 2154470"/>
                    <a:gd name="connsiteY14" fmla="*/ 135517 h 2155769"/>
                    <a:gd name="connsiteX15" fmla="*/ 1038945 w 2154470"/>
                    <a:gd name="connsiteY15" fmla="*/ 167 h 2155769"/>
                    <a:gd name="connsiteX16" fmla="*/ 2077646 w 2154470"/>
                    <a:gd name="connsiteY16" fmla="*/ 673585 h 2155769"/>
                    <a:gd name="connsiteX17" fmla="*/ 2074693 w 2154470"/>
                    <a:gd name="connsiteY17" fmla="*/ 1494259 h 2155769"/>
                    <a:gd name="connsiteX18" fmla="*/ 1365081 w 2154470"/>
                    <a:gd name="connsiteY18" fmla="*/ 2118146 h 2155769"/>
                    <a:gd name="connsiteX19" fmla="*/ 1120193 w 2154470"/>
                    <a:gd name="connsiteY19" fmla="*/ 2155770 h 2155769"/>
                    <a:gd name="connsiteX20" fmla="*/ 1008941 w 2154470"/>
                    <a:gd name="connsiteY20" fmla="*/ 2152817 h 2155769"/>
                    <a:gd name="connsiteX21" fmla="*/ 887116 w 2154470"/>
                    <a:gd name="connsiteY21" fmla="*/ 2139101 h 2155769"/>
                    <a:gd name="connsiteX22" fmla="*/ 657278 w 2154470"/>
                    <a:gd name="connsiteY22" fmla="*/ 2068521 h 2155769"/>
                    <a:gd name="connsiteX23" fmla="*/ 51488 w 2154470"/>
                    <a:gd name="connsiteY23" fmla="*/ 1398056 h 2155769"/>
                    <a:gd name="connsiteX24" fmla="*/ 12435 w 2154470"/>
                    <a:gd name="connsiteY24" fmla="*/ 923235 h 2155769"/>
                    <a:gd name="connsiteX25" fmla="*/ 62061 w 2154470"/>
                    <a:gd name="connsiteY25" fmla="*/ 720353 h 2155769"/>
                    <a:gd name="connsiteX26" fmla="*/ 705379 w 2154470"/>
                    <a:gd name="connsiteY26" fmla="*/ 66461 h 2155769"/>
                    <a:gd name="connsiteX27" fmla="*/ 914072 w 2154470"/>
                    <a:gd name="connsiteY27" fmla="*/ 12264 h 2155769"/>
                    <a:gd name="connsiteX28" fmla="*/ 1038945 w 2154470"/>
                    <a:gd name="connsiteY28" fmla="*/ 167 h 21557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2154470" h="2155769">
                      <a:moveTo>
                        <a:pt x="1041897" y="135517"/>
                      </a:moveTo>
                      <a:cubicBezTo>
                        <a:pt x="1005893" y="139042"/>
                        <a:pt x="969698" y="142661"/>
                        <a:pt x="933693" y="146185"/>
                      </a:cubicBezTo>
                      <a:cubicBezTo>
                        <a:pt x="868923" y="159235"/>
                        <a:pt x="806630" y="172093"/>
                        <a:pt x="750337" y="194191"/>
                      </a:cubicBezTo>
                      <a:cubicBezTo>
                        <a:pt x="478303" y="301538"/>
                        <a:pt x="299424" y="492133"/>
                        <a:pt x="192744" y="765406"/>
                      </a:cubicBezTo>
                      <a:cubicBezTo>
                        <a:pt x="172170" y="818270"/>
                        <a:pt x="162645" y="877896"/>
                        <a:pt x="150643" y="938284"/>
                      </a:cubicBezTo>
                      <a:cubicBezTo>
                        <a:pt x="124735" y="1068682"/>
                        <a:pt x="147119" y="1230035"/>
                        <a:pt x="179313" y="1333477"/>
                      </a:cubicBezTo>
                      <a:cubicBezTo>
                        <a:pt x="267705" y="1619036"/>
                        <a:pt x="445918" y="1820871"/>
                        <a:pt x="706903" y="1933361"/>
                      </a:cubicBezTo>
                      <a:cubicBezTo>
                        <a:pt x="770435" y="1960698"/>
                        <a:pt x="839682" y="1980891"/>
                        <a:pt x="915691" y="1998036"/>
                      </a:cubicBezTo>
                      <a:cubicBezTo>
                        <a:pt x="948743" y="2001560"/>
                        <a:pt x="981795" y="2004989"/>
                        <a:pt x="1014846" y="2008418"/>
                      </a:cubicBezTo>
                      <a:cubicBezTo>
                        <a:pt x="1048851" y="2009466"/>
                        <a:pt x="1082950" y="2010418"/>
                        <a:pt x="1117050" y="2011466"/>
                      </a:cubicBezTo>
                      <a:cubicBezTo>
                        <a:pt x="1200393" y="1997465"/>
                        <a:pt x="1275069" y="1995941"/>
                        <a:pt x="1345459" y="1973842"/>
                      </a:cubicBezTo>
                      <a:cubicBezTo>
                        <a:pt x="1627209" y="1885546"/>
                        <a:pt x="1833330" y="1699522"/>
                        <a:pt x="1943820" y="1440062"/>
                      </a:cubicBezTo>
                      <a:cubicBezTo>
                        <a:pt x="2039546" y="1215367"/>
                        <a:pt x="2037546" y="935427"/>
                        <a:pt x="1943820" y="711304"/>
                      </a:cubicBezTo>
                      <a:cubicBezTo>
                        <a:pt x="1807326" y="384977"/>
                        <a:pt x="1506717" y="134565"/>
                        <a:pt x="1041897" y="135517"/>
                      </a:cubicBezTo>
                      <a:lnTo>
                        <a:pt x="1041897" y="135517"/>
                      </a:lnTo>
                      <a:close/>
                      <a:moveTo>
                        <a:pt x="1038945" y="167"/>
                      </a:moveTo>
                      <a:cubicBezTo>
                        <a:pt x="1573297" y="-8215"/>
                        <a:pt x="1924770" y="299728"/>
                        <a:pt x="2077646" y="673585"/>
                      </a:cubicBezTo>
                      <a:cubicBezTo>
                        <a:pt x="2180802" y="925807"/>
                        <a:pt x="2180326" y="1243942"/>
                        <a:pt x="2074693" y="1494259"/>
                      </a:cubicBezTo>
                      <a:cubicBezTo>
                        <a:pt x="1945058" y="1801059"/>
                        <a:pt x="1702456" y="2018705"/>
                        <a:pt x="1365081" y="2118146"/>
                      </a:cubicBezTo>
                      <a:cubicBezTo>
                        <a:pt x="1289357" y="2140435"/>
                        <a:pt x="1209061" y="2142244"/>
                        <a:pt x="1120193" y="2155770"/>
                      </a:cubicBezTo>
                      <a:cubicBezTo>
                        <a:pt x="1083045" y="2154722"/>
                        <a:pt x="1045993" y="2153675"/>
                        <a:pt x="1008941" y="2152817"/>
                      </a:cubicBezTo>
                      <a:cubicBezTo>
                        <a:pt x="965316" y="2146055"/>
                        <a:pt x="927026" y="2147674"/>
                        <a:pt x="887116" y="2139101"/>
                      </a:cubicBezTo>
                      <a:cubicBezTo>
                        <a:pt x="803677" y="2121194"/>
                        <a:pt x="727191" y="2098430"/>
                        <a:pt x="657278" y="2068521"/>
                      </a:cubicBezTo>
                      <a:cubicBezTo>
                        <a:pt x="364575" y="1943172"/>
                        <a:pt x="150643" y="1716477"/>
                        <a:pt x="51488" y="1398056"/>
                      </a:cubicBezTo>
                      <a:cubicBezTo>
                        <a:pt x="12340" y="1272326"/>
                        <a:pt x="-18045" y="1084779"/>
                        <a:pt x="12435" y="923235"/>
                      </a:cubicBezTo>
                      <a:cubicBezTo>
                        <a:pt x="25866" y="851607"/>
                        <a:pt x="38058" y="782360"/>
                        <a:pt x="62061" y="720353"/>
                      </a:cubicBezTo>
                      <a:cubicBezTo>
                        <a:pt x="182742" y="407075"/>
                        <a:pt x="393054" y="187524"/>
                        <a:pt x="705379" y="66461"/>
                      </a:cubicBezTo>
                      <a:cubicBezTo>
                        <a:pt x="769482" y="41506"/>
                        <a:pt x="840158" y="26647"/>
                        <a:pt x="914072" y="12264"/>
                      </a:cubicBezTo>
                      <a:cubicBezTo>
                        <a:pt x="955601" y="8263"/>
                        <a:pt x="997320" y="4263"/>
                        <a:pt x="1038945" y="167"/>
                      </a:cubicBezTo>
                      <a:close/>
                    </a:path>
                  </a:pathLst>
                </a:custGeom>
                <a:solidFill>
                  <a:srgbClr val="EA6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3373C2B5-981D-4FF5-B5E8-C5501D5ED770}"/>
                  </a:ext>
                </a:extLst>
              </p:cNvPr>
              <p:cNvSpPr/>
              <p:nvPr/>
            </p:nvSpPr>
            <p:spPr>
              <a:xfrm>
                <a:off x="2608509" y="4170456"/>
                <a:ext cx="1892098" cy="1874538"/>
              </a:xfrm>
              <a:custGeom>
                <a:avLst/>
                <a:gdLst>
                  <a:gd name="connsiteX0" fmla="*/ 959239 w 1892098"/>
                  <a:gd name="connsiteY0" fmla="*/ 446 h 1874538"/>
                  <a:gd name="connsiteX1" fmla="*/ 87892 w 1892098"/>
                  <a:gd name="connsiteY1" fmla="*/ 541561 h 1874538"/>
                  <a:gd name="connsiteX2" fmla="*/ 199049 w 1892098"/>
                  <a:gd name="connsiteY2" fmla="*/ 1512254 h 1874538"/>
                  <a:gd name="connsiteX3" fmla="*/ 1280898 w 1892098"/>
                  <a:gd name="connsiteY3" fmla="*/ 1806863 h 1874538"/>
                  <a:gd name="connsiteX4" fmla="*/ 1891070 w 1892098"/>
                  <a:gd name="connsiteY4" fmla="*/ 884176 h 1874538"/>
                  <a:gd name="connsiteX5" fmla="*/ 1887926 w 1892098"/>
                  <a:gd name="connsiteY5" fmla="*/ 868269 h 1874538"/>
                  <a:gd name="connsiteX6" fmla="*/ 1701617 w 1892098"/>
                  <a:gd name="connsiteY6" fmla="*/ 1183165 h 1874538"/>
                  <a:gd name="connsiteX7" fmla="*/ 1190125 w 1892098"/>
                  <a:gd name="connsiteY7" fmla="*/ 1648843 h 1874538"/>
                  <a:gd name="connsiteX8" fmla="*/ 394406 w 1892098"/>
                  <a:gd name="connsiteY8" fmla="*/ 1620173 h 1874538"/>
                  <a:gd name="connsiteX9" fmla="*/ 290965 w 1892098"/>
                  <a:gd name="connsiteY9" fmla="*/ 841313 h 1874538"/>
                  <a:gd name="connsiteX10" fmla="*/ 768263 w 1892098"/>
                  <a:gd name="connsiteY10" fmla="*/ 788926 h 1874538"/>
                  <a:gd name="connsiteX11" fmla="*/ 738449 w 1892098"/>
                  <a:gd name="connsiteY11" fmla="*/ 820549 h 1874538"/>
                  <a:gd name="connsiteX12" fmla="*/ 532519 w 1892098"/>
                  <a:gd name="connsiteY12" fmla="*/ 1092964 h 1874538"/>
                  <a:gd name="connsiteX13" fmla="*/ 897707 w 1892098"/>
                  <a:gd name="connsiteY13" fmla="*/ 1342043 h 1874538"/>
                  <a:gd name="connsiteX14" fmla="*/ 1417582 w 1892098"/>
                  <a:gd name="connsiteY14" fmla="*/ 953518 h 1874538"/>
                  <a:gd name="connsiteX15" fmla="*/ 1628656 w 1892098"/>
                  <a:gd name="connsiteY15" fmla="*/ 516606 h 1874538"/>
                  <a:gd name="connsiteX16" fmla="*/ 1679996 w 1892098"/>
                  <a:gd name="connsiteY16" fmla="*/ 368778 h 1874538"/>
                  <a:gd name="connsiteX17" fmla="*/ 1618655 w 1892098"/>
                  <a:gd name="connsiteY17" fmla="*/ 290768 h 1874538"/>
                  <a:gd name="connsiteX18" fmla="*/ 1428155 w 1892098"/>
                  <a:gd name="connsiteY18" fmla="*/ 849028 h 1874538"/>
                  <a:gd name="connsiteX19" fmla="*/ 986004 w 1892098"/>
                  <a:gd name="connsiteY19" fmla="*/ 1240030 h 1874538"/>
                  <a:gd name="connsiteX20" fmla="*/ 653677 w 1892098"/>
                  <a:gd name="connsiteY20" fmla="*/ 1029908 h 1874538"/>
                  <a:gd name="connsiteX21" fmla="*/ 703016 w 1892098"/>
                  <a:gd name="connsiteY21" fmla="*/ 1022574 h 1874538"/>
                  <a:gd name="connsiteX22" fmla="*/ 1112115 w 1892098"/>
                  <a:gd name="connsiteY22" fmla="*/ 860077 h 1874538"/>
                  <a:gd name="connsiteX23" fmla="*/ 1282041 w 1892098"/>
                  <a:gd name="connsiteY23" fmla="*/ 317343 h 1874538"/>
                  <a:gd name="connsiteX24" fmla="*/ 1300329 w 1892098"/>
                  <a:gd name="connsiteY24" fmla="*/ 79694 h 1874538"/>
                  <a:gd name="connsiteX25" fmla="*/ 989719 w 1892098"/>
                  <a:gd name="connsiteY25" fmla="*/ 2923 h 1874538"/>
                  <a:gd name="connsiteX26" fmla="*/ 1018865 w 1892098"/>
                  <a:gd name="connsiteY26" fmla="*/ 437929 h 1874538"/>
                  <a:gd name="connsiteX27" fmla="*/ 938570 w 1892098"/>
                  <a:gd name="connsiteY27" fmla="*/ 624429 h 1874538"/>
                  <a:gd name="connsiteX28" fmla="*/ 911138 w 1892098"/>
                  <a:gd name="connsiteY28" fmla="*/ 617095 h 1874538"/>
                  <a:gd name="connsiteX29" fmla="*/ 896564 w 1892098"/>
                  <a:gd name="connsiteY29" fmla="*/ 262479 h 1874538"/>
                  <a:gd name="connsiteX30" fmla="*/ 959239 w 1892098"/>
                  <a:gd name="connsiteY30" fmla="*/ 446 h 1874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892098" h="1874538">
                    <a:moveTo>
                      <a:pt x="959239" y="446"/>
                    </a:moveTo>
                    <a:cubicBezTo>
                      <a:pt x="959239" y="446"/>
                      <a:pt x="376404" y="-35654"/>
                      <a:pt x="87892" y="541561"/>
                    </a:cubicBezTo>
                    <a:cubicBezTo>
                      <a:pt x="87892" y="541561"/>
                      <a:pt x="-170617" y="1016287"/>
                      <a:pt x="199049" y="1512254"/>
                    </a:cubicBezTo>
                    <a:cubicBezTo>
                      <a:pt x="199049" y="1512254"/>
                      <a:pt x="613862" y="2062323"/>
                      <a:pt x="1280898" y="1806863"/>
                    </a:cubicBezTo>
                    <a:cubicBezTo>
                      <a:pt x="1280898" y="1806863"/>
                      <a:pt x="1921169" y="1608552"/>
                      <a:pt x="1891070" y="884176"/>
                    </a:cubicBezTo>
                    <a:lnTo>
                      <a:pt x="1887926" y="868269"/>
                    </a:lnTo>
                    <a:cubicBezTo>
                      <a:pt x="1887926" y="868269"/>
                      <a:pt x="1736098" y="1137065"/>
                      <a:pt x="1701617" y="1183165"/>
                    </a:cubicBezTo>
                    <a:cubicBezTo>
                      <a:pt x="1701617" y="1183165"/>
                      <a:pt x="1537787" y="1513683"/>
                      <a:pt x="1190125" y="1648843"/>
                    </a:cubicBezTo>
                    <a:cubicBezTo>
                      <a:pt x="1190125" y="1648843"/>
                      <a:pt x="796552" y="1887444"/>
                      <a:pt x="394406" y="1620173"/>
                    </a:cubicBezTo>
                    <a:cubicBezTo>
                      <a:pt x="394406" y="1620173"/>
                      <a:pt x="-62508" y="1347186"/>
                      <a:pt x="290965" y="841313"/>
                    </a:cubicBezTo>
                    <a:cubicBezTo>
                      <a:pt x="290965" y="841313"/>
                      <a:pt x="582239" y="521559"/>
                      <a:pt x="768263" y="788926"/>
                    </a:cubicBezTo>
                    <a:cubicBezTo>
                      <a:pt x="768263" y="788926"/>
                      <a:pt x="771501" y="813977"/>
                      <a:pt x="738449" y="820549"/>
                    </a:cubicBezTo>
                    <a:cubicBezTo>
                      <a:pt x="738449" y="820549"/>
                      <a:pt x="552521" y="905321"/>
                      <a:pt x="532519" y="1092964"/>
                    </a:cubicBezTo>
                    <a:cubicBezTo>
                      <a:pt x="532519" y="1092964"/>
                      <a:pt x="559094" y="1428434"/>
                      <a:pt x="897707" y="1342043"/>
                    </a:cubicBezTo>
                    <a:cubicBezTo>
                      <a:pt x="897707" y="1342043"/>
                      <a:pt x="1191649" y="1337090"/>
                      <a:pt x="1417582" y="953518"/>
                    </a:cubicBezTo>
                    <a:cubicBezTo>
                      <a:pt x="1417582" y="953518"/>
                      <a:pt x="1575316" y="730919"/>
                      <a:pt x="1628656" y="516606"/>
                    </a:cubicBezTo>
                    <a:lnTo>
                      <a:pt x="1679996" y="368778"/>
                    </a:lnTo>
                    <a:cubicBezTo>
                      <a:pt x="1679996" y="368778"/>
                      <a:pt x="1679996" y="323915"/>
                      <a:pt x="1618655" y="290768"/>
                    </a:cubicBezTo>
                    <a:cubicBezTo>
                      <a:pt x="1618655" y="290768"/>
                      <a:pt x="1583507" y="532894"/>
                      <a:pt x="1428155" y="849028"/>
                    </a:cubicBezTo>
                    <a:cubicBezTo>
                      <a:pt x="1428155" y="849028"/>
                      <a:pt x="1221748" y="1232600"/>
                      <a:pt x="986004" y="1240030"/>
                    </a:cubicBezTo>
                    <a:cubicBezTo>
                      <a:pt x="986004" y="1240030"/>
                      <a:pt x="772263" y="1316706"/>
                      <a:pt x="653677" y="1029908"/>
                    </a:cubicBezTo>
                    <a:cubicBezTo>
                      <a:pt x="653677" y="1029908"/>
                      <a:pt x="650057" y="989808"/>
                      <a:pt x="703016" y="1022574"/>
                    </a:cubicBezTo>
                    <a:cubicBezTo>
                      <a:pt x="703016" y="1022574"/>
                      <a:pt x="936665" y="1152400"/>
                      <a:pt x="1112115" y="860077"/>
                    </a:cubicBezTo>
                    <a:cubicBezTo>
                      <a:pt x="1112115" y="860077"/>
                      <a:pt x="1282041" y="498318"/>
                      <a:pt x="1282041" y="317343"/>
                    </a:cubicBezTo>
                    <a:cubicBezTo>
                      <a:pt x="1282041" y="317343"/>
                      <a:pt x="1302139" y="151132"/>
                      <a:pt x="1300329" y="79694"/>
                    </a:cubicBezTo>
                    <a:cubicBezTo>
                      <a:pt x="1300329" y="79694"/>
                      <a:pt x="1165074" y="6637"/>
                      <a:pt x="989719" y="2923"/>
                    </a:cubicBezTo>
                    <a:cubicBezTo>
                      <a:pt x="989719" y="2923"/>
                      <a:pt x="1168789" y="282577"/>
                      <a:pt x="1018865" y="437929"/>
                    </a:cubicBezTo>
                    <a:cubicBezTo>
                      <a:pt x="1018865" y="437929"/>
                      <a:pt x="945809" y="518320"/>
                      <a:pt x="938570" y="624429"/>
                    </a:cubicBezTo>
                    <a:lnTo>
                      <a:pt x="911138" y="617095"/>
                    </a:lnTo>
                    <a:cubicBezTo>
                      <a:pt x="911138" y="617095"/>
                      <a:pt x="830651" y="399544"/>
                      <a:pt x="896564" y="262479"/>
                    </a:cubicBezTo>
                    <a:cubicBezTo>
                      <a:pt x="896564" y="262003"/>
                      <a:pt x="981242" y="121128"/>
                      <a:pt x="959239" y="446"/>
                    </a:cubicBezTo>
                    <a:close/>
                  </a:path>
                </a:pathLst>
              </a:custGeom>
              <a:solidFill>
                <a:srgbClr val="00993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D96918B3-3EC6-4644-8EEF-131FE3103342}"/>
                  </a:ext>
                </a:extLst>
              </p:cNvPr>
              <p:cNvSpPr/>
              <p:nvPr/>
            </p:nvSpPr>
            <p:spPr>
              <a:xfrm>
                <a:off x="3560007" y="4419530"/>
                <a:ext cx="248663" cy="529147"/>
              </a:xfrm>
              <a:custGeom>
                <a:avLst/>
                <a:gdLst>
                  <a:gd name="connsiteX0" fmla="*/ 154329 w 248663"/>
                  <a:gd name="connsiteY0" fmla="*/ 16449 h 529147"/>
                  <a:gd name="connsiteX1" fmla="*/ 70128 w 248663"/>
                  <a:gd name="connsiteY1" fmla="*/ 229809 h 529147"/>
                  <a:gd name="connsiteX2" fmla="*/ 19074 w 248663"/>
                  <a:gd name="connsiteY2" fmla="*/ 524513 h 529147"/>
                  <a:gd name="connsiteX3" fmla="*/ 73081 w 248663"/>
                  <a:gd name="connsiteY3" fmla="*/ 480888 h 529147"/>
                  <a:gd name="connsiteX4" fmla="*/ 182904 w 248663"/>
                  <a:gd name="connsiteY4" fmla="*/ 359254 h 529147"/>
                  <a:gd name="connsiteX5" fmla="*/ 190334 w 248663"/>
                  <a:gd name="connsiteY5" fmla="*/ 14925 h 529147"/>
                  <a:gd name="connsiteX6" fmla="*/ 154329 w 248663"/>
                  <a:gd name="connsiteY6" fmla="*/ 16449 h 529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8663" h="529147">
                    <a:moveTo>
                      <a:pt x="154329" y="16449"/>
                    </a:moveTo>
                    <a:cubicBezTo>
                      <a:pt x="154329" y="16449"/>
                      <a:pt x="176903" y="154752"/>
                      <a:pt x="70128" y="229809"/>
                    </a:cubicBezTo>
                    <a:cubicBezTo>
                      <a:pt x="70128" y="229809"/>
                      <a:pt x="-44172" y="350015"/>
                      <a:pt x="19074" y="524513"/>
                    </a:cubicBezTo>
                    <a:cubicBezTo>
                      <a:pt x="19074" y="524513"/>
                      <a:pt x="29647" y="550135"/>
                      <a:pt x="73081" y="480888"/>
                    </a:cubicBezTo>
                    <a:cubicBezTo>
                      <a:pt x="73081" y="480888"/>
                      <a:pt x="154329" y="375637"/>
                      <a:pt x="182904" y="359254"/>
                    </a:cubicBezTo>
                    <a:cubicBezTo>
                      <a:pt x="182904" y="359254"/>
                      <a:pt x="325779" y="232857"/>
                      <a:pt x="190334" y="14925"/>
                    </a:cubicBezTo>
                    <a:cubicBezTo>
                      <a:pt x="190334" y="14925"/>
                      <a:pt x="175284" y="-19651"/>
                      <a:pt x="154329" y="16449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6E514F58-6C67-457D-9DA0-A24352DF21B0}"/>
                  </a:ext>
                </a:extLst>
              </p:cNvPr>
              <p:cNvSpPr/>
              <p:nvPr/>
            </p:nvSpPr>
            <p:spPr>
              <a:xfrm>
                <a:off x="3297679" y="4405383"/>
                <a:ext cx="250974" cy="717633"/>
              </a:xfrm>
              <a:custGeom>
                <a:avLst/>
                <a:gdLst>
                  <a:gd name="connsiteX0" fmla="*/ 152149 w 250975"/>
                  <a:gd name="connsiteY0" fmla="*/ 500 h 717632"/>
                  <a:gd name="connsiteX1" fmla="*/ 2035 w 250975"/>
                  <a:gd name="connsiteY1" fmla="*/ 313206 h 717632"/>
                  <a:gd name="connsiteX2" fmla="*/ 94904 w 250975"/>
                  <a:gd name="connsiteY2" fmla="*/ 496657 h 717632"/>
                  <a:gd name="connsiteX3" fmla="*/ 219776 w 250975"/>
                  <a:gd name="connsiteY3" fmla="*/ 712970 h 717632"/>
                  <a:gd name="connsiteX4" fmla="*/ 248351 w 250975"/>
                  <a:gd name="connsiteY4" fmla="*/ 686014 h 717632"/>
                  <a:gd name="connsiteX5" fmla="*/ 215205 w 250975"/>
                  <a:gd name="connsiteY5" fmla="*/ 410837 h 717632"/>
                  <a:gd name="connsiteX6" fmla="*/ 149196 w 250975"/>
                  <a:gd name="connsiteY6" fmla="*/ 140327 h 717632"/>
                  <a:gd name="connsiteX7" fmla="*/ 170246 w 250975"/>
                  <a:gd name="connsiteY7" fmla="*/ 23074 h 717632"/>
                  <a:gd name="connsiteX8" fmla="*/ 152149 w 250975"/>
                  <a:gd name="connsiteY8" fmla="*/ 500 h 717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0975" h="717632">
                    <a:moveTo>
                      <a:pt x="152149" y="500"/>
                    </a:moveTo>
                    <a:cubicBezTo>
                      <a:pt x="152149" y="500"/>
                      <a:pt x="-20539" y="92226"/>
                      <a:pt x="2035" y="313206"/>
                    </a:cubicBezTo>
                    <a:cubicBezTo>
                      <a:pt x="2035" y="313206"/>
                      <a:pt x="2035" y="422839"/>
                      <a:pt x="94904" y="496657"/>
                    </a:cubicBezTo>
                    <a:cubicBezTo>
                      <a:pt x="94904" y="496657"/>
                      <a:pt x="197107" y="628960"/>
                      <a:pt x="219776" y="712970"/>
                    </a:cubicBezTo>
                    <a:cubicBezTo>
                      <a:pt x="219776" y="712970"/>
                      <a:pt x="249780" y="734211"/>
                      <a:pt x="248351" y="686014"/>
                    </a:cubicBezTo>
                    <a:cubicBezTo>
                      <a:pt x="248351" y="686014"/>
                      <a:pt x="264830" y="538663"/>
                      <a:pt x="215205" y="410837"/>
                    </a:cubicBezTo>
                    <a:cubicBezTo>
                      <a:pt x="215205" y="410837"/>
                      <a:pt x="141576" y="257580"/>
                      <a:pt x="149196" y="140327"/>
                    </a:cubicBezTo>
                    <a:cubicBezTo>
                      <a:pt x="149196" y="140327"/>
                      <a:pt x="155197" y="50125"/>
                      <a:pt x="170246" y="23074"/>
                    </a:cubicBezTo>
                    <a:cubicBezTo>
                      <a:pt x="170151" y="23074"/>
                      <a:pt x="176152" y="-3977"/>
                      <a:pt x="152149" y="5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20B6B925-DBD1-4813-AC1B-DAE53406986E}"/>
                  </a:ext>
                </a:extLst>
              </p:cNvPr>
              <p:cNvSpPr/>
              <p:nvPr/>
            </p:nvSpPr>
            <p:spPr>
              <a:xfrm>
                <a:off x="3264475" y="4248816"/>
                <a:ext cx="959736" cy="1170835"/>
              </a:xfrm>
              <a:custGeom>
                <a:avLst/>
                <a:gdLst>
                  <a:gd name="connsiteX0" fmla="*/ 639505 w 959735"/>
                  <a:gd name="connsiteY0" fmla="*/ 0 h 1170834"/>
                  <a:gd name="connsiteX1" fmla="*/ 558447 w 959735"/>
                  <a:gd name="connsiteY1" fmla="*/ 520732 h 1170834"/>
                  <a:gd name="connsiteX2" fmla="*/ 416429 w 959735"/>
                  <a:gd name="connsiteY2" fmla="*/ 834199 h 1170834"/>
                  <a:gd name="connsiteX3" fmla="*/ 21999 w 959735"/>
                  <a:gd name="connsiteY3" fmla="*/ 933260 h 1170834"/>
                  <a:gd name="connsiteX4" fmla="*/ 6188 w 959735"/>
                  <a:gd name="connsiteY4" fmla="*/ 978503 h 1170834"/>
                  <a:gd name="connsiteX5" fmla="*/ 488534 w 959735"/>
                  <a:gd name="connsiteY5" fmla="*/ 1102519 h 1170834"/>
                  <a:gd name="connsiteX6" fmla="*/ 824480 w 959735"/>
                  <a:gd name="connsiteY6" fmla="*/ 638080 h 1170834"/>
                  <a:gd name="connsiteX7" fmla="*/ 959735 w 959735"/>
                  <a:gd name="connsiteY7" fmla="*/ 209645 h 1170834"/>
                  <a:gd name="connsiteX8" fmla="*/ 639505 w 959735"/>
                  <a:gd name="connsiteY8" fmla="*/ 0 h 1170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59735" h="1170834">
                    <a:moveTo>
                      <a:pt x="639505" y="0"/>
                    </a:moveTo>
                    <a:cubicBezTo>
                      <a:pt x="639505" y="0"/>
                      <a:pt x="630551" y="362998"/>
                      <a:pt x="558447" y="520732"/>
                    </a:cubicBezTo>
                    <a:cubicBezTo>
                      <a:pt x="558447" y="520732"/>
                      <a:pt x="511108" y="721519"/>
                      <a:pt x="416429" y="834199"/>
                    </a:cubicBezTo>
                    <a:cubicBezTo>
                      <a:pt x="416429" y="834199"/>
                      <a:pt x="267649" y="1077563"/>
                      <a:pt x="21999" y="933260"/>
                    </a:cubicBezTo>
                    <a:cubicBezTo>
                      <a:pt x="21999" y="933260"/>
                      <a:pt x="-14101" y="926592"/>
                      <a:pt x="6188" y="978503"/>
                    </a:cubicBezTo>
                    <a:cubicBezTo>
                      <a:pt x="6188" y="978503"/>
                      <a:pt x="139061" y="1310069"/>
                      <a:pt x="488534" y="1102519"/>
                    </a:cubicBezTo>
                    <a:cubicBezTo>
                      <a:pt x="488534" y="1102519"/>
                      <a:pt x="734183" y="917734"/>
                      <a:pt x="824480" y="638080"/>
                    </a:cubicBezTo>
                    <a:cubicBezTo>
                      <a:pt x="824480" y="638080"/>
                      <a:pt x="959735" y="331565"/>
                      <a:pt x="959735" y="209645"/>
                    </a:cubicBezTo>
                    <a:cubicBezTo>
                      <a:pt x="959735" y="209645"/>
                      <a:pt x="783809" y="40672"/>
                      <a:pt x="63950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7E46DBE7-A98B-4229-9116-F9F43C13F7E2}"/>
                  </a:ext>
                </a:extLst>
              </p:cNvPr>
              <p:cNvSpPr/>
              <p:nvPr/>
            </p:nvSpPr>
            <p:spPr>
              <a:xfrm>
                <a:off x="2770589" y="4542090"/>
                <a:ext cx="1726515" cy="1374600"/>
              </a:xfrm>
              <a:custGeom>
                <a:avLst/>
                <a:gdLst>
                  <a:gd name="connsiteX0" fmla="*/ 605898 w 1726514"/>
                  <a:gd name="connsiteY0" fmla="*/ 421481 h 1374599"/>
                  <a:gd name="connsiteX1" fmla="*/ 98882 w 1726514"/>
                  <a:gd name="connsiteY1" fmla="*/ 500539 h 1374599"/>
                  <a:gd name="connsiteX2" fmla="*/ 290525 w 1726514"/>
                  <a:gd name="connsiteY2" fmla="*/ 1282732 h 1374599"/>
                  <a:gd name="connsiteX3" fmla="*/ 1230452 w 1726514"/>
                  <a:gd name="connsiteY3" fmla="*/ 1165479 h 1374599"/>
                  <a:gd name="connsiteX4" fmla="*/ 1670126 w 1726514"/>
                  <a:gd name="connsiteY4" fmla="*/ 579501 h 1374599"/>
                  <a:gd name="connsiteX5" fmla="*/ 1726514 w 1726514"/>
                  <a:gd name="connsiteY5" fmla="*/ 500634 h 1374599"/>
                  <a:gd name="connsiteX6" fmla="*/ 1518965 w 1726514"/>
                  <a:gd name="connsiteY6" fmla="*/ 0 h 1374599"/>
                  <a:gd name="connsiteX7" fmla="*/ 1343228 w 1726514"/>
                  <a:gd name="connsiteY7" fmla="*/ 450913 h 1374599"/>
                  <a:gd name="connsiteX8" fmla="*/ 894506 w 1726514"/>
                  <a:gd name="connsiteY8" fmla="*/ 926592 h 1374599"/>
                  <a:gd name="connsiteX9" fmla="*/ 376155 w 1726514"/>
                  <a:gd name="connsiteY9" fmla="*/ 687514 h 1374599"/>
                  <a:gd name="connsiteX10" fmla="*/ 594659 w 1726514"/>
                  <a:gd name="connsiteY10" fmla="*/ 439674 h 1374599"/>
                  <a:gd name="connsiteX11" fmla="*/ 605898 w 1726514"/>
                  <a:gd name="connsiteY11" fmla="*/ 421481 h 1374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726514" h="1374599">
                    <a:moveTo>
                      <a:pt x="605898" y="421481"/>
                    </a:moveTo>
                    <a:cubicBezTo>
                      <a:pt x="605898" y="421481"/>
                      <a:pt x="457403" y="123825"/>
                      <a:pt x="98882" y="500539"/>
                    </a:cubicBezTo>
                    <a:cubicBezTo>
                      <a:pt x="98882" y="500539"/>
                      <a:pt x="-221253" y="978408"/>
                      <a:pt x="290525" y="1282732"/>
                    </a:cubicBezTo>
                    <a:cubicBezTo>
                      <a:pt x="290525" y="1282732"/>
                      <a:pt x="680384" y="1553432"/>
                      <a:pt x="1230452" y="1165479"/>
                    </a:cubicBezTo>
                    <a:cubicBezTo>
                      <a:pt x="1230452" y="1165479"/>
                      <a:pt x="1516774" y="960215"/>
                      <a:pt x="1670126" y="579501"/>
                    </a:cubicBezTo>
                    <a:lnTo>
                      <a:pt x="1726514" y="500634"/>
                    </a:lnTo>
                    <a:cubicBezTo>
                      <a:pt x="1726514" y="500634"/>
                      <a:pt x="1699463" y="162306"/>
                      <a:pt x="1518965" y="0"/>
                    </a:cubicBezTo>
                    <a:cubicBezTo>
                      <a:pt x="1518965" y="0"/>
                      <a:pt x="1395044" y="360712"/>
                      <a:pt x="1343228" y="450913"/>
                    </a:cubicBezTo>
                    <a:cubicBezTo>
                      <a:pt x="1343228" y="450913"/>
                      <a:pt x="1158348" y="811530"/>
                      <a:pt x="894506" y="926592"/>
                    </a:cubicBezTo>
                    <a:cubicBezTo>
                      <a:pt x="894506" y="926592"/>
                      <a:pt x="362630" y="1149763"/>
                      <a:pt x="376155" y="687514"/>
                    </a:cubicBezTo>
                    <a:cubicBezTo>
                      <a:pt x="387490" y="687514"/>
                      <a:pt x="389681" y="516350"/>
                      <a:pt x="594659" y="439674"/>
                    </a:cubicBezTo>
                    <a:cubicBezTo>
                      <a:pt x="594563" y="439484"/>
                      <a:pt x="603707" y="443960"/>
                      <a:pt x="605898" y="42148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07" name="图形 7">
                <a:extLst>
                  <a:ext uri="{FF2B5EF4-FFF2-40B4-BE49-F238E27FC236}">
                    <a16:creationId xmlns:a16="http://schemas.microsoft.com/office/drawing/2014/main" id="{0D82E641-49F4-432C-84BC-C46563B3FD10}"/>
                  </a:ext>
                </a:extLst>
              </p:cNvPr>
              <p:cNvGrpSpPr/>
              <p:nvPr/>
            </p:nvGrpSpPr>
            <p:grpSpPr>
              <a:xfrm>
                <a:off x="2202912" y="5095777"/>
                <a:ext cx="2740057" cy="1362469"/>
                <a:chOff x="2202910" y="5095779"/>
                <a:chExt cx="2740056" cy="1362468"/>
              </a:xfrm>
            </p:grpSpPr>
            <p:sp>
              <p:nvSpPr>
                <p:cNvPr id="108" name="任意多边形: 形状 107">
                  <a:extLst>
                    <a:ext uri="{FF2B5EF4-FFF2-40B4-BE49-F238E27FC236}">
                      <a16:creationId xmlns:a16="http://schemas.microsoft.com/office/drawing/2014/main" id="{49461B75-8E94-4A44-9B56-6161AA076B85}"/>
                    </a:ext>
                  </a:extLst>
                </p:cNvPr>
                <p:cNvSpPr/>
                <p:nvPr/>
              </p:nvSpPr>
              <p:spPr>
                <a:xfrm>
                  <a:off x="2202910" y="5095779"/>
                  <a:ext cx="201871" cy="195891"/>
                </a:xfrm>
                <a:custGeom>
                  <a:avLst/>
                  <a:gdLst>
                    <a:gd name="connsiteX0" fmla="*/ 169736 w 201871"/>
                    <a:gd name="connsiteY0" fmla="*/ 0 h 195891"/>
                    <a:gd name="connsiteX1" fmla="*/ 192405 w 201871"/>
                    <a:gd name="connsiteY1" fmla="*/ 126016 h 195891"/>
                    <a:gd name="connsiteX2" fmla="*/ 184785 w 201871"/>
                    <a:gd name="connsiteY2" fmla="*/ 126016 h 195891"/>
                    <a:gd name="connsiteX3" fmla="*/ 31528 w 201871"/>
                    <a:gd name="connsiteY3" fmla="*/ 162115 h 195891"/>
                    <a:gd name="connsiteX4" fmla="*/ 28575 w 201871"/>
                    <a:gd name="connsiteY4" fmla="*/ 175641 h 195891"/>
                    <a:gd name="connsiteX5" fmla="*/ 36195 w 201871"/>
                    <a:gd name="connsiteY5" fmla="*/ 184594 h 195891"/>
                    <a:gd name="connsiteX6" fmla="*/ 193929 w 201871"/>
                    <a:gd name="connsiteY6" fmla="*/ 156019 h 195891"/>
                    <a:gd name="connsiteX7" fmla="*/ 198406 w 201871"/>
                    <a:gd name="connsiteY7" fmla="*/ 158972 h 195891"/>
                    <a:gd name="connsiteX8" fmla="*/ 201454 w 201871"/>
                    <a:gd name="connsiteY8" fmla="*/ 181546 h 195891"/>
                    <a:gd name="connsiteX9" fmla="*/ 195453 w 201871"/>
                    <a:gd name="connsiteY9" fmla="*/ 181546 h 195891"/>
                    <a:gd name="connsiteX10" fmla="*/ 16669 w 201871"/>
                    <a:gd name="connsiteY10" fmla="*/ 181546 h 195891"/>
                    <a:gd name="connsiteX11" fmla="*/ 12097 w 201871"/>
                    <a:gd name="connsiteY11" fmla="*/ 157543 h 195891"/>
                    <a:gd name="connsiteX12" fmla="*/ 174498 w 201871"/>
                    <a:gd name="connsiteY12" fmla="*/ 88297 h 195891"/>
                    <a:gd name="connsiteX13" fmla="*/ 172974 w 201871"/>
                    <a:gd name="connsiteY13" fmla="*/ 85249 h 195891"/>
                    <a:gd name="connsiteX14" fmla="*/ 141351 w 201871"/>
                    <a:gd name="connsiteY14" fmla="*/ 83820 h 195891"/>
                    <a:gd name="connsiteX15" fmla="*/ 141351 w 201871"/>
                    <a:gd name="connsiteY15" fmla="*/ 82296 h 195891"/>
                    <a:gd name="connsiteX16" fmla="*/ 141351 w 201871"/>
                    <a:gd name="connsiteY16" fmla="*/ 77724 h 195891"/>
                    <a:gd name="connsiteX17" fmla="*/ 171545 w 201871"/>
                    <a:gd name="connsiteY17" fmla="*/ 44767 h 195891"/>
                    <a:gd name="connsiteX18" fmla="*/ 163925 w 201871"/>
                    <a:gd name="connsiteY18" fmla="*/ 34290 h 195891"/>
                    <a:gd name="connsiteX19" fmla="*/ 100774 w 201871"/>
                    <a:gd name="connsiteY19" fmla="*/ 44767 h 195891"/>
                    <a:gd name="connsiteX20" fmla="*/ 102298 w 201871"/>
                    <a:gd name="connsiteY20" fmla="*/ 52292 h 195891"/>
                    <a:gd name="connsiteX21" fmla="*/ 135350 w 201871"/>
                    <a:gd name="connsiteY21" fmla="*/ 59817 h 195891"/>
                    <a:gd name="connsiteX22" fmla="*/ 58674 w 201871"/>
                    <a:gd name="connsiteY22" fmla="*/ 74771 h 195891"/>
                    <a:gd name="connsiteX23" fmla="*/ 57150 w 201871"/>
                    <a:gd name="connsiteY23" fmla="*/ 68771 h 195891"/>
                    <a:gd name="connsiteX24" fmla="*/ 85630 w 201871"/>
                    <a:gd name="connsiteY24" fmla="*/ 47815 h 195891"/>
                    <a:gd name="connsiteX25" fmla="*/ 82582 w 201871"/>
                    <a:gd name="connsiteY25" fmla="*/ 43339 h 195891"/>
                    <a:gd name="connsiteX26" fmla="*/ 8953 w 201871"/>
                    <a:gd name="connsiteY26" fmla="*/ 62770 h 195891"/>
                    <a:gd name="connsiteX27" fmla="*/ 2953 w 201871"/>
                    <a:gd name="connsiteY27" fmla="*/ 61341 h 195891"/>
                    <a:gd name="connsiteX28" fmla="*/ 0 w 201871"/>
                    <a:gd name="connsiteY28" fmla="*/ 20669 h 195891"/>
                    <a:gd name="connsiteX29" fmla="*/ 1619 w 201871"/>
                    <a:gd name="connsiteY29" fmla="*/ 19145 h 195891"/>
                    <a:gd name="connsiteX30" fmla="*/ 169736 w 201871"/>
                    <a:gd name="connsiteY30" fmla="*/ 0 h 1958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201871" h="195891">
                      <a:moveTo>
                        <a:pt x="169736" y="0"/>
                      </a:moveTo>
                      <a:cubicBezTo>
                        <a:pt x="179546" y="8287"/>
                        <a:pt x="189833" y="106299"/>
                        <a:pt x="192405" y="126016"/>
                      </a:cubicBezTo>
                      <a:lnTo>
                        <a:pt x="184785" y="126016"/>
                      </a:lnTo>
                      <a:cubicBezTo>
                        <a:pt x="157829" y="115633"/>
                        <a:pt x="40481" y="146018"/>
                        <a:pt x="31528" y="162115"/>
                      </a:cubicBezTo>
                      <a:cubicBezTo>
                        <a:pt x="30671" y="166783"/>
                        <a:pt x="29527" y="171259"/>
                        <a:pt x="28575" y="175641"/>
                      </a:cubicBezTo>
                      <a:cubicBezTo>
                        <a:pt x="31147" y="178689"/>
                        <a:pt x="33623" y="181642"/>
                        <a:pt x="36195" y="184594"/>
                      </a:cubicBezTo>
                      <a:cubicBezTo>
                        <a:pt x="80296" y="194405"/>
                        <a:pt x="164783" y="179451"/>
                        <a:pt x="193929" y="156019"/>
                      </a:cubicBezTo>
                      <a:cubicBezTo>
                        <a:pt x="198406" y="157829"/>
                        <a:pt x="195739" y="156019"/>
                        <a:pt x="198406" y="158972"/>
                      </a:cubicBezTo>
                      <a:cubicBezTo>
                        <a:pt x="202311" y="166211"/>
                        <a:pt x="202216" y="173069"/>
                        <a:pt x="201454" y="181546"/>
                      </a:cubicBezTo>
                      <a:lnTo>
                        <a:pt x="195453" y="181546"/>
                      </a:lnTo>
                      <a:cubicBezTo>
                        <a:pt x="159829" y="161639"/>
                        <a:pt x="70771" y="222123"/>
                        <a:pt x="16669" y="181546"/>
                      </a:cubicBezTo>
                      <a:cubicBezTo>
                        <a:pt x="15145" y="173450"/>
                        <a:pt x="13716" y="165449"/>
                        <a:pt x="12097" y="157543"/>
                      </a:cubicBezTo>
                      <a:cubicBezTo>
                        <a:pt x="21812" y="99822"/>
                        <a:pt x="128588" y="110776"/>
                        <a:pt x="174498" y="88297"/>
                      </a:cubicBezTo>
                      <a:cubicBezTo>
                        <a:pt x="174022" y="87344"/>
                        <a:pt x="173450" y="86201"/>
                        <a:pt x="172974" y="85249"/>
                      </a:cubicBezTo>
                      <a:cubicBezTo>
                        <a:pt x="160687" y="86677"/>
                        <a:pt x="150400" y="88106"/>
                        <a:pt x="141351" y="83820"/>
                      </a:cubicBezTo>
                      <a:lnTo>
                        <a:pt x="141351" y="82296"/>
                      </a:lnTo>
                      <a:lnTo>
                        <a:pt x="141351" y="77724"/>
                      </a:lnTo>
                      <a:cubicBezTo>
                        <a:pt x="158115" y="70675"/>
                        <a:pt x="167830" y="65246"/>
                        <a:pt x="171545" y="44767"/>
                      </a:cubicBezTo>
                      <a:cubicBezTo>
                        <a:pt x="169069" y="41338"/>
                        <a:pt x="166497" y="37909"/>
                        <a:pt x="163925" y="34290"/>
                      </a:cubicBezTo>
                      <a:cubicBezTo>
                        <a:pt x="144018" y="35528"/>
                        <a:pt x="116491" y="35623"/>
                        <a:pt x="100774" y="44767"/>
                      </a:cubicBezTo>
                      <a:cubicBezTo>
                        <a:pt x="101346" y="47339"/>
                        <a:pt x="101822" y="49911"/>
                        <a:pt x="102298" y="52292"/>
                      </a:cubicBezTo>
                      <a:cubicBezTo>
                        <a:pt x="113062" y="55912"/>
                        <a:pt x="119253" y="59817"/>
                        <a:pt x="135350" y="59817"/>
                      </a:cubicBezTo>
                      <a:cubicBezTo>
                        <a:pt x="130302" y="70961"/>
                        <a:pt x="72580" y="73628"/>
                        <a:pt x="58674" y="74771"/>
                      </a:cubicBezTo>
                      <a:cubicBezTo>
                        <a:pt x="58198" y="72961"/>
                        <a:pt x="57626" y="70771"/>
                        <a:pt x="57150" y="68771"/>
                      </a:cubicBezTo>
                      <a:cubicBezTo>
                        <a:pt x="72295" y="66008"/>
                        <a:pt x="80391" y="60579"/>
                        <a:pt x="85630" y="47815"/>
                      </a:cubicBezTo>
                      <a:cubicBezTo>
                        <a:pt x="84677" y="46292"/>
                        <a:pt x="83725" y="44672"/>
                        <a:pt x="82582" y="43339"/>
                      </a:cubicBezTo>
                      <a:cubicBezTo>
                        <a:pt x="59246" y="42672"/>
                        <a:pt x="16383" y="46387"/>
                        <a:pt x="8953" y="62770"/>
                      </a:cubicBezTo>
                      <a:cubicBezTo>
                        <a:pt x="7048" y="62293"/>
                        <a:pt x="5048" y="61722"/>
                        <a:pt x="2953" y="61341"/>
                      </a:cubicBezTo>
                      <a:cubicBezTo>
                        <a:pt x="2096" y="47815"/>
                        <a:pt x="1048" y="34195"/>
                        <a:pt x="0" y="20669"/>
                      </a:cubicBezTo>
                      <a:lnTo>
                        <a:pt x="1619" y="19145"/>
                      </a:lnTo>
                      <a:cubicBezTo>
                        <a:pt x="34576" y="25146"/>
                        <a:pt x="152019" y="19145"/>
                        <a:pt x="169736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9" name="任意多边形: 形状 108">
                  <a:extLst>
                    <a:ext uri="{FF2B5EF4-FFF2-40B4-BE49-F238E27FC236}">
                      <a16:creationId xmlns:a16="http://schemas.microsoft.com/office/drawing/2014/main" id="{A5572CB1-7BC3-4094-97FD-045DF3EF2D37}"/>
                    </a:ext>
                  </a:extLst>
                </p:cNvPr>
                <p:cNvSpPr/>
                <p:nvPr/>
              </p:nvSpPr>
              <p:spPr>
                <a:xfrm>
                  <a:off x="4732464" y="5115210"/>
                  <a:ext cx="210502" cy="205740"/>
                </a:xfrm>
                <a:custGeom>
                  <a:avLst/>
                  <a:gdLst>
                    <a:gd name="connsiteX0" fmla="*/ 28766 w 210502"/>
                    <a:gd name="connsiteY0" fmla="*/ 0 h 205740"/>
                    <a:gd name="connsiteX1" fmla="*/ 127921 w 210502"/>
                    <a:gd name="connsiteY1" fmla="*/ 49530 h 205740"/>
                    <a:gd name="connsiteX2" fmla="*/ 192596 w 210502"/>
                    <a:gd name="connsiteY2" fmla="*/ 57150 h 205740"/>
                    <a:gd name="connsiteX3" fmla="*/ 202978 w 210502"/>
                    <a:gd name="connsiteY3" fmla="*/ 46577 h 205740"/>
                    <a:gd name="connsiteX4" fmla="*/ 210503 w 210502"/>
                    <a:gd name="connsiteY4" fmla="*/ 52578 h 205740"/>
                    <a:gd name="connsiteX5" fmla="*/ 204502 w 210502"/>
                    <a:gd name="connsiteY5" fmla="*/ 96012 h 205740"/>
                    <a:gd name="connsiteX6" fmla="*/ 202978 w 210502"/>
                    <a:gd name="connsiteY6" fmla="*/ 96012 h 205740"/>
                    <a:gd name="connsiteX7" fmla="*/ 184976 w 210502"/>
                    <a:gd name="connsiteY7" fmla="*/ 82582 h 205740"/>
                    <a:gd name="connsiteX8" fmla="*/ 36195 w 210502"/>
                    <a:gd name="connsiteY8" fmla="*/ 100584 h 205740"/>
                    <a:gd name="connsiteX9" fmla="*/ 36195 w 210502"/>
                    <a:gd name="connsiteY9" fmla="*/ 102013 h 205740"/>
                    <a:gd name="connsiteX10" fmla="*/ 39243 w 210502"/>
                    <a:gd name="connsiteY10" fmla="*/ 102013 h 205740"/>
                    <a:gd name="connsiteX11" fmla="*/ 69342 w 210502"/>
                    <a:gd name="connsiteY11" fmla="*/ 114109 h 205740"/>
                    <a:gd name="connsiteX12" fmla="*/ 66294 w 210502"/>
                    <a:gd name="connsiteY12" fmla="*/ 114109 h 205740"/>
                    <a:gd name="connsiteX13" fmla="*/ 22670 w 210502"/>
                    <a:gd name="connsiteY13" fmla="*/ 130588 h 205740"/>
                    <a:gd name="connsiteX14" fmla="*/ 27051 w 210502"/>
                    <a:gd name="connsiteY14" fmla="*/ 135160 h 205740"/>
                    <a:gd name="connsiteX15" fmla="*/ 193929 w 210502"/>
                    <a:gd name="connsiteY15" fmla="*/ 156210 h 205740"/>
                    <a:gd name="connsiteX16" fmla="*/ 198501 w 210502"/>
                    <a:gd name="connsiteY16" fmla="*/ 162211 h 205740"/>
                    <a:gd name="connsiteX17" fmla="*/ 186500 w 210502"/>
                    <a:gd name="connsiteY17" fmla="*/ 205740 h 205740"/>
                    <a:gd name="connsiteX18" fmla="*/ 183547 w 210502"/>
                    <a:gd name="connsiteY18" fmla="*/ 205740 h 205740"/>
                    <a:gd name="connsiteX19" fmla="*/ 16669 w 210502"/>
                    <a:gd name="connsiteY19" fmla="*/ 162211 h 205740"/>
                    <a:gd name="connsiteX20" fmla="*/ 16669 w 210502"/>
                    <a:gd name="connsiteY20" fmla="*/ 171259 h 205740"/>
                    <a:gd name="connsiteX21" fmla="*/ 46672 w 210502"/>
                    <a:gd name="connsiteY21" fmla="*/ 198311 h 205740"/>
                    <a:gd name="connsiteX22" fmla="*/ 40577 w 210502"/>
                    <a:gd name="connsiteY22" fmla="*/ 198311 h 205740"/>
                    <a:gd name="connsiteX23" fmla="*/ 0 w 210502"/>
                    <a:gd name="connsiteY23" fmla="*/ 184975 h 205740"/>
                    <a:gd name="connsiteX24" fmla="*/ 24003 w 210502"/>
                    <a:gd name="connsiteY24" fmla="*/ 54197 h 205740"/>
                    <a:gd name="connsiteX25" fmla="*/ 102203 w 210502"/>
                    <a:gd name="connsiteY25" fmla="*/ 54197 h 205740"/>
                    <a:gd name="connsiteX26" fmla="*/ 102203 w 210502"/>
                    <a:gd name="connsiteY26" fmla="*/ 49530 h 205740"/>
                    <a:gd name="connsiteX27" fmla="*/ 26956 w 210502"/>
                    <a:gd name="connsiteY27" fmla="*/ 33052 h 205740"/>
                    <a:gd name="connsiteX28" fmla="*/ 23908 w 210502"/>
                    <a:gd name="connsiteY28" fmla="*/ 31528 h 205740"/>
                    <a:gd name="connsiteX29" fmla="*/ 22479 w 210502"/>
                    <a:gd name="connsiteY29" fmla="*/ 28575 h 205740"/>
                    <a:gd name="connsiteX30" fmla="*/ 28766 w 210502"/>
                    <a:gd name="connsiteY30" fmla="*/ 0 h 205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210502" h="205740">
                      <a:moveTo>
                        <a:pt x="28766" y="0"/>
                      </a:moveTo>
                      <a:cubicBezTo>
                        <a:pt x="61817" y="16574"/>
                        <a:pt x="94869" y="33147"/>
                        <a:pt x="127921" y="49530"/>
                      </a:cubicBezTo>
                      <a:cubicBezTo>
                        <a:pt x="149447" y="52197"/>
                        <a:pt x="170974" y="54483"/>
                        <a:pt x="192596" y="57150"/>
                      </a:cubicBezTo>
                      <a:cubicBezTo>
                        <a:pt x="196596" y="56293"/>
                        <a:pt x="200501" y="47339"/>
                        <a:pt x="202978" y="46577"/>
                      </a:cubicBezTo>
                      <a:cubicBezTo>
                        <a:pt x="208883" y="45053"/>
                        <a:pt x="208502" y="50197"/>
                        <a:pt x="210503" y="52578"/>
                      </a:cubicBezTo>
                      <a:cubicBezTo>
                        <a:pt x="208502" y="66961"/>
                        <a:pt x="206502" y="81534"/>
                        <a:pt x="204502" y="96012"/>
                      </a:cubicBezTo>
                      <a:lnTo>
                        <a:pt x="202978" y="96012"/>
                      </a:lnTo>
                      <a:cubicBezTo>
                        <a:pt x="197072" y="91630"/>
                        <a:pt x="190881" y="87058"/>
                        <a:pt x="184976" y="82582"/>
                      </a:cubicBezTo>
                      <a:cubicBezTo>
                        <a:pt x="152781" y="72866"/>
                        <a:pt x="51435" y="83725"/>
                        <a:pt x="36195" y="100584"/>
                      </a:cubicBezTo>
                      <a:lnTo>
                        <a:pt x="36195" y="102013"/>
                      </a:lnTo>
                      <a:lnTo>
                        <a:pt x="39243" y="102013"/>
                      </a:lnTo>
                      <a:cubicBezTo>
                        <a:pt x="49816" y="106013"/>
                        <a:pt x="64389" y="104108"/>
                        <a:pt x="69342" y="114109"/>
                      </a:cubicBezTo>
                      <a:lnTo>
                        <a:pt x="66294" y="114109"/>
                      </a:lnTo>
                      <a:cubicBezTo>
                        <a:pt x="47339" y="119444"/>
                        <a:pt x="34576" y="114967"/>
                        <a:pt x="22670" y="130588"/>
                      </a:cubicBezTo>
                      <a:cubicBezTo>
                        <a:pt x="24670" y="133541"/>
                        <a:pt x="24098" y="133159"/>
                        <a:pt x="27051" y="135160"/>
                      </a:cubicBezTo>
                      <a:cubicBezTo>
                        <a:pt x="53626" y="147352"/>
                        <a:pt x="168878" y="169736"/>
                        <a:pt x="193929" y="156210"/>
                      </a:cubicBezTo>
                      <a:cubicBezTo>
                        <a:pt x="195453" y="158020"/>
                        <a:pt x="196977" y="160115"/>
                        <a:pt x="198501" y="162211"/>
                      </a:cubicBezTo>
                      <a:cubicBezTo>
                        <a:pt x="194882" y="175355"/>
                        <a:pt x="194501" y="196596"/>
                        <a:pt x="186500" y="205740"/>
                      </a:cubicBezTo>
                      <a:lnTo>
                        <a:pt x="183547" y="205740"/>
                      </a:lnTo>
                      <a:cubicBezTo>
                        <a:pt x="170783" y="180689"/>
                        <a:pt x="56483" y="164592"/>
                        <a:pt x="16669" y="162211"/>
                      </a:cubicBezTo>
                      <a:lnTo>
                        <a:pt x="16669" y="171259"/>
                      </a:lnTo>
                      <a:cubicBezTo>
                        <a:pt x="23527" y="184880"/>
                        <a:pt x="41624" y="184690"/>
                        <a:pt x="46672" y="198311"/>
                      </a:cubicBezTo>
                      <a:lnTo>
                        <a:pt x="40577" y="198311"/>
                      </a:lnTo>
                      <a:cubicBezTo>
                        <a:pt x="26289" y="193834"/>
                        <a:pt x="8096" y="195834"/>
                        <a:pt x="0" y="184975"/>
                      </a:cubicBezTo>
                      <a:cubicBezTo>
                        <a:pt x="6287" y="160211"/>
                        <a:pt x="12668" y="64865"/>
                        <a:pt x="24003" y="54197"/>
                      </a:cubicBezTo>
                      <a:cubicBezTo>
                        <a:pt x="41529" y="71628"/>
                        <a:pt x="74771" y="61055"/>
                        <a:pt x="102203" y="54197"/>
                      </a:cubicBezTo>
                      <a:lnTo>
                        <a:pt x="102203" y="49530"/>
                      </a:lnTo>
                      <a:cubicBezTo>
                        <a:pt x="80486" y="41053"/>
                        <a:pt x="51054" y="11906"/>
                        <a:pt x="26956" y="33052"/>
                      </a:cubicBezTo>
                      <a:cubicBezTo>
                        <a:pt x="26003" y="32575"/>
                        <a:pt x="24955" y="32004"/>
                        <a:pt x="23908" y="31528"/>
                      </a:cubicBezTo>
                      <a:cubicBezTo>
                        <a:pt x="23432" y="30671"/>
                        <a:pt x="23051" y="29718"/>
                        <a:pt x="22479" y="28575"/>
                      </a:cubicBezTo>
                      <a:cubicBezTo>
                        <a:pt x="22955" y="18193"/>
                        <a:pt x="24384" y="6382"/>
                        <a:pt x="28766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0" name="任意多边形: 形状 109">
                  <a:extLst>
                    <a:ext uri="{FF2B5EF4-FFF2-40B4-BE49-F238E27FC236}">
                      <a16:creationId xmlns:a16="http://schemas.microsoft.com/office/drawing/2014/main" id="{D5BC0EFB-876B-423C-A318-84940960E5D7}"/>
                    </a:ext>
                  </a:extLst>
                </p:cNvPr>
                <p:cNvSpPr/>
                <p:nvPr/>
              </p:nvSpPr>
              <p:spPr>
                <a:xfrm>
                  <a:off x="2215007" y="5309139"/>
                  <a:ext cx="217182" cy="141255"/>
                </a:xfrm>
                <a:custGeom>
                  <a:avLst/>
                  <a:gdLst>
                    <a:gd name="connsiteX0" fmla="*/ 192310 w 217182"/>
                    <a:gd name="connsiteY0" fmla="*/ 0 h 141255"/>
                    <a:gd name="connsiteX1" fmla="*/ 216313 w 217182"/>
                    <a:gd name="connsiteY1" fmla="*/ 96203 h 141255"/>
                    <a:gd name="connsiteX2" fmla="*/ 66103 w 217182"/>
                    <a:gd name="connsiteY2" fmla="*/ 127730 h 141255"/>
                    <a:gd name="connsiteX3" fmla="*/ 49530 w 217182"/>
                    <a:gd name="connsiteY3" fmla="*/ 141256 h 141255"/>
                    <a:gd name="connsiteX4" fmla="*/ 46577 w 217182"/>
                    <a:gd name="connsiteY4" fmla="*/ 139732 h 141255"/>
                    <a:gd name="connsiteX5" fmla="*/ 42100 w 217182"/>
                    <a:gd name="connsiteY5" fmla="*/ 100775 h 141255"/>
                    <a:gd name="connsiteX6" fmla="*/ 201359 w 217182"/>
                    <a:gd name="connsiteY6" fmla="*/ 51149 h 141255"/>
                    <a:gd name="connsiteX7" fmla="*/ 10573 w 217182"/>
                    <a:gd name="connsiteY7" fmla="*/ 61627 h 141255"/>
                    <a:gd name="connsiteX8" fmla="*/ 0 w 217182"/>
                    <a:gd name="connsiteY8" fmla="*/ 34576 h 141255"/>
                    <a:gd name="connsiteX9" fmla="*/ 27051 w 217182"/>
                    <a:gd name="connsiteY9" fmla="*/ 12001 h 141255"/>
                    <a:gd name="connsiteX10" fmla="*/ 46577 w 217182"/>
                    <a:gd name="connsiteY10" fmla="*/ 18002 h 141255"/>
                    <a:gd name="connsiteX11" fmla="*/ 48101 w 217182"/>
                    <a:gd name="connsiteY11" fmla="*/ 21050 h 141255"/>
                    <a:gd name="connsiteX12" fmla="*/ 46577 w 217182"/>
                    <a:gd name="connsiteY12" fmla="*/ 25527 h 141255"/>
                    <a:gd name="connsiteX13" fmla="*/ 15049 w 217182"/>
                    <a:gd name="connsiteY13" fmla="*/ 37529 h 141255"/>
                    <a:gd name="connsiteX14" fmla="*/ 12001 w 217182"/>
                    <a:gd name="connsiteY14" fmla="*/ 43529 h 141255"/>
                    <a:gd name="connsiteX15" fmla="*/ 15049 w 217182"/>
                    <a:gd name="connsiteY15" fmla="*/ 46672 h 141255"/>
                    <a:gd name="connsiteX16" fmla="*/ 192310 w 217182"/>
                    <a:gd name="connsiteY16" fmla="*/ 0 h 1412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217182" h="141255">
                      <a:moveTo>
                        <a:pt x="192310" y="0"/>
                      </a:moveTo>
                      <a:cubicBezTo>
                        <a:pt x="201073" y="4000"/>
                        <a:pt x="221647" y="88487"/>
                        <a:pt x="216313" y="96203"/>
                      </a:cubicBezTo>
                      <a:cubicBezTo>
                        <a:pt x="197453" y="83820"/>
                        <a:pt x="88201" y="116586"/>
                        <a:pt x="66103" y="127730"/>
                      </a:cubicBezTo>
                      <a:cubicBezTo>
                        <a:pt x="58865" y="131540"/>
                        <a:pt x="57436" y="138017"/>
                        <a:pt x="49530" y="141256"/>
                      </a:cubicBezTo>
                      <a:cubicBezTo>
                        <a:pt x="48577" y="140779"/>
                        <a:pt x="47625" y="140303"/>
                        <a:pt x="46577" y="139732"/>
                      </a:cubicBezTo>
                      <a:cubicBezTo>
                        <a:pt x="44291" y="126016"/>
                        <a:pt x="36481" y="113252"/>
                        <a:pt x="42100" y="100775"/>
                      </a:cubicBezTo>
                      <a:cubicBezTo>
                        <a:pt x="69342" y="107633"/>
                        <a:pt x="190786" y="73724"/>
                        <a:pt x="201359" y="51149"/>
                      </a:cubicBezTo>
                      <a:cubicBezTo>
                        <a:pt x="183356" y="10478"/>
                        <a:pt x="49816" y="94869"/>
                        <a:pt x="10573" y="61627"/>
                      </a:cubicBezTo>
                      <a:cubicBezTo>
                        <a:pt x="2191" y="56674"/>
                        <a:pt x="191" y="47530"/>
                        <a:pt x="0" y="34576"/>
                      </a:cubicBezTo>
                      <a:cubicBezTo>
                        <a:pt x="8382" y="24575"/>
                        <a:pt x="15621" y="19145"/>
                        <a:pt x="27051" y="12001"/>
                      </a:cubicBezTo>
                      <a:cubicBezTo>
                        <a:pt x="38576" y="11811"/>
                        <a:pt x="40481" y="13716"/>
                        <a:pt x="46577" y="18002"/>
                      </a:cubicBezTo>
                      <a:cubicBezTo>
                        <a:pt x="47053" y="19050"/>
                        <a:pt x="47625" y="19907"/>
                        <a:pt x="48101" y="21050"/>
                      </a:cubicBezTo>
                      <a:cubicBezTo>
                        <a:pt x="47530" y="22479"/>
                        <a:pt x="46958" y="24003"/>
                        <a:pt x="46577" y="25527"/>
                      </a:cubicBezTo>
                      <a:cubicBezTo>
                        <a:pt x="39148" y="30861"/>
                        <a:pt x="23527" y="31528"/>
                        <a:pt x="15049" y="37529"/>
                      </a:cubicBezTo>
                      <a:cubicBezTo>
                        <a:pt x="12001" y="40481"/>
                        <a:pt x="13525" y="38100"/>
                        <a:pt x="12001" y="43529"/>
                      </a:cubicBezTo>
                      <a:cubicBezTo>
                        <a:pt x="13144" y="44672"/>
                        <a:pt x="14002" y="45529"/>
                        <a:pt x="15049" y="46672"/>
                      </a:cubicBezTo>
                      <a:cubicBezTo>
                        <a:pt x="39052" y="49340"/>
                        <a:pt x="186023" y="13621"/>
                        <a:pt x="192310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1" name="任意多边形: 形状 110">
                  <a:extLst>
                    <a:ext uri="{FF2B5EF4-FFF2-40B4-BE49-F238E27FC236}">
                      <a16:creationId xmlns:a16="http://schemas.microsoft.com/office/drawing/2014/main" id="{2D3C8930-6391-4D9A-84A8-2D5B7A8DBDBD}"/>
                    </a:ext>
                  </a:extLst>
                </p:cNvPr>
                <p:cNvSpPr/>
                <p:nvPr/>
              </p:nvSpPr>
              <p:spPr>
                <a:xfrm>
                  <a:off x="4717891" y="5316664"/>
                  <a:ext cx="193738" cy="90011"/>
                </a:xfrm>
                <a:custGeom>
                  <a:avLst/>
                  <a:gdLst>
                    <a:gd name="connsiteX0" fmla="*/ 10287 w 193738"/>
                    <a:gd name="connsiteY0" fmla="*/ 0 h 90011"/>
                    <a:gd name="connsiteX1" fmla="*/ 17812 w 193738"/>
                    <a:gd name="connsiteY1" fmla="*/ 0 h 90011"/>
                    <a:gd name="connsiteX2" fmla="*/ 169640 w 193738"/>
                    <a:gd name="connsiteY2" fmla="*/ 49625 h 90011"/>
                    <a:gd name="connsiteX3" fmla="*/ 192310 w 193738"/>
                    <a:gd name="connsiteY3" fmla="*/ 40481 h 90011"/>
                    <a:gd name="connsiteX4" fmla="*/ 193738 w 193738"/>
                    <a:gd name="connsiteY4" fmla="*/ 42005 h 90011"/>
                    <a:gd name="connsiteX5" fmla="*/ 183261 w 193738"/>
                    <a:gd name="connsiteY5" fmla="*/ 88487 h 90011"/>
                    <a:gd name="connsiteX6" fmla="*/ 177260 w 193738"/>
                    <a:gd name="connsiteY6" fmla="*/ 90011 h 90011"/>
                    <a:gd name="connsiteX7" fmla="*/ 169736 w 193738"/>
                    <a:gd name="connsiteY7" fmla="*/ 76391 h 90011"/>
                    <a:gd name="connsiteX8" fmla="*/ 13526 w 193738"/>
                    <a:gd name="connsiteY8" fmla="*/ 41910 h 90011"/>
                    <a:gd name="connsiteX9" fmla="*/ 2953 w 193738"/>
                    <a:gd name="connsiteY9" fmla="*/ 49435 h 90011"/>
                    <a:gd name="connsiteX10" fmla="*/ 0 w 193738"/>
                    <a:gd name="connsiteY10" fmla="*/ 44958 h 90011"/>
                    <a:gd name="connsiteX11" fmla="*/ 10287 w 193738"/>
                    <a:gd name="connsiteY11" fmla="*/ 0 h 900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93738" h="90011">
                      <a:moveTo>
                        <a:pt x="10287" y="0"/>
                      </a:moveTo>
                      <a:lnTo>
                        <a:pt x="17812" y="0"/>
                      </a:lnTo>
                      <a:cubicBezTo>
                        <a:pt x="25051" y="16859"/>
                        <a:pt x="143351" y="48006"/>
                        <a:pt x="169640" y="49625"/>
                      </a:cubicBezTo>
                      <a:cubicBezTo>
                        <a:pt x="177165" y="46577"/>
                        <a:pt x="184690" y="43625"/>
                        <a:pt x="192310" y="40481"/>
                      </a:cubicBezTo>
                      <a:cubicBezTo>
                        <a:pt x="192786" y="41053"/>
                        <a:pt x="193262" y="41434"/>
                        <a:pt x="193738" y="42005"/>
                      </a:cubicBezTo>
                      <a:cubicBezTo>
                        <a:pt x="193262" y="60770"/>
                        <a:pt x="187547" y="73533"/>
                        <a:pt x="183261" y="88487"/>
                      </a:cubicBezTo>
                      <a:cubicBezTo>
                        <a:pt x="181261" y="89154"/>
                        <a:pt x="179165" y="89535"/>
                        <a:pt x="177260" y="90011"/>
                      </a:cubicBezTo>
                      <a:cubicBezTo>
                        <a:pt x="175736" y="82772"/>
                        <a:pt x="175165" y="79724"/>
                        <a:pt x="169736" y="76391"/>
                      </a:cubicBezTo>
                      <a:cubicBezTo>
                        <a:pt x="157067" y="69628"/>
                        <a:pt x="28861" y="35719"/>
                        <a:pt x="13526" y="41910"/>
                      </a:cubicBezTo>
                      <a:cubicBezTo>
                        <a:pt x="9430" y="43434"/>
                        <a:pt x="9144" y="47530"/>
                        <a:pt x="2953" y="49435"/>
                      </a:cubicBezTo>
                      <a:cubicBezTo>
                        <a:pt x="2000" y="47911"/>
                        <a:pt x="857" y="46387"/>
                        <a:pt x="0" y="44958"/>
                      </a:cubicBezTo>
                      <a:cubicBezTo>
                        <a:pt x="3143" y="30004"/>
                        <a:pt x="6572" y="14954"/>
                        <a:pt x="10287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2" name="任意多边形: 形状 111">
                  <a:extLst>
                    <a:ext uri="{FF2B5EF4-FFF2-40B4-BE49-F238E27FC236}">
                      <a16:creationId xmlns:a16="http://schemas.microsoft.com/office/drawing/2014/main" id="{0F6D9634-498F-4B2F-B7FA-15DFE2E1423E}"/>
                    </a:ext>
                  </a:extLst>
                </p:cNvPr>
                <p:cNvSpPr/>
                <p:nvPr/>
              </p:nvSpPr>
              <p:spPr>
                <a:xfrm>
                  <a:off x="4698936" y="5379815"/>
                  <a:ext cx="193138" cy="117348"/>
                </a:xfrm>
                <a:custGeom>
                  <a:avLst/>
                  <a:gdLst>
                    <a:gd name="connsiteX0" fmla="*/ 14193 w 193138"/>
                    <a:gd name="connsiteY0" fmla="*/ 0 h 117348"/>
                    <a:gd name="connsiteX1" fmla="*/ 63723 w 193138"/>
                    <a:gd name="connsiteY1" fmla="*/ 14954 h 117348"/>
                    <a:gd name="connsiteX2" fmla="*/ 60675 w 193138"/>
                    <a:gd name="connsiteY2" fmla="*/ 19431 h 117348"/>
                    <a:gd name="connsiteX3" fmla="*/ 12573 w 193138"/>
                    <a:gd name="connsiteY3" fmla="*/ 39053 h 117348"/>
                    <a:gd name="connsiteX4" fmla="*/ 56293 w 193138"/>
                    <a:gd name="connsiteY4" fmla="*/ 54197 h 117348"/>
                    <a:gd name="connsiteX5" fmla="*/ 101346 w 193138"/>
                    <a:gd name="connsiteY5" fmla="*/ 28480 h 117348"/>
                    <a:gd name="connsiteX6" fmla="*/ 190119 w 193138"/>
                    <a:gd name="connsiteY6" fmla="*/ 90107 h 117348"/>
                    <a:gd name="connsiteX7" fmla="*/ 177927 w 193138"/>
                    <a:gd name="connsiteY7" fmla="*/ 117348 h 117348"/>
                    <a:gd name="connsiteX8" fmla="*/ 176499 w 193138"/>
                    <a:gd name="connsiteY8" fmla="*/ 117348 h 117348"/>
                    <a:gd name="connsiteX9" fmla="*/ 126969 w 193138"/>
                    <a:gd name="connsiteY9" fmla="*/ 97822 h 117348"/>
                    <a:gd name="connsiteX10" fmla="*/ 132874 w 193138"/>
                    <a:gd name="connsiteY10" fmla="*/ 96298 h 117348"/>
                    <a:gd name="connsiteX11" fmla="*/ 174975 w 193138"/>
                    <a:gd name="connsiteY11" fmla="*/ 90202 h 117348"/>
                    <a:gd name="connsiteX12" fmla="*/ 180975 w 193138"/>
                    <a:gd name="connsiteY12" fmla="*/ 78200 h 117348"/>
                    <a:gd name="connsiteX13" fmla="*/ 180975 w 193138"/>
                    <a:gd name="connsiteY13" fmla="*/ 73819 h 117348"/>
                    <a:gd name="connsiteX14" fmla="*/ 140494 w 193138"/>
                    <a:gd name="connsiteY14" fmla="*/ 52673 h 117348"/>
                    <a:gd name="connsiteX15" fmla="*/ 77343 w 193138"/>
                    <a:gd name="connsiteY15" fmla="*/ 84106 h 117348"/>
                    <a:gd name="connsiteX16" fmla="*/ 667 w 193138"/>
                    <a:gd name="connsiteY16" fmla="*/ 43720 h 117348"/>
                    <a:gd name="connsiteX17" fmla="*/ 14193 w 193138"/>
                    <a:gd name="connsiteY17" fmla="*/ 0 h 1173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93138" h="117348">
                      <a:moveTo>
                        <a:pt x="14193" y="0"/>
                      </a:moveTo>
                      <a:cubicBezTo>
                        <a:pt x="30957" y="1429"/>
                        <a:pt x="50769" y="5905"/>
                        <a:pt x="63723" y="14954"/>
                      </a:cubicBezTo>
                      <a:cubicBezTo>
                        <a:pt x="62770" y="16478"/>
                        <a:pt x="61723" y="18002"/>
                        <a:pt x="60675" y="19431"/>
                      </a:cubicBezTo>
                      <a:cubicBezTo>
                        <a:pt x="42482" y="18002"/>
                        <a:pt x="4858" y="17240"/>
                        <a:pt x="12573" y="39053"/>
                      </a:cubicBezTo>
                      <a:cubicBezTo>
                        <a:pt x="17907" y="49721"/>
                        <a:pt x="35624" y="60293"/>
                        <a:pt x="56293" y="54197"/>
                      </a:cubicBezTo>
                      <a:cubicBezTo>
                        <a:pt x="71248" y="45625"/>
                        <a:pt x="86297" y="36957"/>
                        <a:pt x="101346" y="28480"/>
                      </a:cubicBezTo>
                      <a:cubicBezTo>
                        <a:pt x="142875" y="16383"/>
                        <a:pt x="207931" y="48292"/>
                        <a:pt x="190119" y="90107"/>
                      </a:cubicBezTo>
                      <a:cubicBezTo>
                        <a:pt x="185643" y="100489"/>
                        <a:pt x="181642" y="103918"/>
                        <a:pt x="177927" y="117348"/>
                      </a:cubicBezTo>
                      <a:lnTo>
                        <a:pt x="176499" y="117348"/>
                      </a:lnTo>
                      <a:cubicBezTo>
                        <a:pt x="164021" y="114205"/>
                        <a:pt x="131731" y="109061"/>
                        <a:pt x="126969" y="97822"/>
                      </a:cubicBezTo>
                      <a:cubicBezTo>
                        <a:pt x="128969" y="97346"/>
                        <a:pt x="130874" y="96774"/>
                        <a:pt x="132874" y="96298"/>
                      </a:cubicBezTo>
                      <a:cubicBezTo>
                        <a:pt x="148209" y="100679"/>
                        <a:pt x="161830" y="93631"/>
                        <a:pt x="174975" y="90202"/>
                      </a:cubicBezTo>
                      <a:cubicBezTo>
                        <a:pt x="176975" y="86296"/>
                        <a:pt x="179070" y="82296"/>
                        <a:pt x="180975" y="78200"/>
                      </a:cubicBezTo>
                      <a:lnTo>
                        <a:pt x="180975" y="73819"/>
                      </a:lnTo>
                      <a:cubicBezTo>
                        <a:pt x="175451" y="60484"/>
                        <a:pt x="159068" y="52673"/>
                        <a:pt x="140494" y="52673"/>
                      </a:cubicBezTo>
                      <a:cubicBezTo>
                        <a:pt x="122111" y="63341"/>
                        <a:pt x="99536" y="78962"/>
                        <a:pt x="77343" y="84106"/>
                      </a:cubicBezTo>
                      <a:cubicBezTo>
                        <a:pt x="48673" y="91154"/>
                        <a:pt x="5334" y="63627"/>
                        <a:pt x="667" y="43720"/>
                      </a:cubicBezTo>
                      <a:cubicBezTo>
                        <a:pt x="-3238" y="26479"/>
                        <a:pt x="11144" y="11621"/>
                        <a:pt x="14193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3" name="任意多边形: 形状 112">
                  <a:extLst>
                    <a:ext uri="{FF2B5EF4-FFF2-40B4-BE49-F238E27FC236}">
                      <a16:creationId xmlns:a16="http://schemas.microsoft.com/office/drawing/2014/main" id="{0B7552CB-E75F-4AF7-A52E-0300165010AF}"/>
                    </a:ext>
                  </a:extLst>
                </p:cNvPr>
                <p:cNvSpPr/>
                <p:nvPr/>
              </p:nvSpPr>
              <p:spPr>
                <a:xfrm>
                  <a:off x="2268918" y="5457825"/>
                  <a:ext cx="186499" cy="102203"/>
                </a:xfrm>
                <a:custGeom>
                  <a:avLst/>
                  <a:gdLst>
                    <a:gd name="connsiteX0" fmla="*/ 172974 w 186499"/>
                    <a:gd name="connsiteY0" fmla="*/ 0 h 102203"/>
                    <a:gd name="connsiteX1" fmla="*/ 186500 w 186499"/>
                    <a:gd name="connsiteY1" fmla="*/ 1524 h 102203"/>
                    <a:gd name="connsiteX2" fmla="*/ 186500 w 186499"/>
                    <a:gd name="connsiteY2" fmla="*/ 2953 h 102203"/>
                    <a:gd name="connsiteX3" fmla="*/ 70675 w 186499"/>
                    <a:gd name="connsiteY3" fmla="*/ 72200 h 102203"/>
                    <a:gd name="connsiteX4" fmla="*/ 28670 w 186499"/>
                    <a:gd name="connsiteY4" fmla="*/ 102203 h 102203"/>
                    <a:gd name="connsiteX5" fmla="*/ 18097 w 186499"/>
                    <a:gd name="connsiteY5" fmla="*/ 66199 h 102203"/>
                    <a:gd name="connsiteX6" fmla="*/ 21050 w 186499"/>
                    <a:gd name="connsiteY6" fmla="*/ 63341 h 102203"/>
                    <a:gd name="connsiteX7" fmla="*/ 61722 w 186499"/>
                    <a:gd name="connsiteY7" fmla="*/ 48196 h 102203"/>
                    <a:gd name="connsiteX8" fmla="*/ 52673 w 186499"/>
                    <a:gd name="connsiteY8" fmla="*/ 19717 h 102203"/>
                    <a:gd name="connsiteX9" fmla="*/ 19431 w 186499"/>
                    <a:gd name="connsiteY9" fmla="*/ 24193 h 102203"/>
                    <a:gd name="connsiteX10" fmla="*/ 10382 w 186499"/>
                    <a:gd name="connsiteY10" fmla="*/ 37719 h 102203"/>
                    <a:gd name="connsiteX11" fmla="*/ 4381 w 186499"/>
                    <a:gd name="connsiteY11" fmla="*/ 34671 h 102203"/>
                    <a:gd name="connsiteX12" fmla="*/ 0 w 186499"/>
                    <a:gd name="connsiteY12" fmla="*/ 13716 h 102203"/>
                    <a:gd name="connsiteX13" fmla="*/ 1429 w 186499"/>
                    <a:gd name="connsiteY13" fmla="*/ 12097 h 102203"/>
                    <a:gd name="connsiteX14" fmla="*/ 172974 w 186499"/>
                    <a:gd name="connsiteY14" fmla="*/ 0 h 102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86499" h="102203">
                      <a:moveTo>
                        <a:pt x="172974" y="0"/>
                      </a:moveTo>
                      <a:cubicBezTo>
                        <a:pt x="177451" y="571"/>
                        <a:pt x="182023" y="1143"/>
                        <a:pt x="186500" y="1524"/>
                      </a:cubicBezTo>
                      <a:lnTo>
                        <a:pt x="186500" y="2953"/>
                      </a:lnTo>
                      <a:cubicBezTo>
                        <a:pt x="151162" y="30575"/>
                        <a:pt x="109252" y="47149"/>
                        <a:pt x="70675" y="72200"/>
                      </a:cubicBezTo>
                      <a:cubicBezTo>
                        <a:pt x="57721" y="80772"/>
                        <a:pt x="45244" y="97917"/>
                        <a:pt x="28670" y="102203"/>
                      </a:cubicBezTo>
                      <a:cubicBezTo>
                        <a:pt x="25051" y="91250"/>
                        <a:pt x="20479" y="79915"/>
                        <a:pt x="18097" y="66199"/>
                      </a:cubicBezTo>
                      <a:cubicBezTo>
                        <a:pt x="18955" y="65246"/>
                        <a:pt x="20098" y="64103"/>
                        <a:pt x="21050" y="63341"/>
                      </a:cubicBezTo>
                      <a:cubicBezTo>
                        <a:pt x="38862" y="66199"/>
                        <a:pt x="55150" y="60674"/>
                        <a:pt x="61722" y="48196"/>
                      </a:cubicBezTo>
                      <a:cubicBezTo>
                        <a:pt x="65627" y="38195"/>
                        <a:pt x="57721" y="25622"/>
                        <a:pt x="52673" y="19717"/>
                      </a:cubicBezTo>
                      <a:cubicBezTo>
                        <a:pt x="41529" y="21241"/>
                        <a:pt x="30575" y="22574"/>
                        <a:pt x="19431" y="24193"/>
                      </a:cubicBezTo>
                      <a:lnTo>
                        <a:pt x="10382" y="37719"/>
                      </a:lnTo>
                      <a:cubicBezTo>
                        <a:pt x="8477" y="36671"/>
                        <a:pt x="6382" y="35814"/>
                        <a:pt x="4381" y="34671"/>
                      </a:cubicBezTo>
                      <a:cubicBezTo>
                        <a:pt x="2953" y="27813"/>
                        <a:pt x="1429" y="20574"/>
                        <a:pt x="0" y="13716"/>
                      </a:cubicBezTo>
                      <a:cubicBezTo>
                        <a:pt x="476" y="13240"/>
                        <a:pt x="857" y="12668"/>
                        <a:pt x="1429" y="12097"/>
                      </a:cubicBezTo>
                      <a:cubicBezTo>
                        <a:pt x="32861" y="13049"/>
                        <a:pt x="150876" y="12287"/>
                        <a:pt x="172974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4" name="任意多边形: 形状 113">
                  <a:extLst>
                    <a:ext uri="{FF2B5EF4-FFF2-40B4-BE49-F238E27FC236}">
                      <a16:creationId xmlns:a16="http://schemas.microsoft.com/office/drawing/2014/main" id="{FEDD6CD5-E4AA-4CC9-A4E5-746D8BB14922}"/>
                    </a:ext>
                  </a:extLst>
                </p:cNvPr>
                <p:cNvSpPr/>
                <p:nvPr/>
              </p:nvSpPr>
              <p:spPr>
                <a:xfrm>
                  <a:off x="4661789" y="5468397"/>
                  <a:ext cx="212026" cy="133921"/>
                </a:xfrm>
                <a:custGeom>
                  <a:avLst/>
                  <a:gdLst>
                    <a:gd name="connsiteX0" fmla="*/ 46768 w 212026"/>
                    <a:gd name="connsiteY0" fmla="*/ 0 h 133921"/>
                    <a:gd name="connsiteX1" fmla="*/ 122015 w 212026"/>
                    <a:gd name="connsiteY1" fmla="*/ 42005 h 133921"/>
                    <a:gd name="connsiteX2" fmla="*/ 210598 w 212026"/>
                    <a:gd name="connsiteY2" fmla="*/ 37529 h 133921"/>
                    <a:gd name="connsiteX3" fmla="*/ 212026 w 212026"/>
                    <a:gd name="connsiteY3" fmla="*/ 40576 h 133921"/>
                    <a:gd name="connsiteX4" fmla="*/ 198596 w 212026"/>
                    <a:gd name="connsiteY4" fmla="*/ 67628 h 133921"/>
                    <a:gd name="connsiteX5" fmla="*/ 123349 w 212026"/>
                    <a:gd name="connsiteY5" fmla="*/ 70675 h 133921"/>
                    <a:gd name="connsiteX6" fmla="*/ 123349 w 212026"/>
                    <a:gd name="connsiteY6" fmla="*/ 72200 h 133921"/>
                    <a:gd name="connsiteX7" fmla="*/ 124968 w 212026"/>
                    <a:gd name="connsiteY7" fmla="*/ 75247 h 133921"/>
                    <a:gd name="connsiteX8" fmla="*/ 171545 w 212026"/>
                    <a:gd name="connsiteY8" fmla="*/ 93154 h 133921"/>
                    <a:gd name="connsiteX9" fmla="*/ 192500 w 212026"/>
                    <a:gd name="connsiteY9" fmla="*/ 88678 h 133921"/>
                    <a:gd name="connsiteX10" fmla="*/ 177451 w 212026"/>
                    <a:gd name="connsiteY10" fmla="*/ 133921 h 133921"/>
                    <a:gd name="connsiteX11" fmla="*/ 169831 w 212026"/>
                    <a:gd name="connsiteY11" fmla="*/ 132302 h 133921"/>
                    <a:gd name="connsiteX12" fmla="*/ 0 w 212026"/>
                    <a:gd name="connsiteY12" fmla="*/ 72200 h 133921"/>
                    <a:gd name="connsiteX13" fmla="*/ 0 w 212026"/>
                    <a:gd name="connsiteY13" fmla="*/ 66199 h 133921"/>
                    <a:gd name="connsiteX14" fmla="*/ 46768 w 212026"/>
                    <a:gd name="connsiteY14" fmla="*/ 0 h 1339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12026" h="133921">
                      <a:moveTo>
                        <a:pt x="46768" y="0"/>
                      </a:moveTo>
                      <a:cubicBezTo>
                        <a:pt x="100203" y="0"/>
                        <a:pt x="93631" y="26003"/>
                        <a:pt x="122015" y="42005"/>
                      </a:cubicBezTo>
                      <a:cubicBezTo>
                        <a:pt x="151543" y="40576"/>
                        <a:pt x="181070" y="38957"/>
                        <a:pt x="210598" y="37529"/>
                      </a:cubicBezTo>
                      <a:cubicBezTo>
                        <a:pt x="211074" y="38481"/>
                        <a:pt x="211550" y="39433"/>
                        <a:pt x="212026" y="40576"/>
                      </a:cubicBezTo>
                      <a:cubicBezTo>
                        <a:pt x="210026" y="50292"/>
                        <a:pt x="206407" y="63151"/>
                        <a:pt x="198596" y="67628"/>
                      </a:cubicBezTo>
                      <a:cubicBezTo>
                        <a:pt x="173546" y="68580"/>
                        <a:pt x="148495" y="69628"/>
                        <a:pt x="123349" y="70675"/>
                      </a:cubicBezTo>
                      <a:lnTo>
                        <a:pt x="123349" y="72200"/>
                      </a:lnTo>
                      <a:cubicBezTo>
                        <a:pt x="123920" y="73057"/>
                        <a:pt x="124396" y="74104"/>
                        <a:pt x="124968" y="75247"/>
                      </a:cubicBezTo>
                      <a:cubicBezTo>
                        <a:pt x="140494" y="81153"/>
                        <a:pt x="155924" y="87249"/>
                        <a:pt x="171545" y="93154"/>
                      </a:cubicBezTo>
                      <a:cubicBezTo>
                        <a:pt x="185356" y="95441"/>
                        <a:pt x="182308" y="85249"/>
                        <a:pt x="192500" y="88678"/>
                      </a:cubicBezTo>
                      <a:cubicBezTo>
                        <a:pt x="187452" y="103727"/>
                        <a:pt x="182499" y="118682"/>
                        <a:pt x="177451" y="133921"/>
                      </a:cubicBezTo>
                      <a:cubicBezTo>
                        <a:pt x="174879" y="133255"/>
                        <a:pt x="172402" y="132779"/>
                        <a:pt x="169831" y="132302"/>
                      </a:cubicBezTo>
                      <a:cubicBezTo>
                        <a:pt x="161734" y="110300"/>
                        <a:pt x="32671" y="67818"/>
                        <a:pt x="0" y="72200"/>
                      </a:cubicBezTo>
                      <a:lnTo>
                        <a:pt x="0" y="66199"/>
                      </a:lnTo>
                      <a:cubicBezTo>
                        <a:pt x="14002" y="28766"/>
                        <a:pt x="15335" y="20574"/>
                        <a:pt x="46768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5" name="任意多边形: 形状 114">
                  <a:extLst>
                    <a:ext uri="{FF2B5EF4-FFF2-40B4-BE49-F238E27FC236}">
                      <a16:creationId xmlns:a16="http://schemas.microsoft.com/office/drawing/2014/main" id="{09C6E294-3C4A-4069-B869-1C4EEAF6DAB5}"/>
                    </a:ext>
                  </a:extLst>
                </p:cNvPr>
                <p:cNvSpPr/>
                <p:nvPr/>
              </p:nvSpPr>
              <p:spPr>
                <a:xfrm>
                  <a:off x="2338069" y="5471445"/>
                  <a:ext cx="48196" cy="25622"/>
                </a:xfrm>
                <a:custGeom>
                  <a:avLst/>
                  <a:gdLst>
                    <a:gd name="connsiteX0" fmla="*/ 39148 w 48196"/>
                    <a:gd name="connsiteY0" fmla="*/ 0 h 25622"/>
                    <a:gd name="connsiteX1" fmla="*/ 0 w 48196"/>
                    <a:gd name="connsiteY1" fmla="*/ 7525 h 25622"/>
                    <a:gd name="connsiteX2" fmla="*/ 0 w 48196"/>
                    <a:gd name="connsiteY2" fmla="*/ 12002 h 25622"/>
                    <a:gd name="connsiteX3" fmla="*/ 7620 w 48196"/>
                    <a:gd name="connsiteY3" fmla="*/ 25622 h 25622"/>
                    <a:gd name="connsiteX4" fmla="*/ 48197 w 48196"/>
                    <a:gd name="connsiteY4" fmla="*/ 6096 h 25622"/>
                    <a:gd name="connsiteX5" fmla="*/ 48197 w 48196"/>
                    <a:gd name="connsiteY5" fmla="*/ 2953 h 25622"/>
                    <a:gd name="connsiteX6" fmla="*/ 46673 w 48196"/>
                    <a:gd name="connsiteY6" fmla="*/ 95 h 25622"/>
                    <a:gd name="connsiteX7" fmla="*/ 39148 w 48196"/>
                    <a:gd name="connsiteY7" fmla="*/ 95 h 256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8196" h="25622">
                      <a:moveTo>
                        <a:pt x="39148" y="0"/>
                      </a:moveTo>
                      <a:cubicBezTo>
                        <a:pt x="26670" y="4286"/>
                        <a:pt x="6953" y="-2381"/>
                        <a:pt x="0" y="7525"/>
                      </a:cubicBezTo>
                      <a:lnTo>
                        <a:pt x="0" y="12002"/>
                      </a:lnTo>
                      <a:cubicBezTo>
                        <a:pt x="1143" y="19526"/>
                        <a:pt x="3143" y="21622"/>
                        <a:pt x="7620" y="25622"/>
                      </a:cubicBezTo>
                      <a:cubicBezTo>
                        <a:pt x="21146" y="19050"/>
                        <a:pt x="34576" y="12478"/>
                        <a:pt x="48197" y="6096"/>
                      </a:cubicBezTo>
                      <a:lnTo>
                        <a:pt x="48197" y="2953"/>
                      </a:lnTo>
                      <a:lnTo>
                        <a:pt x="46673" y="95"/>
                      </a:lnTo>
                      <a:lnTo>
                        <a:pt x="39148" y="9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6" name="任意多边形: 形状 115">
                  <a:extLst>
                    <a:ext uri="{FF2B5EF4-FFF2-40B4-BE49-F238E27FC236}">
                      <a16:creationId xmlns:a16="http://schemas.microsoft.com/office/drawing/2014/main" id="{84031D86-F198-4116-AC3B-746F3A79D58F}"/>
                    </a:ext>
                  </a:extLst>
                </p:cNvPr>
                <p:cNvSpPr/>
                <p:nvPr/>
              </p:nvSpPr>
              <p:spPr>
                <a:xfrm>
                  <a:off x="4687506" y="5492426"/>
                  <a:ext cx="73723" cy="37158"/>
                </a:xfrm>
                <a:custGeom>
                  <a:avLst/>
                  <a:gdLst>
                    <a:gd name="connsiteX0" fmla="*/ 7429 w 73723"/>
                    <a:gd name="connsiteY0" fmla="*/ 69 h 37158"/>
                    <a:gd name="connsiteX1" fmla="*/ 0 w 73723"/>
                    <a:gd name="connsiteY1" fmla="*/ 6070 h 37158"/>
                    <a:gd name="connsiteX2" fmla="*/ 0 w 73723"/>
                    <a:gd name="connsiteY2" fmla="*/ 13690 h 37158"/>
                    <a:gd name="connsiteX3" fmla="*/ 69056 w 73723"/>
                    <a:gd name="connsiteY3" fmla="*/ 36264 h 37158"/>
                    <a:gd name="connsiteX4" fmla="*/ 73724 w 73723"/>
                    <a:gd name="connsiteY4" fmla="*/ 31692 h 37158"/>
                    <a:gd name="connsiteX5" fmla="*/ 7429 w 73723"/>
                    <a:gd name="connsiteY5" fmla="*/ 69 h 371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3723" h="37158">
                      <a:moveTo>
                        <a:pt x="7429" y="69"/>
                      </a:moveTo>
                      <a:cubicBezTo>
                        <a:pt x="5048" y="2070"/>
                        <a:pt x="2572" y="4165"/>
                        <a:pt x="0" y="6070"/>
                      </a:cubicBezTo>
                      <a:lnTo>
                        <a:pt x="0" y="13690"/>
                      </a:lnTo>
                      <a:cubicBezTo>
                        <a:pt x="16193" y="20167"/>
                        <a:pt x="49721" y="41789"/>
                        <a:pt x="69056" y="36264"/>
                      </a:cubicBezTo>
                      <a:cubicBezTo>
                        <a:pt x="72200" y="34264"/>
                        <a:pt x="71628" y="34645"/>
                        <a:pt x="73724" y="31692"/>
                      </a:cubicBezTo>
                      <a:cubicBezTo>
                        <a:pt x="69913" y="7880"/>
                        <a:pt x="36195" y="-883"/>
                        <a:pt x="7429" y="6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7" name="任意多边形: 形状 116">
                  <a:extLst>
                    <a:ext uri="{FF2B5EF4-FFF2-40B4-BE49-F238E27FC236}">
                      <a16:creationId xmlns:a16="http://schemas.microsoft.com/office/drawing/2014/main" id="{5386FF37-F8C7-4EF2-A64F-5B9E1A4E0533}"/>
                    </a:ext>
                  </a:extLst>
                </p:cNvPr>
                <p:cNvSpPr/>
                <p:nvPr/>
              </p:nvSpPr>
              <p:spPr>
                <a:xfrm>
                  <a:off x="2306162" y="5518023"/>
                  <a:ext cx="196150" cy="145922"/>
                </a:xfrm>
                <a:custGeom>
                  <a:avLst/>
                  <a:gdLst>
                    <a:gd name="connsiteX0" fmla="*/ 158114 w 196150"/>
                    <a:gd name="connsiteY0" fmla="*/ 0 h 145922"/>
                    <a:gd name="connsiteX1" fmla="*/ 162686 w 196150"/>
                    <a:gd name="connsiteY1" fmla="*/ 0 h 145922"/>
                    <a:gd name="connsiteX2" fmla="*/ 173259 w 196150"/>
                    <a:gd name="connsiteY2" fmla="*/ 27051 h 145922"/>
                    <a:gd name="connsiteX3" fmla="*/ 104012 w 196150"/>
                    <a:gd name="connsiteY3" fmla="*/ 100774 h 145922"/>
                    <a:gd name="connsiteX4" fmla="*/ 106965 w 196150"/>
                    <a:gd name="connsiteY4" fmla="*/ 108299 h 145922"/>
                    <a:gd name="connsiteX5" fmla="*/ 182213 w 196150"/>
                    <a:gd name="connsiteY5" fmla="*/ 75152 h 145922"/>
                    <a:gd name="connsiteX6" fmla="*/ 188213 w 196150"/>
                    <a:gd name="connsiteY6" fmla="*/ 66008 h 145922"/>
                    <a:gd name="connsiteX7" fmla="*/ 195643 w 196150"/>
                    <a:gd name="connsiteY7" fmla="*/ 91630 h 145922"/>
                    <a:gd name="connsiteX8" fmla="*/ 30289 w 196150"/>
                    <a:gd name="connsiteY8" fmla="*/ 145923 h 145922"/>
                    <a:gd name="connsiteX9" fmla="*/ 28765 w 196150"/>
                    <a:gd name="connsiteY9" fmla="*/ 144399 h 145922"/>
                    <a:gd name="connsiteX10" fmla="*/ 28765 w 196150"/>
                    <a:gd name="connsiteY10" fmla="*/ 139827 h 145922"/>
                    <a:gd name="connsiteX11" fmla="*/ 117442 w 196150"/>
                    <a:gd name="connsiteY11" fmla="*/ 40672 h 145922"/>
                    <a:gd name="connsiteX12" fmla="*/ 117442 w 196150"/>
                    <a:gd name="connsiteY12" fmla="*/ 39148 h 145922"/>
                    <a:gd name="connsiteX13" fmla="*/ 9238 w 196150"/>
                    <a:gd name="connsiteY13" fmla="*/ 90297 h 145922"/>
                    <a:gd name="connsiteX14" fmla="*/ 4666 w 196150"/>
                    <a:gd name="connsiteY14" fmla="*/ 84391 h 145922"/>
                    <a:gd name="connsiteX15" fmla="*/ 285 w 196150"/>
                    <a:gd name="connsiteY15" fmla="*/ 64770 h 145922"/>
                    <a:gd name="connsiteX16" fmla="*/ 1714 w 196150"/>
                    <a:gd name="connsiteY16" fmla="*/ 64770 h 145922"/>
                    <a:gd name="connsiteX17" fmla="*/ 158114 w 196150"/>
                    <a:gd name="connsiteY17" fmla="*/ 0 h 145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96150" h="145922">
                      <a:moveTo>
                        <a:pt x="158114" y="0"/>
                      </a:moveTo>
                      <a:lnTo>
                        <a:pt x="162686" y="0"/>
                      </a:lnTo>
                      <a:cubicBezTo>
                        <a:pt x="166401" y="3905"/>
                        <a:pt x="176021" y="18288"/>
                        <a:pt x="173259" y="27051"/>
                      </a:cubicBezTo>
                      <a:cubicBezTo>
                        <a:pt x="150209" y="51625"/>
                        <a:pt x="127158" y="76200"/>
                        <a:pt x="104012" y="100774"/>
                      </a:cubicBezTo>
                      <a:cubicBezTo>
                        <a:pt x="104965" y="106299"/>
                        <a:pt x="104584" y="105346"/>
                        <a:pt x="106965" y="108299"/>
                      </a:cubicBezTo>
                      <a:cubicBezTo>
                        <a:pt x="129158" y="97726"/>
                        <a:pt x="166592" y="92678"/>
                        <a:pt x="182213" y="75152"/>
                      </a:cubicBezTo>
                      <a:cubicBezTo>
                        <a:pt x="184498" y="72580"/>
                        <a:pt x="181641" y="64389"/>
                        <a:pt x="188213" y="66008"/>
                      </a:cubicBezTo>
                      <a:cubicBezTo>
                        <a:pt x="195071" y="68008"/>
                        <a:pt x="197262" y="84963"/>
                        <a:pt x="195643" y="91630"/>
                      </a:cubicBezTo>
                      <a:cubicBezTo>
                        <a:pt x="136397" y="84010"/>
                        <a:pt x="87629" y="136112"/>
                        <a:pt x="30289" y="145923"/>
                      </a:cubicBezTo>
                      <a:cubicBezTo>
                        <a:pt x="29813" y="145351"/>
                        <a:pt x="29241" y="144780"/>
                        <a:pt x="28765" y="144399"/>
                      </a:cubicBezTo>
                      <a:lnTo>
                        <a:pt x="28765" y="139827"/>
                      </a:lnTo>
                      <a:cubicBezTo>
                        <a:pt x="58197" y="106680"/>
                        <a:pt x="87820" y="73723"/>
                        <a:pt x="117442" y="40672"/>
                      </a:cubicBezTo>
                      <a:lnTo>
                        <a:pt x="117442" y="39148"/>
                      </a:lnTo>
                      <a:cubicBezTo>
                        <a:pt x="77914" y="42386"/>
                        <a:pt x="32098" y="67818"/>
                        <a:pt x="9238" y="90297"/>
                      </a:cubicBezTo>
                      <a:cubicBezTo>
                        <a:pt x="7714" y="88297"/>
                        <a:pt x="6286" y="86296"/>
                        <a:pt x="4666" y="84391"/>
                      </a:cubicBezTo>
                      <a:cubicBezTo>
                        <a:pt x="761" y="78391"/>
                        <a:pt x="-667" y="71818"/>
                        <a:pt x="285" y="64770"/>
                      </a:cubicBezTo>
                      <a:lnTo>
                        <a:pt x="1714" y="64770"/>
                      </a:lnTo>
                      <a:cubicBezTo>
                        <a:pt x="26288" y="75628"/>
                        <a:pt x="145732" y="19717"/>
                        <a:pt x="158114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8" name="任意多边形: 形状 117">
                  <a:extLst>
                    <a:ext uri="{FF2B5EF4-FFF2-40B4-BE49-F238E27FC236}">
                      <a16:creationId xmlns:a16="http://schemas.microsoft.com/office/drawing/2014/main" id="{7951FF3F-68CE-4597-BC0A-3846B6E049E0}"/>
                    </a:ext>
                  </a:extLst>
                </p:cNvPr>
                <p:cNvSpPr/>
                <p:nvPr/>
              </p:nvSpPr>
              <p:spPr>
                <a:xfrm>
                  <a:off x="4546250" y="5554217"/>
                  <a:ext cx="277844" cy="309657"/>
                </a:xfrm>
                <a:custGeom>
                  <a:avLst/>
                  <a:gdLst>
                    <a:gd name="connsiteX0" fmla="*/ 0 w 277844"/>
                    <a:gd name="connsiteY0" fmla="*/ 214979 h 309657"/>
                    <a:gd name="connsiteX1" fmla="*/ 50959 w 277844"/>
                    <a:gd name="connsiteY1" fmla="*/ 127730 h 309657"/>
                    <a:gd name="connsiteX2" fmla="*/ 54007 w 277844"/>
                    <a:gd name="connsiteY2" fmla="*/ 129159 h 309657"/>
                    <a:gd name="connsiteX3" fmla="*/ 58579 w 277844"/>
                    <a:gd name="connsiteY3" fmla="*/ 142780 h 309657"/>
                    <a:gd name="connsiteX4" fmla="*/ 148685 w 277844"/>
                    <a:gd name="connsiteY4" fmla="*/ 162306 h 309657"/>
                    <a:gd name="connsiteX5" fmla="*/ 85630 w 277844"/>
                    <a:gd name="connsiteY5" fmla="*/ 105156 h 309657"/>
                    <a:gd name="connsiteX6" fmla="*/ 61627 w 277844"/>
                    <a:gd name="connsiteY6" fmla="*/ 102203 h 309657"/>
                    <a:gd name="connsiteX7" fmla="*/ 108204 w 277844"/>
                    <a:gd name="connsiteY7" fmla="*/ 0 h 309657"/>
                    <a:gd name="connsiteX8" fmla="*/ 156210 w 277844"/>
                    <a:gd name="connsiteY8" fmla="*/ 19621 h 309657"/>
                    <a:gd name="connsiteX9" fmla="*/ 153162 w 277844"/>
                    <a:gd name="connsiteY9" fmla="*/ 24098 h 309657"/>
                    <a:gd name="connsiteX10" fmla="*/ 100489 w 277844"/>
                    <a:gd name="connsiteY10" fmla="*/ 39243 h 309657"/>
                    <a:gd name="connsiteX11" fmla="*/ 101917 w 277844"/>
                    <a:gd name="connsiteY11" fmla="*/ 48387 h 309657"/>
                    <a:gd name="connsiteX12" fmla="*/ 163639 w 277844"/>
                    <a:gd name="connsiteY12" fmla="*/ 73724 h 309657"/>
                    <a:gd name="connsiteX13" fmla="*/ 166592 w 277844"/>
                    <a:gd name="connsiteY13" fmla="*/ 66389 h 309657"/>
                    <a:gd name="connsiteX14" fmla="*/ 147066 w 277844"/>
                    <a:gd name="connsiteY14" fmla="*/ 43815 h 309657"/>
                    <a:gd name="connsiteX15" fmla="*/ 148495 w 277844"/>
                    <a:gd name="connsiteY15" fmla="*/ 40862 h 309657"/>
                    <a:gd name="connsiteX16" fmla="*/ 219075 w 277844"/>
                    <a:gd name="connsiteY16" fmla="*/ 73819 h 309657"/>
                    <a:gd name="connsiteX17" fmla="*/ 183071 w 277844"/>
                    <a:gd name="connsiteY17" fmla="*/ 75343 h 309657"/>
                    <a:gd name="connsiteX18" fmla="*/ 181642 w 277844"/>
                    <a:gd name="connsiteY18" fmla="*/ 78391 h 309657"/>
                    <a:gd name="connsiteX19" fmla="*/ 181642 w 277844"/>
                    <a:gd name="connsiteY19" fmla="*/ 81439 h 309657"/>
                    <a:gd name="connsiteX20" fmla="*/ 249269 w 277844"/>
                    <a:gd name="connsiteY20" fmla="*/ 110014 h 309657"/>
                    <a:gd name="connsiteX21" fmla="*/ 256699 w 277844"/>
                    <a:gd name="connsiteY21" fmla="*/ 99441 h 309657"/>
                    <a:gd name="connsiteX22" fmla="*/ 234220 w 277844"/>
                    <a:gd name="connsiteY22" fmla="*/ 51245 h 309657"/>
                    <a:gd name="connsiteX23" fmla="*/ 277844 w 277844"/>
                    <a:gd name="connsiteY23" fmla="*/ 69342 h 309657"/>
                    <a:gd name="connsiteX24" fmla="*/ 246316 w 277844"/>
                    <a:gd name="connsiteY24" fmla="*/ 146018 h 309657"/>
                    <a:gd name="connsiteX25" fmla="*/ 241649 w 277844"/>
                    <a:gd name="connsiteY25" fmla="*/ 147447 h 309657"/>
                    <a:gd name="connsiteX26" fmla="*/ 82391 w 277844"/>
                    <a:gd name="connsiteY26" fmla="*/ 78391 h 309657"/>
                    <a:gd name="connsiteX27" fmla="*/ 79438 w 277844"/>
                    <a:gd name="connsiteY27" fmla="*/ 82772 h 309657"/>
                    <a:gd name="connsiteX28" fmla="*/ 79438 w 277844"/>
                    <a:gd name="connsiteY28" fmla="*/ 88773 h 309657"/>
                    <a:gd name="connsiteX29" fmla="*/ 174117 w 277844"/>
                    <a:gd name="connsiteY29" fmla="*/ 164116 h 309657"/>
                    <a:gd name="connsiteX30" fmla="*/ 220694 w 277844"/>
                    <a:gd name="connsiteY30" fmla="*/ 203073 h 309657"/>
                    <a:gd name="connsiteX31" fmla="*/ 220694 w 277844"/>
                    <a:gd name="connsiteY31" fmla="*/ 209074 h 309657"/>
                    <a:gd name="connsiteX32" fmla="*/ 217741 w 277844"/>
                    <a:gd name="connsiteY32" fmla="*/ 209074 h 309657"/>
                    <a:gd name="connsiteX33" fmla="*/ 192119 w 277844"/>
                    <a:gd name="connsiteY33" fmla="*/ 203073 h 309657"/>
                    <a:gd name="connsiteX34" fmla="*/ 31242 w 277844"/>
                    <a:gd name="connsiteY34" fmla="*/ 172974 h 309657"/>
                    <a:gd name="connsiteX35" fmla="*/ 31242 w 277844"/>
                    <a:gd name="connsiteY35" fmla="*/ 174498 h 309657"/>
                    <a:gd name="connsiteX36" fmla="*/ 31242 w 277844"/>
                    <a:gd name="connsiteY36" fmla="*/ 181928 h 309657"/>
                    <a:gd name="connsiteX37" fmla="*/ 162115 w 277844"/>
                    <a:gd name="connsiteY37" fmla="*/ 267557 h 309657"/>
                    <a:gd name="connsiteX38" fmla="*/ 184785 w 277844"/>
                    <a:gd name="connsiteY38" fmla="*/ 267557 h 309657"/>
                    <a:gd name="connsiteX39" fmla="*/ 184785 w 277844"/>
                    <a:gd name="connsiteY39" fmla="*/ 269081 h 309657"/>
                    <a:gd name="connsiteX40" fmla="*/ 160591 w 277844"/>
                    <a:gd name="connsiteY40" fmla="*/ 309658 h 309657"/>
                    <a:gd name="connsiteX41" fmla="*/ 153067 w 277844"/>
                    <a:gd name="connsiteY41" fmla="*/ 308134 h 309657"/>
                    <a:gd name="connsiteX42" fmla="*/ 0 w 277844"/>
                    <a:gd name="connsiteY42" fmla="*/ 214979 h 3096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</a:cxnLst>
                  <a:rect l="l" t="t" r="r" b="b"/>
                  <a:pathLst>
                    <a:path w="277844" h="309657">
                      <a:moveTo>
                        <a:pt x="0" y="214979"/>
                      </a:moveTo>
                      <a:cubicBezTo>
                        <a:pt x="1238" y="197453"/>
                        <a:pt x="39243" y="137922"/>
                        <a:pt x="50959" y="127730"/>
                      </a:cubicBezTo>
                      <a:lnTo>
                        <a:pt x="54007" y="129159"/>
                      </a:lnTo>
                      <a:cubicBezTo>
                        <a:pt x="55531" y="133731"/>
                        <a:pt x="56959" y="138208"/>
                        <a:pt x="58579" y="142780"/>
                      </a:cubicBezTo>
                      <a:cubicBezTo>
                        <a:pt x="87249" y="150304"/>
                        <a:pt x="115443" y="160306"/>
                        <a:pt x="148685" y="162306"/>
                      </a:cubicBezTo>
                      <a:cubicBezTo>
                        <a:pt x="145732" y="151924"/>
                        <a:pt x="95536" y="109061"/>
                        <a:pt x="85630" y="105156"/>
                      </a:cubicBezTo>
                      <a:cubicBezTo>
                        <a:pt x="73533" y="100584"/>
                        <a:pt x="68675" y="108680"/>
                        <a:pt x="61627" y="102203"/>
                      </a:cubicBezTo>
                      <a:cubicBezTo>
                        <a:pt x="74295" y="70390"/>
                        <a:pt x="87535" y="26194"/>
                        <a:pt x="108204" y="0"/>
                      </a:cubicBezTo>
                      <a:cubicBezTo>
                        <a:pt x="124015" y="667"/>
                        <a:pt x="146495" y="10954"/>
                        <a:pt x="156210" y="19621"/>
                      </a:cubicBezTo>
                      <a:cubicBezTo>
                        <a:pt x="155162" y="21050"/>
                        <a:pt x="154114" y="22670"/>
                        <a:pt x="153162" y="24098"/>
                      </a:cubicBezTo>
                      <a:cubicBezTo>
                        <a:pt x="124492" y="21050"/>
                        <a:pt x="116014" y="13430"/>
                        <a:pt x="100489" y="39243"/>
                      </a:cubicBezTo>
                      <a:cubicBezTo>
                        <a:pt x="100965" y="42291"/>
                        <a:pt x="101441" y="45244"/>
                        <a:pt x="101917" y="48387"/>
                      </a:cubicBezTo>
                      <a:cubicBezTo>
                        <a:pt x="119348" y="57721"/>
                        <a:pt x="141161" y="71247"/>
                        <a:pt x="163639" y="73724"/>
                      </a:cubicBezTo>
                      <a:cubicBezTo>
                        <a:pt x="166021" y="70771"/>
                        <a:pt x="165545" y="71723"/>
                        <a:pt x="166592" y="66389"/>
                      </a:cubicBezTo>
                      <a:cubicBezTo>
                        <a:pt x="161639" y="54388"/>
                        <a:pt x="154400" y="52292"/>
                        <a:pt x="147066" y="43815"/>
                      </a:cubicBezTo>
                      <a:cubicBezTo>
                        <a:pt x="147542" y="42958"/>
                        <a:pt x="148019" y="41815"/>
                        <a:pt x="148495" y="40862"/>
                      </a:cubicBezTo>
                      <a:cubicBezTo>
                        <a:pt x="165163" y="41910"/>
                        <a:pt x="214027" y="60484"/>
                        <a:pt x="219075" y="73819"/>
                      </a:cubicBezTo>
                      <a:cubicBezTo>
                        <a:pt x="205169" y="73247"/>
                        <a:pt x="194786" y="72676"/>
                        <a:pt x="183071" y="75343"/>
                      </a:cubicBezTo>
                      <a:cubicBezTo>
                        <a:pt x="182594" y="76391"/>
                        <a:pt x="182118" y="77438"/>
                        <a:pt x="181642" y="78391"/>
                      </a:cubicBezTo>
                      <a:lnTo>
                        <a:pt x="181642" y="81439"/>
                      </a:lnTo>
                      <a:cubicBezTo>
                        <a:pt x="199834" y="93440"/>
                        <a:pt x="223742" y="106299"/>
                        <a:pt x="249269" y="110014"/>
                      </a:cubicBezTo>
                      <a:cubicBezTo>
                        <a:pt x="251841" y="106394"/>
                        <a:pt x="254222" y="102870"/>
                        <a:pt x="256699" y="99441"/>
                      </a:cubicBezTo>
                      <a:cubicBezTo>
                        <a:pt x="268129" y="77533"/>
                        <a:pt x="241935" y="64294"/>
                        <a:pt x="234220" y="51245"/>
                      </a:cubicBezTo>
                      <a:cubicBezTo>
                        <a:pt x="242792" y="45625"/>
                        <a:pt x="270796" y="62008"/>
                        <a:pt x="277844" y="69342"/>
                      </a:cubicBezTo>
                      <a:cubicBezTo>
                        <a:pt x="277844" y="86773"/>
                        <a:pt x="255937" y="139256"/>
                        <a:pt x="246316" y="146018"/>
                      </a:cubicBezTo>
                      <a:cubicBezTo>
                        <a:pt x="244792" y="146495"/>
                        <a:pt x="243364" y="146971"/>
                        <a:pt x="241649" y="147447"/>
                      </a:cubicBezTo>
                      <a:cubicBezTo>
                        <a:pt x="232696" y="130969"/>
                        <a:pt x="100870" y="70485"/>
                        <a:pt x="82391" y="78391"/>
                      </a:cubicBezTo>
                      <a:cubicBezTo>
                        <a:pt x="81344" y="79820"/>
                        <a:pt x="80391" y="81439"/>
                        <a:pt x="79438" y="82772"/>
                      </a:cubicBezTo>
                      <a:lnTo>
                        <a:pt x="79438" y="88773"/>
                      </a:lnTo>
                      <a:cubicBezTo>
                        <a:pt x="110585" y="114014"/>
                        <a:pt x="141541" y="139541"/>
                        <a:pt x="174117" y="164116"/>
                      </a:cubicBezTo>
                      <a:cubicBezTo>
                        <a:pt x="189643" y="177165"/>
                        <a:pt x="205169" y="190119"/>
                        <a:pt x="220694" y="203073"/>
                      </a:cubicBezTo>
                      <a:lnTo>
                        <a:pt x="220694" y="209074"/>
                      </a:lnTo>
                      <a:lnTo>
                        <a:pt x="217741" y="209074"/>
                      </a:lnTo>
                      <a:cubicBezTo>
                        <a:pt x="209264" y="211455"/>
                        <a:pt x="201739" y="204978"/>
                        <a:pt x="192119" y="203073"/>
                      </a:cubicBezTo>
                      <a:cubicBezTo>
                        <a:pt x="151829" y="195263"/>
                        <a:pt x="68199" y="161449"/>
                        <a:pt x="31242" y="172974"/>
                      </a:cubicBezTo>
                      <a:lnTo>
                        <a:pt x="31242" y="174498"/>
                      </a:lnTo>
                      <a:lnTo>
                        <a:pt x="31242" y="181928"/>
                      </a:lnTo>
                      <a:cubicBezTo>
                        <a:pt x="35147" y="193834"/>
                        <a:pt x="145828" y="263366"/>
                        <a:pt x="162115" y="267557"/>
                      </a:cubicBezTo>
                      <a:lnTo>
                        <a:pt x="184785" y="267557"/>
                      </a:lnTo>
                      <a:lnTo>
                        <a:pt x="184785" y="269081"/>
                      </a:lnTo>
                      <a:cubicBezTo>
                        <a:pt x="182689" y="283083"/>
                        <a:pt x="169545" y="301562"/>
                        <a:pt x="160591" y="309658"/>
                      </a:cubicBezTo>
                      <a:cubicBezTo>
                        <a:pt x="158115" y="309182"/>
                        <a:pt x="155638" y="308705"/>
                        <a:pt x="153067" y="308134"/>
                      </a:cubicBezTo>
                      <a:cubicBezTo>
                        <a:pt x="151543" y="283464"/>
                        <a:pt x="26765" y="213170"/>
                        <a:pt x="0" y="214979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9" name="任意多边形: 形状 118">
                  <a:extLst>
                    <a:ext uri="{FF2B5EF4-FFF2-40B4-BE49-F238E27FC236}">
                      <a16:creationId xmlns:a16="http://schemas.microsoft.com/office/drawing/2014/main" id="{95F50E2D-1F92-4FB7-8B73-79563C8EFAAB}"/>
                    </a:ext>
                  </a:extLst>
                </p:cNvPr>
                <p:cNvSpPr/>
                <p:nvPr/>
              </p:nvSpPr>
              <p:spPr>
                <a:xfrm>
                  <a:off x="2366549" y="5692235"/>
                  <a:ext cx="180593" cy="126396"/>
                </a:xfrm>
                <a:custGeom>
                  <a:avLst/>
                  <a:gdLst>
                    <a:gd name="connsiteX0" fmla="*/ 162401 w 180593"/>
                    <a:gd name="connsiteY0" fmla="*/ 94 h 126396"/>
                    <a:gd name="connsiteX1" fmla="*/ 180594 w 180593"/>
                    <a:gd name="connsiteY1" fmla="*/ 3143 h 126396"/>
                    <a:gd name="connsiteX2" fmla="*/ 46672 w 180593"/>
                    <a:gd name="connsiteY2" fmla="*/ 126396 h 126396"/>
                    <a:gd name="connsiteX3" fmla="*/ 37624 w 180593"/>
                    <a:gd name="connsiteY3" fmla="*/ 123443 h 126396"/>
                    <a:gd name="connsiteX4" fmla="*/ 27051 w 180593"/>
                    <a:gd name="connsiteY4" fmla="*/ 85915 h 126396"/>
                    <a:gd name="connsiteX5" fmla="*/ 66294 w 180593"/>
                    <a:gd name="connsiteY5" fmla="*/ 66293 h 126396"/>
                    <a:gd name="connsiteX6" fmla="*/ 55626 w 180593"/>
                    <a:gd name="connsiteY6" fmla="*/ 40576 h 126396"/>
                    <a:gd name="connsiteX7" fmla="*/ 7620 w 180593"/>
                    <a:gd name="connsiteY7" fmla="*/ 57244 h 126396"/>
                    <a:gd name="connsiteX8" fmla="*/ 0 w 180593"/>
                    <a:gd name="connsiteY8" fmla="*/ 40576 h 126396"/>
                    <a:gd name="connsiteX9" fmla="*/ 2953 w 180593"/>
                    <a:gd name="connsiteY9" fmla="*/ 37623 h 126396"/>
                    <a:gd name="connsiteX10" fmla="*/ 162401 w 180593"/>
                    <a:gd name="connsiteY10" fmla="*/ 94 h 126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80593" h="126396">
                      <a:moveTo>
                        <a:pt x="162401" y="94"/>
                      </a:moveTo>
                      <a:cubicBezTo>
                        <a:pt x="170402" y="-191"/>
                        <a:pt x="176498" y="-1"/>
                        <a:pt x="180594" y="3143"/>
                      </a:cubicBezTo>
                      <a:cubicBezTo>
                        <a:pt x="144018" y="47910"/>
                        <a:pt x="73247" y="73628"/>
                        <a:pt x="46672" y="126396"/>
                      </a:cubicBezTo>
                      <a:cubicBezTo>
                        <a:pt x="43720" y="125348"/>
                        <a:pt x="40672" y="124491"/>
                        <a:pt x="37624" y="123443"/>
                      </a:cubicBezTo>
                      <a:cubicBezTo>
                        <a:pt x="34576" y="111442"/>
                        <a:pt x="20574" y="96011"/>
                        <a:pt x="27051" y="85915"/>
                      </a:cubicBezTo>
                      <a:cubicBezTo>
                        <a:pt x="44387" y="93535"/>
                        <a:pt x="59722" y="78866"/>
                        <a:pt x="66294" y="66293"/>
                      </a:cubicBezTo>
                      <a:cubicBezTo>
                        <a:pt x="65056" y="54863"/>
                        <a:pt x="60484" y="48291"/>
                        <a:pt x="55626" y="40576"/>
                      </a:cubicBezTo>
                      <a:cubicBezTo>
                        <a:pt x="27242" y="40100"/>
                        <a:pt x="25051" y="51625"/>
                        <a:pt x="7620" y="57244"/>
                      </a:cubicBezTo>
                      <a:cubicBezTo>
                        <a:pt x="5144" y="51625"/>
                        <a:pt x="2572" y="46196"/>
                        <a:pt x="0" y="40576"/>
                      </a:cubicBezTo>
                      <a:cubicBezTo>
                        <a:pt x="857" y="39719"/>
                        <a:pt x="2095" y="38766"/>
                        <a:pt x="2953" y="37623"/>
                      </a:cubicBezTo>
                      <a:cubicBezTo>
                        <a:pt x="28956" y="38194"/>
                        <a:pt x="148019" y="10286"/>
                        <a:pt x="162401" y="94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0" name="任意多边形: 形状 119">
                  <a:extLst>
                    <a:ext uri="{FF2B5EF4-FFF2-40B4-BE49-F238E27FC236}">
                      <a16:creationId xmlns:a16="http://schemas.microsoft.com/office/drawing/2014/main" id="{2E9B896E-9C0A-4238-864B-AB880D3E1FF4}"/>
                    </a:ext>
                  </a:extLst>
                </p:cNvPr>
                <p:cNvSpPr/>
                <p:nvPr/>
              </p:nvSpPr>
              <p:spPr>
                <a:xfrm>
                  <a:off x="2434272" y="5713475"/>
                  <a:ext cx="48196" cy="34385"/>
                </a:xfrm>
                <a:custGeom>
                  <a:avLst/>
                  <a:gdLst>
                    <a:gd name="connsiteX0" fmla="*/ 42196 w 48196"/>
                    <a:gd name="connsiteY0" fmla="*/ 0 h 34385"/>
                    <a:gd name="connsiteX1" fmla="*/ 1619 w 48196"/>
                    <a:gd name="connsiteY1" fmla="*/ 12002 h 34385"/>
                    <a:gd name="connsiteX2" fmla="*/ 0 w 48196"/>
                    <a:gd name="connsiteY2" fmla="*/ 14954 h 34385"/>
                    <a:gd name="connsiteX3" fmla="*/ 12097 w 48196"/>
                    <a:gd name="connsiteY3" fmla="*/ 34385 h 34385"/>
                    <a:gd name="connsiteX4" fmla="*/ 16669 w 48196"/>
                    <a:gd name="connsiteY4" fmla="*/ 32957 h 34385"/>
                    <a:gd name="connsiteX5" fmla="*/ 48196 w 48196"/>
                    <a:gd name="connsiteY5" fmla="*/ 2953 h 34385"/>
                    <a:gd name="connsiteX6" fmla="*/ 42196 w 48196"/>
                    <a:gd name="connsiteY6" fmla="*/ 0 h 343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8196" h="34385">
                      <a:moveTo>
                        <a:pt x="42196" y="0"/>
                      </a:moveTo>
                      <a:cubicBezTo>
                        <a:pt x="28480" y="4000"/>
                        <a:pt x="14954" y="7906"/>
                        <a:pt x="1619" y="12002"/>
                      </a:cubicBezTo>
                      <a:cubicBezTo>
                        <a:pt x="1143" y="12954"/>
                        <a:pt x="571" y="13907"/>
                        <a:pt x="0" y="14954"/>
                      </a:cubicBezTo>
                      <a:cubicBezTo>
                        <a:pt x="3238" y="23336"/>
                        <a:pt x="6572" y="28670"/>
                        <a:pt x="12097" y="34385"/>
                      </a:cubicBezTo>
                      <a:cubicBezTo>
                        <a:pt x="13621" y="33909"/>
                        <a:pt x="15050" y="33433"/>
                        <a:pt x="16669" y="32957"/>
                      </a:cubicBezTo>
                      <a:cubicBezTo>
                        <a:pt x="27051" y="22860"/>
                        <a:pt x="37624" y="12954"/>
                        <a:pt x="48196" y="2953"/>
                      </a:cubicBezTo>
                      <a:cubicBezTo>
                        <a:pt x="46101" y="1905"/>
                        <a:pt x="44196" y="953"/>
                        <a:pt x="4219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1" name="任意多边形: 形状 120">
                  <a:extLst>
                    <a:ext uri="{FF2B5EF4-FFF2-40B4-BE49-F238E27FC236}">
                      <a16:creationId xmlns:a16="http://schemas.microsoft.com/office/drawing/2014/main" id="{A2A1C77C-A30E-4D42-A7B6-FFB1CEF11154}"/>
                    </a:ext>
                  </a:extLst>
                </p:cNvPr>
                <p:cNvSpPr/>
                <p:nvPr/>
              </p:nvSpPr>
              <p:spPr>
                <a:xfrm>
                  <a:off x="2436953" y="5765986"/>
                  <a:ext cx="180866" cy="144706"/>
                </a:xfrm>
                <a:custGeom>
                  <a:avLst/>
                  <a:gdLst>
                    <a:gd name="connsiteX0" fmla="*/ 108667 w 180866"/>
                    <a:gd name="connsiteY0" fmla="*/ 67 h 144706"/>
                    <a:gd name="connsiteX1" fmla="*/ 164293 w 180866"/>
                    <a:gd name="connsiteY1" fmla="*/ 18165 h 144706"/>
                    <a:gd name="connsiteX2" fmla="*/ 180866 w 180866"/>
                    <a:gd name="connsiteY2" fmla="*/ 52645 h 144706"/>
                    <a:gd name="connsiteX3" fmla="*/ 177913 w 180866"/>
                    <a:gd name="connsiteY3" fmla="*/ 57217 h 144706"/>
                    <a:gd name="connsiteX4" fmla="*/ 138766 w 180866"/>
                    <a:gd name="connsiteY4" fmla="*/ 81220 h 144706"/>
                    <a:gd name="connsiteX5" fmla="*/ 137242 w 180866"/>
                    <a:gd name="connsiteY5" fmla="*/ 78267 h 144706"/>
                    <a:gd name="connsiteX6" fmla="*/ 158197 w 180866"/>
                    <a:gd name="connsiteY6" fmla="*/ 25594 h 144706"/>
                    <a:gd name="connsiteX7" fmla="*/ 149243 w 180866"/>
                    <a:gd name="connsiteY7" fmla="*/ 18165 h 144706"/>
                    <a:gd name="connsiteX8" fmla="*/ 7892 w 180866"/>
                    <a:gd name="connsiteY8" fmla="*/ 114272 h 144706"/>
                    <a:gd name="connsiteX9" fmla="*/ 21322 w 180866"/>
                    <a:gd name="connsiteY9" fmla="*/ 126369 h 144706"/>
                    <a:gd name="connsiteX10" fmla="*/ 73900 w 180866"/>
                    <a:gd name="connsiteY10" fmla="*/ 87126 h 144706"/>
                    <a:gd name="connsiteX11" fmla="*/ 76948 w 180866"/>
                    <a:gd name="connsiteY11" fmla="*/ 88840 h 144706"/>
                    <a:gd name="connsiteX12" fmla="*/ 95046 w 180866"/>
                    <a:gd name="connsiteY12" fmla="*/ 124749 h 144706"/>
                    <a:gd name="connsiteX13" fmla="*/ 25799 w 180866"/>
                    <a:gd name="connsiteY13" fmla="*/ 144276 h 144706"/>
                    <a:gd name="connsiteX14" fmla="*/ 49897 w 180866"/>
                    <a:gd name="connsiteY14" fmla="*/ 24070 h 144706"/>
                    <a:gd name="connsiteX15" fmla="*/ 108667 w 180866"/>
                    <a:gd name="connsiteY15" fmla="*/ 67 h 1447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80866" h="144706">
                      <a:moveTo>
                        <a:pt x="108667" y="67"/>
                      </a:moveTo>
                      <a:cubicBezTo>
                        <a:pt x="138575" y="-790"/>
                        <a:pt x="148291" y="6639"/>
                        <a:pt x="164293" y="18165"/>
                      </a:cubicBezTo>
                      <a:cubicBezTo>
                        <a:pt x="164864" y="39786"/>
                        <a:pt x="167531" y="42358"/>
                        <a:pt x="180866" y="52645"/>
                      </a:cubicBezTo>
                      <a:cubicBezTo>
                        <a:pt x="179818" y="54169"/>
                        <a:pt x="178771" y="55598"/>
                        <a:pt x="177913" y="57217"/>
                      </a:cubicBezTo>
                      <a:cubicBezTo>
                        <a:pt x="164864" y="65313"/>
                        <a:pt x="151910" y="73219"/>
                        <a:pt x="138766" y="81220"/>
                      </a:cubicBezTo>
                      <a:cubicBezTo>
                        <a:pt x="138194" y="80268"/>
                        <a:pt x="137718" y="79315"/>
                        <a:pt x="137242" y="78267"/>
                      </a:cubicBezTo>
                      <a:cubicBezTo>
                        <a:pt x="143909" y="59217"/>
                        <a:pt x="156292" y="51502"/>
                        <a:pt x="158197" y="25594"/>
                      </a:cubicBezTo>
                      <a:cubicBezTo>
                        <a:pt x="155244" y="23118"/>
                        <a:pt x="152196" y="20736"/>
                        <a:pt x="149243" y="18165"/>
                      </a:cubicBezTo>
                      <a:cubicBezTo>
                        <a:pt x="114477" y="1401"/>
                        <a:pt x="9321" y="82173"/>
                        <a:pt x="7892" y="114272"/>
                      </a:cubicBezTo>
                      <a:cubicBezTo>
                        <a:pt x="11512" y="120558"/>
                        <a:pt x="14941" y="122940"/>
                        <a:pt x="21322" y="126369"/>
                      </a:cubicBezTo>
                      <a:cubicBezTo>
                        <a:pt x="47230" y="119892"/>
                        <a:pt x="60184" y="105795"/>
                        <a:pt x="73900" y="87126"/>
                      </a:cubicBezTo>
                      <a:cubicBezTo>
                        <a:pt x="75043" y="87697"/>
                        <a:pt x="75901" y="88269"/>
                        <a:pt x="76948" y="88840"/>
                      </a:cubicBezTo>
                      <a:cubicBezTo>
                        <a:pt x="82187" y="102651"/>
                        <a:pt x="93141" y="107414"/>
                        <a:pt x="95046" y="124749"/>
                      </a:cubicBezTo>
                      <a:cubicBezTo>
                        <a:pt x="64756" y="119320"/>
                        <a:pt x="55327" y="148562"/>
                        <a:pt x="25799" y="144276"/>
                      </a:cubicBezTo>
                      <a:cubicBezTo>
                        <a:pt x="-27350" y="107223"/>
                        <a:pt x="12178" y="49311"/>
                        <a:pt x="49897" y="24070"/>
                      </a:cubicBezTo>
                      <a:cubicBezTo>
                        <a:pt x="69519" y="16069"/>
                        <a:pt x="89045" y="8068"/>
                        <a:pt x="108667" y="67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2" name="任意多边形: 形状 121">
                  <a:extLst>
                    <a:ext uri="{FF2B5EF4-FFF2-40B4-BE49-F238E27FC236}">
                      <a16:creationId xmlns:a16="http://schemas.microsoft.com/office/drawing/2014/main" id="{EAC214F9-91BC-4DF7-84F0-2A50838EE729}"/>
                    </a:ext>
                  </a:extLst>
                </p:cNvPr>
                <p:cNvSpPr/>
                <p:nvPr/>
              </p:nvSpPr>
              <p:spPr>
                <a:xfrm>
                  <a:off x="4418425" y="5773578"/>
                  <a:ext cx="272033" cy="253057"/>
                </a:xfrm>
                <a:custGeom>
                  <a:avLst/>
                  <a:gdLst>
                    <a:gd name="connsiteX0" fmla="*/ 118777 w 272033"/>
                    <a:gd name="connsiteY0" fmla="*/ 0 h 253057"/>
                    <a:gd name="connsiteX1" fmla="*/ 126206 w 272033"/>
                    <a:gd name="connsiteY1" fmla="*/ 3048 h 253057"/>
                    <a:gd name="connsiteX2" fmla="*/ 272034 w 272033"/>
                    <a:gd name="connsiteY2" fmla="*/ 114300 h 253057"/>
                    <a:gd name="connsiteX3" fmla="*/ 272034 w 272033"/>
                    <a:gd name="connsiteY3" fmla="*/ 118872 h 253057"/>
                    <a:gd name="connsiteX4" fmla="*/ 270415 w 272033"/>
                    <a:gd name="connsiteY4" fmla="*/ 121825 h 253057"/>
                    <a:gd name="connsiteX5" fmla="*/ 129159 w 272033"/>
                    <a:gd name="connsiteY5" fmla="*/ 99346 h 253057"/>
                    <a:gd name="connsiteX6" fmla="*/ 127730 w 272033"/>
                    <a:gd name="connsiteY6" fmla="*/ 100775 h 253057"/>
                    <a:gd name="connsiteX7" fmla="*/ 127730 w 272033"/>
                    <a:gd name="connsiteY7" fmla="*/ 102299 h 253057"/>
                    <a:gd name="connsiteX8" fmla="*/ 205740 w 272033"/>
                    <a:gd name="connsiteY8" fmla="*/ 159258 h 253057"/>
                    <a:gd name="connsiteX9" fmla="*/ 234315 w 272033"/>
                    <a:gd name="connsiteY9" fmla="*/ 165354 h 253057"/>
                    <a:gd name="connsiteX10" fmla="*/ 219361 w 272033"/>
                    <a:gd name="connsiteY10" fmla="*/ 187928 h 253057"/>
                    <a:gd name="connsiteX11" fmla="*/ 198406 w 272033"/>
                    <a:gd name="connsiteY11" fmla="*/ 162401 h 253057"/>
                    <a:gd name="connsiteX12" fmla="*/ 70485 w 272033"/>
                    <a:gd name="connsiteY12" fmla="*/ 91726 h 253057"/>
                    <a:gd name="connsiteX13" fmla="*/ 70485 w 272033"/>
                    <a:gd name="connsiteY13" fmla="*/ 93250 h 253057"/>
                    <a:gd name="connsiteX14" fmla="*/ 178784 w 272033"/>
                    <a:gd name="connsiteY14" fmla="*/ 190976 h 253057"/>
                    <a:gd name="connsiteX15" fmla="*/ 168307 w 272033"/>
                    <a:gd name="connsiteY15" fmla="*/ 251174 h 253057"/>
                    <a:gd name="connsiteX16" fmla="*/ 38957 w 272033"/>
                    <a:gd name="connsiteY16" fmla="*/ 178975 h 253057"/>
                    <a:gd name="connsiteX17" fmla="*/ 0 w 272033"/>
                    <a:gd name="connsiteY17" fmla="*/ 156401 h 253057"/>
                    <a:gd name="connsiteX18" fmla="*/ 31528 w 272033"/>
                    <a:gd name="connsiteY18" fmla="*/ 123349 h 253057"/>
                    <a:gd name="connsiteX19" fmla="*/ 34576 w 272033"/>
                    <a:gd name="connsiteY19" fmla="*/ 124873 h 253057"/>
                    <a:gd name="connsiteX20" fmla="*/ 159258 w 272033"/>
                    <a:gd name="connsiteY20" fmla="*/ 233077 h 253057"/>
                    <a:gd name="connsiteX21" fmla="*/ 177451 w 272033"/>
                    <a:gd name="connsiteY21" fmla="*/ 224028 h 253057"/>
                    <a:gd name="connsiteX22" fmla="*/ 45053 w 272033"/>
                    <a:gd name="connsiteY22" fmla="*/ 108299 h 253057"/>
                    <a:gd name="connsiteX23" fmla="*/ 46577 w 272033"/>
                    <a:gd name="connsiteY23" fmla="*/ 102299 h 253057"/>
                    <a:gd name="connsiteX24" fmla="*/ 81153 w 272033"/>
                    <a:gd name="connsiteY24" fmla="*/ 60198 h 253057"/>
                    <a:gd name="connsiteX25" fmla="*/ 189452 w 272033"/>
                    <a:gd name="connsiteY25" fmla="*/ 76676 h 253057"/>
                    <a:gd name="connsiteX26" fmla="*/ 189452 w 272033"/>
                    <a:gd name="connsiteY26" fmla="*/ 73628 h 253057"/>
                    <a:gd name="connsiteX27" fmla="*/ 103632 w 272033"/>
                    <a:gd name="connsiteY27" fmla="*/ 28575 h 253057"/>
                    <a:gd name="connsiteX28" fmla="*/ 103632 w 272033"/>
                    <a:gd name="connsiteY28" fmla="*/ 24003 h 253057"/>
                    <a:gd name="connsiteX29" fmla="*/ 118777 w 272033"/>
                    <a:gd name="connsiteY29" fmla="*/ 0 h 253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272033" h="253057">
                      <a:moveTo>
                        <a:pt x="118777" y="0"/>
                      </a:moveTo>
                      <a:cubicBezTo>
                        <a:pt x="121158" y="857"/>
                        <a:pt x="123730" y="2000"/>
                        <a:pt x="126206" y="3048"/>
                      </a:cubicBezTo>
                      <a:cubicBezTo>
                        <a:pt x="127730" y="21812"/>
                        <a:pt x="250698" y="108776"/>
                        <a:pt x="272034" y="114300"/>
                      </a:cubicBezTo>
                      <a:lnTo>
                        <a:pt x="272034" y="118872"/>
                      </a:lnTo>
                      <a:cubicBezTo>
                        <a:pt x="271558" y="119825"/>
                        <a:pt x="271177" y="120777"/>
                        <a:pt x="270415" y="121825"/>
                      </a:cubicBezTo>
                      <a:cubicBezTo>
                        <a:pt x="223361" y="114300"/>
                        <a:pt x="176308" y="106680"/>
                        <a:pt x="129159" y="99346"/>
                      </a:cubicBezTo>
                      <a:lnTo>
                        <a:pt x="127730" y="100775"/>
                      </a:lnTo>
                      <a:lnTo>
                        <a:pt x="127730" y="102299"/>
                      </a:lnTo>
                      <a:cubicBezTo>
                        <a:pt x="153829" y="121349"/>
                        <a:pt x="179642" y="140399"/>
                        <a:pt x="205740" y="159258"/>
                      </a:cubicBezTo>
                      <a:cubicBezTo>
                        <a:pt x="215360" y="161354"/>
                        <a:pt x="224885" y="163449"/>
                        <a:pt x="234315" y="165354"/>
                      </a:cubicBezTo>
                      <a:cubicBezTo>
                        <a:pt x="232124" y="179165"/>
                        <a:pt x="224790" y="178784"/>
                        <a:pt x="219361" y="187928"/>
                      </a:cubicBezTo>
                      <a:cubicBezTo>
                        <a:pt x="209169" y="183642"/>
                        <a:pt x="207645" y="168402"/>
                        <a:pt x="198406" y="162401"/>
                      </a:cubicBezTo>
                      <a:cubicBezTo>
                        <a:pt x="175832" y="148304"/>
                        <a:pt x="96965" y="85439"/>
                        <a:pt x="70485" y="91726"/>
                      </a:cubicBezTo>
                      <a:lnTo>
                        <a:pt x="70485" y="93250"/>
                      </a:lnTo>
                      <a:cubicBezTo>
                        <a:pt x="81534" y="127254"/>
                        <a:pt x="155638" y="160972"/>
                        <a:pt x="178784" y="190976"/>
                      </a:cubicBezTo>
                      <a:cubicBezTo>
                        <a:pt x="193358" y="209836"/>
                        <a:pt x="192024" y="242888"/>
                        <a:pt x="168307" y="251174"/>
                      </a:cubicBezTo>
                      <a:cubicBezTo>
                        <a:pt x="119063" y="265081"/>
                        <a:pt x="67437" y="198025"/>
                        <a:pt x="38957" y="178975"/>
                      </a:cubicBezTo>
                      <a:cubicBezTo>
                        <a:pt x="30290" y="173069"/>
                        <a:pt x="4382" y="165830"/>
                        <a:pt x="0" y="156401"/>
                      </a:cubicBezTo>
                      <a:cubicBezTo>
                        <a:pt x="10859" y="147447"/>
                        <a:pt x="21622" y="133636"/>
                        <a:pt x="31528" y="123349"/>
                      </a:cubicBezTo>
                      <a:cubicBezTo>
                        <a:pt x="32480" y="123825"/>
                        <a:pt x="33433" y="124301"/>
                        <a:pt x="34576" y="124873"/>
                      </a:cubicBezTo>
                      <a:cubicBezTo>
                        <a:pt x="32290" y="157258"/>
                        <a:pt x="129921" y="218789"/>
                        <a:pt x="159258" y="233077"/>
                      </a:cubicBezTo>
                      <a:cubicBezTo>
                        <a:pt x="165259" y="230219"/>
                        <a:pt x="171260" y="227076"/>
                        <a:pt x="177451" y="224028"/>
                      </a:cubicBezTo>
                      <a:cubicBezTo>
                        <a:pt x="179642" y="186404"/>
                        <a:pt x="80105" y="112395"/>
                        <a:pt x="45053" y="108299"/>
                      </a:cubicBezTo>
                      <a:cubicBezTo>
                        <a:pt x="45625" y="106204"/>
                        <a:pt x="46196" y="104394"/>
                        <a:pt x="46577" y="102299"/>
                      </a:cubicBezTo>
                      <a:cubicBezTo>
                        <a:pt x="58103" y="88202"/>
                        <a:pt x="69628" y="74200"/>
                        <a:pt x="81153" y="60198"/>
                      </a:cubicBezTo>
                      <a:cubicBezTo>
                        <a:pt x="117158" y="65627"/>
                        <a:pt x="153257" y="71247"/>
                        <a:pt x="189452" y="76676"/>
                      </a:cubicBezTo>
                      <a:lnTo>
                        <a:pt x="189452" y="73628"/>
                      </a:lnTo>
                      <a:cubicBezTo>
                        <a:pt x="158496" y="58769"/>
                        <a:pt x="147638" y="27623"/>
                        <a:pt x="103632" y="28575"/>
                      </a:cubicBezTo>
                      <a:lnTo>
                        <a:pt x="103632" y="24003"/>
                      </a:lnTo>
                      <a:lnTo>
                        <a:pt x="118777" y="0"/>
                      </a:ln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3" name="任意多边形: 形状 122">
                  <a:extLst>
                    <a:ext uri="{FF2B5EF4-FFF2-40B4-BE49-F238E27FC236}">
                      <a16:creationId xmlns:a16="http://schemas.microsoft.com/office/drawing/2014/main" id="{5E5D2DC8-42D4-4120-A0CC-D65B2C2BD7FC}"/>
                    </a:ext>
                  </a:extLst>
                </p:cNvPr>
                <p:cNvSpPr/>
                <p:nvPr/>
              </p:nvSpPr>
              <p:spPr>
                <a:xfrm>
                  <a:off x="2483993" y="5839777"/>
                  <a:ext cx="177240" cy="184880"/>
                </a:xfrm>
                <a:custGeom>
                  <a:avLst/>
                  <a:gdLst>
                    <a:gd name="connsiteX0" fmla="*/ 141161 w 177240"/>
                    <a:gd name="connsiteY0" fmla="*/ 0 h 184880"/>
                    <a:gd name="connsiteX1" fmla="*/ 151733 w 177240"/>
                    <a:gd name="connsiteY1" fmla="*/ 103632 h 184880"/>
                    <a:gd name="connsiteX2" fmla="*/ 100489 w 177240"/>
                    <a:gd name="connsiteY2" fmla="*/ 115633 h 184880"/>
                    <a:gd name="connsiteX3" fmla="*/ 61531 w 177240"/>
                    <a:gd name="connsiteY3" fmla="*/ 184880 h 184880"/>
                    <a:gd name="connsiteX4" fmla="*/ 52483 w 177240"/>
                    <a:gd name="connsiteY4" fmla="*/ 178879 h 184880"/>
                    <a:gd name="connsiteX5" fmla="*/ 42005 w 177240"/>
                    <a:gd name="connsiteY5" fmla="*/ 166878 h 184880"/>
                    <a:gd name="connsiteX6" fmla="*/ 78105 w 177240"/>
                    <a:gd name="connsiteY6" fmla="*/ 100679 h 184880"/>
                    <a:gd name="connsiteX7" fmla="*/ 75152 w 177240"/>
                    <a:gd name="connsiteY7" fmla="*/ 97631 h 184880"/>
                    <a:gd name="connsiteX8" fmla="*/ 28575 w 177240"/>
                    <a:gd name="connsiteY8" fmla="*/ 139732 h 184880"/>
                    <a:gd name="connsiteX9" fmla="*/ 22574 w 177240"/>
                    <a:gd name="connsiteY9" fmla="*/ 139732 h 184880"/>
                    <a:gd name="connsiteX10" fmla="*/ 0 w 177240"/>
                    <a:gd name="connsiteY10" fmla="*/ 105156 h 184880"/>
                    <a:gd name="connsiteX11" fmla="*/ 141161 w 177240"/>
                    <a:gd name="connsiteY11" fmla="*/ 0 h 1848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77240" h="184880">
                      <a:moveTo>
                        <a:pt x="141161" y="0"/>
                      </a:moveTo>
                      <a:cubicBezTo>
                        <a:pt x="181642" y="12859"/>
                        <a:pt x="192024" y="83439"/>
                        <a:pt x="151733" y="103632"/>
                      </a:cubicBezTo>
                      <a:cubicBezTo>
                        <a:pt x="136874" y="111062"/>
                        <a:pt x="112871" y="107537"/>
                        <a:pt x="100489" y="115633"/>
                      </a:cubicBezTo>
                      <a:cubicBezTo>
                        <a:pt x="90773" y="140208"/>
                        <a:pt x="68390" y="157258"/>
                        <a:pt x="61531" y="184880"/>
                      </a:cubicBezTo>
                      <a:cubicBezTo>
                        <a:pt x="53340" y="184023"/>
                        <a:pt x="54864" y="185356"/>
                        <a:pt x="52483" y="178879"/>
                      </a:cubicBezTo>
                      <a:cubicBezTo>
                        <a:pt x="47530" y="175927"/>
                        <a:pt x="45148" y="171450"/>
                        <a:pt x="42005" y="166878"/>
                      </a:cubicBezTo>
                      <a:cubicBezTo>
                        <a:pt x="44482" y="140875"/>
                        <a:pt x="66199" y="120205"/>
                        <a:pt x="78105" y="100679"/>
                      </a:cubicBezTo>
                      <a:cubicBezTo>
                        <a:pt x="77057" y="99727"/>
                        <a:pt x="76105" y="98584"/>
                        <a:pt x="75152" y="97631"/>
                      </a:cubicBezTo>
                      <a:cubicBezTo>
                        <a:pt x="56293" y="105442"/>
                        <a:pt x="35242" y="119063"/>
                        <a:pt x="28575" y="139732"/>
                      </a:cubicBezTo>
                      <a:lnTo>
                        <a:pt x="22574" y="139732"/>
                      </a:lnTo>
                      <a:cubicBezTo>
                        <a:pt x="14192" y="130873"/>
                        <a:pt x="3238" y="118396"/>
                        <a:pt x="0" y="105156"/>
                      </a:cubicBezTo>
                      <a:cubicBezTo>
                        <a:pt x="28575" y="105442"/>
                        <a:pt x="137160" y="22384"/>
                        <a:pt x="141161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4" name="任意多边形: 形状 123">
                  <a:extLst>
                    <a:ext uri="{FF2B5EF4-FFF2-40B4-BE49-F238E27FC236}">
                      <a16:creationId xmlns:a16="http://schemas.microsoft.com/office/drawing/2014/main" id="{F3BFFAA1-777C-439A-BBC5-7532E66466D9}"/>
                    </a:ext>
                  </a:extLst>
                </p:cNvPr>
                <p:cNvSpPr/>
                <p:nvPr/>
              </p:nvSpPr>
              <p:spPr>
                <a:xfrm>
                  <a:off x="2583148" y="5877210"/>
                  <a:ext cx="64674" cy="51703"/>
                </a:xfrm>
                <a:custGeom>
                  <a:avLst/>
                  <a:gdLst>
                    <a:gd name="connsiteX0" fmla="*/ 57055 w 64674"/>
                    <a:gd name="connsiteY0" fmla="*/ 0 h 51703"/>
                    <a:gd name="connsiteX1" fmla="*/ 0 w 64674"/>
                    <a:gd name="connsiteY1" fmla="*/ 42101 h 51703"/>
                    <a:gd name="connsiteX2" fmla="*/ 64675 w 64674"/>
                    <a:gd name="connsiteY2" fmla="*/ 4477 h 51703"/>
                    <a:gd name="connsiteX3" fmla="*/ 57055 w 64674"/>
                    <a:gd name="connsiteY3" fmla="*/ 0 h 517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4674" h="51703">
                      <a:moveTo>
                        <a:pt x="57055" y="0"/>
                      </a:moveTo>
                      <a:cubicBezTo>
                        <a:pt x="36671" y="9620"/>
                        <a:pt x="11335" y="23717"/>
                        <a:pt x="0" y="42101"/>
                      </a:cubicBezTo>
                      <a:cubicBezTo>
                        <a:pt x="16288" y="71152"/>
                        <a:pt x="63151" y="27146"/>
                        <a:pt x="64675" y="4477"/>
                      </a:cubicBezTo>
                      <a:cubicBezTo>
                        <a:pt x="62103" y="3048"/>
                        <a:pt x="59627" y="1619"/>
                        <a:pt x="57055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5" name="任意多边形: 形状 124">
                  <a:extLst>
                    <a:ext uri="{FF2B5EF4-FFF2-40B4-BE49-F238E27FC236}">
                      <a16:creationId xmlns:a16="http://schemas.microsoft.com/office/drawing/2014/main" id="{8AF2BC2D-DD68-4ADF-8C15-B6123A863907}"/>
                    </a:ext>
                  </a:extLst>
                </p:cNvPr>
                <p:cNvSpPr/>
                <p:nvPr/>
              </p:nvSpPr>
              <p:spPr>
                <a:xfrm>
                  <a:off x="2550191" y="5923883"/>
                  <a:ext cx="169830" cy="142875"/>
                </a:xfrm>
                <a:custGeom>
                  <a:avLst/>
                  <a:gdLst>
                    <a:gd name="connsiteX0" fmla="*/ 138208 w 169830"/>
                    <a:gd name="connsiteY0" fmla="*/ 0 h 142875"/>
                    <a:gd name="connsiteX1" fmla="*/ 169831 w 169830"/>
                    <a:gd name="connsiteY1" fmla="*/ 33147 h 142875"/>
                    <a:gd name="connsiteX2" fmla="*/ 165259 w 169830"/>
                    <a:gd name="connsiteY2" fmla="*/ 37624 h 142875"/>
                    <a:gd name="connsiteX3" fmla="*/ 51054 w 169830"/>
                    <a:gd name="connsiteY3" fmla="*/ 117348 h 142875"/>
                    <a:gd name="connsiteX4" fmla="*/ 27051 w 169830"/>
                    <a:gd name="connsiteY4" fmla="*/ 142875 h 142875"/>
                    <a:gd name="connsiteX5" fmla="*/ 25527 w 169830"/>
                    <a:gd name="connsiteY5" fmla="*/ 142875 h 142875"/>
                    <a:gd name="connsiteX6" fmla="*/ 0 w 169830"/>
                    <a:gd name="connsiteY6" fmla="*/ 114300 h 142875"/>
                    <a:gd name="connsiteX7" fmla="*/ 2953 w 169830"/>
                    <a:gd name="connsiteY7" fmla="*/ 109919 h 142875"/>
                    <a:gd name="connsiteX8" fmla="*/ 138208 w 169830"/>
                    <a:gd name="connsiteY8" fmla="*/ 0 h 142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9830" h="142875">
                      <a:moveTo>
                        <a:pt x="138208" y="0"/>
                      </a:moveTo>
                      <a:cubicBezTo>
                        <a:pt x="152400" y="4286"/>
                        <a:pt x="160782" y="22955"/>
                        <a:pt x="169831" y="33147"/>
                      </a:cubicBezTo>
                      <a:cubicBezTo>
                        <a:pt x="168212" y="34576"/>
                        <a:pt x="166878" y="36290"/>
                        <a:pt x="165259" y="37624"/>
                      </a:cubicBezTo>
                      <a:cubicBezTo>
                        <a:pt x="143637" y="32576"/>
                        <a:pt x="69628" y="102584"/>
                        <a:pt x="51054" y="117348"/>
                      </a:cubicBezTo>
                      <a:cubicBezTo>
                        <a:pt x="42386" y="124301"/>
                        <a:pt x="38005" y="138970"/>
                        <a:pt x="27051" y="142875"/>
                      </a:cubicBezTo>
                      <a:lnTo>
                        <a:pt x="25527" y="142875"/>
                      </a:lnTo>
                      <a:cubicBezTo>
                        <a:pt x="16954" y="133445"/>
                        <a:pt x="8573" y="123920"/>
                        <a:pt x="0" y="114300"/>
                      </a:cubicBezTo>
                      <a:cubicBezTo>
                        <a:pt x="952" y="112871"/>
                        <a:pt x="1905" y="111347"/>
                        <a:pt x="2953" y="109919"/>
                      </a:cubicBezTo>
                      <a:cubicBezTo>
                        <a:pt x="30194" y="113252"/>
                        <a:pt x="130683" y="25241"/>
                        <a:pt x="138208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6" name="任意多边形: 形状 125">
                  <a:extLst>
                    <a:ext uri="{FF2B5EF4-FFF2-40B4-BE49-F238E27FC236}">
                      <a16:creationId xmlns:a16="http://schemas.microsoft.com/office/drawing/2014/main" id="{6BF85C47-75A9-43E4-AB23-FE11707AE36A}"/>
                    </a:ext>
                  </a:extLst>
                </p:cNvPr>
                <p:cNvSpPr/>
                <p:nvPr/>
              </p:nvSpPr>
              <p:spPr>
                <a:xfrm>
                  <a:off x="4316126" y="5964459"/>
                  <a:ext cx="183356" cy="175831"/>
                </a:xfrm>
                <a:custGeom>
                  <a:avLst/>
                  <a:gdLst>
                    <a:gd name="connsiteX0" fmla="*/ 67628 w 183356"/>
                    <a:gd name="connsiteY0" fmla="*/ 0 h 175831"/>
                    <a:gd name="connsiteX1" fmla="*/ 72199 w 183356"/>
                    <a:gd name="connsiteY1" fmla="*/ 0 h 175831"/>
                    <a:gd name="connsiteX2" fmla="*/ 117253 w 183356"/>
                    <a:gd name="connsiteY2" fmla="*/ 94774 h 175831"/>
                    <a:gd name="connsiteX3" fmla="*/ 163830 w 183356"/>
                    <a:gd name="connsiteY3" fmla="*/ 136874 h 175831"/>
                    <a:gd name="connsiteX4" fmla="*/ 183356 w 183356"/>
                    <a:gd name="connsiteY4" fmla="*/ 142875 h 175831"/>
                    <a:gd name="connsiteX5" fmla="*/ 181832 w 183356"/>
                    <a:gd name="connsiteY5" fmla="*/ 148780 h 175831"/>
                    <a:gd name="connsiteX6" fmla="*/ 147256 w 183356"/>
                    <a:gd name="connsiteY6" fmla="*/ 175831 h 175831"/>
                    <a:gd name="connsiteX7" fmla="*/ 144208 w 183356"/>
                    <a:gd name="connsiteY7" fmla="*/ 174403 h 175831"/>
                    <a:gd name="connsiteX8" fmla="*/ 0 w 183356"/>
                    <a:gd name="connsiteY8" fmla="*/ 67532 h 175831"/>
                    <a:gd name="connsiteX9" fmla="*/ 0 w 183356"/>
                    <a:gd name="connsiteY9" fmla="*/ 66104 h 175831"/>
                    <a:gd name="connsiteX10" fmla="*/ 34576 w 183356"/>
                    <a:gd name="connsiteY10" fmla="*/ 34576 h 175831"/>
                    <a:gd name="connsiteX11" fmla="*/ 96203 w 183356"/>
                    <a:gd name="connsiteY11" fmla="*/ 84106 h 175831"/>
                    <a:gd name="connsiteX12" fmla="*/ 99251 w 183356"/>
                    <a:gd name="connsiteY12" fmla="*/ 82487 h 175831"/>
                    <a:gd name="connsiteX13" fmla="*/ 66199 w 183356"/>
                    <a:gd name="connsiteY13" fmla="*/ 20860 h 175831"/>
                    <a:gd name="connsiteX14" fmla="*/ 49530 w 183356"/>
                    <a:gd name="connsiteY14" fmla="*/ 16383 h 175831"/>
                    <a:gd name="connsiteX15" fmla="*/ 51149 w 183356"/>
                    <a:gd name="connsiteY15" fmla="*/ 11811 h 175831"/>
                    <a:gd name="connsiteX16" fmla="*/ 67628 w 183356"/>
                    <a:gd name="connsiteY16" fmla="*/ 0 h 1758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83356" h="175831">
                      <a:moveTo>
                        <a:pt x="67628" y="0"/>
                      </a:moveTo>
                      <a:lnTo>
                        <a:pt x="72199" y="0"/>
                      </a:lnTo>
                      <a:cubicBezTo>
                        <a:pt x="87249" y="31623"/>
                        <a:pt x="102298" y="63151"/>
                        <a:pt x="117253" y="94774"/>
                      </a:cubicBezTo>
                      <a:cubicBezTo>
                        <a:pt x="132779" y="108680"/>
                        <a:pt x="148399" y="122777"/>
                        <a:pt x="163830" y="136874"/>
                      </a:cubicBezTo>
                      <a:cubicBezTo>
                        <a:pt x="170497" y="140779"/>
                        <a:pt x="178308" y="138017"/>
                        <a:pt x="183356" y="142875"/>
                      </a:cubicBezTo>
                      <a:cubicBezTo>
                        <a:pt x="182880" y="144875"/>
                        <a:pt x="182213" y="146780"/>
                        <a:pt x="181832" y="148780"/>
                      </a:cubicBezTo>
                      <a:cubicBezTo>
                        <a:pt x="167735" y="155257"/>
                        <a:pt x="162020" y="168973"/>
                        <a:pt x="147256" y="175831"/>
                      </a:cubicBezTo>
                      <a:cubicBezTo>
                        <a:pt x="146304" y="175355"/>
                        <a:pt x="145352" y="174784"/>
                        <a:pt x="144208" y="174403"/>
                      </a:cubicBezTo>
                      <a:cubicBezTo>
                        <a:pt x="143923" y="115919"/>
                        <a:pt x="41338" y="84772"/>
                        <a:pt x="0" y="67532"/>
                      </a:cubicBezTo>
                      <a:lnTo>
                        <a:pt x="0" y="66104"/>
                      </a:lnTo>
                      <a:cubicBezTo>
                        <a:pt x="3620" y="52197"/>
                        <a:pt x="20288" y="37624"/>
                        <a:pt x="34576" y="34576"/>
                      </a:cubicBezTo>
                      <a:cubicBezTo>
                        <a:pt x="36576" y="62960"/>
                        <a:pt x="76200" y="73438"/>
                        <a:pt x="96203" y="84106"/>
                      </a:cubicBezTo>
                      <a:cubicBezTo>
                        <a:pt x="97155" y="83629"/>
                        <a:pt x="98203" y="83248"/>
                        <a:pt x="99251" y="82487"/>
                      </a:cubicBezTo>
                      <a:cubicBezTo>
                        <a:pt x="96583" y="65056"/>
                        <a:pt x="79724" y="28575"/>
                        <a:pt x="66199" y="20860"/>
                      </a:cubicBezTo>
                      <a:cubicBezTo>
                        <a:pt x="60579" y="19526"/>
                        <a:pt x="55150" y="17812"/>
                        <a:pt x="49530" y="16383"/>
                      </a:cubicBezTo>
                      <a:cubicBezTo>
                        <a:pt x="50102" y="14954"/>
                        <a:pt x="50578" y="13430"/>
                        <a:pt x="51149" y="11811"/>
                      </a:cubicBezTo>
                      <a:cubicBezTo>
                        <a:pt x="56579" y="8001"/>
                        <a:pt x="62103" y="4000"/>
                        <a:pt x="67628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7" name="任意多边形: 形状 126">
                  <a:extLst>
                    <a:ext uri="{FF2B5EF4-FFF2-40B4-BE49-F238E27FC236}">
                      <a16:creationId xmlns:a16="http://schemas.microsoft.com/office/drawing/2014/main" id="{5CC2954A-781F-42D8-8108-D627DCDC5EBD}"/>
                    </a:ext>
                  </a:extLst>
                </p:cNvPr>
                <p:cNvSpPr/>
                <p:nvPr/>
              </p:nvSpPr>
              <p:spPr>
                <a:xfrm>
                  <a:off x="2617958" y="5982886"/>
                  <a:ext cx="243129" cy="226332"/>
                </a:xfrm>
                <a:custGeom>
                  <a:avLst/>
                  <a:gdLst>
                    <a:gd name="connsiteX0" fmla="*/ 130449 w 243129"/>
                    <a:gd name="connsiteY0" fmla="*/ 76348 h 226332"/>
                    <a:gd name="connsiteX1" fmla="*/ 139498 w 243129"/>
                    <a:gd name="connsiteY1" fmla="*/ 17673 h 226332"/>
                    <a:gd name="connsiteX2" fmla="*/ 127401 w 243129"/>
                    <a:gd name="connsiteY2" fmla="*/ 11577 h 226332"/>
                    <a:gd name="connsiteX3" fmla="*/ 67298 w 243129"/>
                    <a:gd name="connsiteY3" fmla="*/ 141022 h 226332"/>
                    <a:gd name="connsiteX4" fmla="*/ 64345 w 243129"/>
                    <a:gd name="connsiteY4" fmla="*/ 148452 h 226332"/>
                    <a:gd name="connsiteX5" fmla="*/ 100350 w 243129"/>
                    <a:gd name="connsiteY5" fmla="*/ 1290 h 226332"/>
                    <a:gd name="connsiteX6" fmla="*/ 204077 w 243129"/>
                    <a:gd name="connsiteY6" fmla="*/ 68823 h 226332"/>
                    <a:gd name="connsiteX7" fmla="*/ 204077 w 243129"/>
                    <a:gd name="connsiteY7" fmla="*/ 74823 h 226332"/>
                    <a:gd name="connsiteX8" fmla="*/ 112447 w 243129"/>
                    <a:gd name="connsiteY8" fmla="*/ 165025 h 226332"/>
                    <a:gd name="connsiteX9" fmla="*/ 100350 w 243129"/>
                    <a:gd name="connsiteY9" fmla="*/ 203982 h 226332"/>
                    <a:gd name="connsiteX10" fmla="*/ 106446 w 243129"/>
                    <a:gd name="connsiteY10" fmla="*/ 211602 h 226332"/>
                    <a:gd name="connsiteX11" fmla="*/ 127401 w 243129"/>
                    <a:gd name="connsiteY11" fmla="*/ 212936 h 226332"/>
                    <a:gd name="connsiteX12" fmla="*/ 177026 w 243129"/>
                    <a:gd name="connsiteY12" fmla="*/ 161977 h 226332"/>
                    <a:gd name="connsiteX13" fmla="*/ 225127 w 243129"/>
                    <a:gd name="connsiteY13" fmla="*/ 89778 h 226332"/>
                    <a:gd name="connsiteX14" fmla="*/ 243130 w 243129"/>
                    <a:gd name="connsiteY14" fmla="*/ 103398 h 226332"/>
                    <a:gd name="connsiteX15" fmla="*/ 91301 w 243129"/>
                    <a:gd name="connsiteY15" fmla="*/ 220651 h 226332"/>
                    <a:gd name="connsiteX16" fmla="*/ 163501 w 243129"/>
                    <a:gd name="connsiteY16" fmla="*/ 59679 h 226332"/>
                    <a:gd name="connsiteX17" fmla="*/ 161977 w 243129"/>
                    <a:gd name="connsiteY17" fmla="*/ 56821 h 226332"/>
                    <a:gd name="connsiteX18" fmla="*/ 137974 w 243129"/>
                    <a:gd name="connsiteY18" fmla="*/ 76348 h 226332"/>
                    <a:gd name="connsiteX19" fmla="*/ 130449 w 243129"/>
                    <a:gd name="connsiteY19" fmla="*/ 76348 h 2263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43129" h="226332">
                      <a:moveTo>
                        <a:pt x="130449" y="76348"/>
                      </a:moveTo>
                      <a:cubicBezTo>
                        <a:pt x="133306" y="55869"/>
                        <a:pt x="150737" y="40152"/>
                        <a:pt x="139498" y="17673"/>
                      </a:cubicBezTo>
                      <a:cubicBezTo>
                        <a:pt x="135497" y="15673"/>
                        <a:pt x="131497" y="13673"/>
                        <a:pt x="127401" y="11577"/>
                      </a:cubicBezTo>
                      <a:cubicBezTo>
                        <a:pt x="95302" y="23769"/>
                        <a:pt x="-63671" y="146928"/>
                        <a:pt x="67298" y="141022"/>
                      </a:cubicBezTo>
                      <a:cubicBezTo>
                        <a:pt x="66250" y="143499"/>
                        <a:pt x="65298" y="145975"/>
                        <a:pt x="64345" y="148452"/>
                      </a:cubicBezTo>
                      <a:cubicBezTo>
                        <a:pt x="-71195" y="164358"/>
                        <a:pt x="40247" y="14340"/>
                        <a:pt x="100350" y="1290"/>
                      </a:cubicBezTo>
                      <a:cubicBezTo>
                        <a:pt x="149785" y="-9664"/>
                        <a:pt x="167882" y="52249"/>
                        <a:pt x="204077" y="68823"/>
                      </a:cubicBezTo>
                      <a:lnTo>
                        <a:pt x="204077" y="74823"/>
                      </a:lnTo>
                      <a:cubicBezTo>
                        <a:pt x="170644" y="74633"/>
                        <a:pt x="129401" y="142451"/>
                        <a:pt x="112447" y="165025"/>
                      </a:cubicBezTo>
                      <a:cubicBezTo>
                        <a:pt x="106351" y="173026"/>
                        <a:pt x="93587" y="193600"/>
                        <a:pt x="100350" y="203982"/>
                      </a:cubicBezTo>
                      <a:cubicBezTo>
                        <a:pt x="102445" y="208650"/>
                        <a:pt x="102445" y="208935"/>
                        <a:pt x="106446" y="211602"/>
                      </a:cubicBezTo>
                      <a:cubicBezTo>
                        <a:pt x="113113" y="214460"/>
                        <a:pt x="117590" y="213317"/>
                        <a:pt x="127401" y="212936"/>
                      </a:cubicBezTo>
                      <a:cubicBezTo>
                        <a:pt x="143974" y="195982"/>
                        <a:pt x="160548" y="179027"/>
                        <a:pt x="177026" y="161977"/>
                      </a:cubicBezTo>
                      <a:cubicBezTo>
                        <a:pt x="194838" y="138450"/>
                        <a:pt x="206935" y="113495"/>
                        <a:pt x="225127" y="89778"/>
                      </a:cubicBezTo>
                      <a:cubicBezTo>
                        <a:pt x="233128" y="92064"/>
                        <a:pt x="240463" y="95398"/>
                        <a:pt x="243130" y="103398"/>
                      </a:cubicBezTo>
                      <a:cubicBezTo>
                        <a:pt x="199696" y="107685"/>
                        <a:pt x="150547" y="256941"/>
                        <a:pt x="91301" y="220651"/>
                      </a:cubicBezTo>
                      <a:cubicBezTo>
                        <a:pt x="39009" y="188552"/>
                        <a:pt x="150642" y="82539"/>
                        <a:pt x="163501" y="59679"/>
                      </a:cubicBezTo>
                      <a:cubicBezTo>
                        <a:pt x="162929" y="58821"/>
                        <a:pt x="162358" y="57678"/>
                        <a:pt x="161977" y="56821"/>
                      </a:cubicBezTo>
                      <a:cubicBezTo>
                        <a:pt x="152356" y="59679"/>
                        <a:pt x="144451" y="69775"/>
                        <a:pt x="137974" y="76348"/>
                      </a:cubicBezTo>
                      <a:lnTo>
                        <a:pt x="130449" y="76348"/>
                      </a:ln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8" name="任意多边形: 形状 127">
                  <a:extLst>
                    <a:ext uri="{FF2B5EF4-FFF2-40B4-BE49-F238E27FC236}">
                      <a16:creationId xmlns:a16="http://schemas.microsoft.com/office/drawing/2014/main" id="{CBAC627E-3F78-4BE8-BD87-1015699D4DFA}"/>
                    </a:ext>
                  </a:extLst>
                </p:cNvPr>
                <p:cNvSpPr/>
                <p:nvPr/>
              </p:nvSpPr>
              <p:spPr>
                <a:xfrm>
                  <a:off x="4160925" y="6050034"/>
                  <a:ext cx="269405" cy="222368"/>
                </a:xfrm>
                <a:custGeom>
                  <a:avLst/>
                  <a:gdLst>
                    <a:gd name="connsiteX0" fmla="*/ 123674 w 269405"/>
                    <a:gd name="connsiteY0" fmla="*/ 55 h 222368"/>
                    <a:gd name="connsiteX1" fmla="*/ 189777 w 269405"/>
                    <a:gd name="connsiteY1" fmla="*/ 70921 h 222368"/>
                    <a:gd name="connsiteX2" fmla="*/ 269406 w 269405"/>
                    <a:gd name="connsiteY2" fmla="*/ 115879 h 222368"/>
                    <a:gd name="connsiteX3" fmla="*/ 267977 w 269405"/>
                    <a:gd name="connsiteY3" fmla="*/ 120356 h 222368"/>
                    <a:gd name="connsiteX4" fmla="*/ 245308 w 269405"/>
                    <a:gd name="connsiteY4" fmla="*/ 135501 h 222368"/>
                    <a:gd name="connsiteX5" fmla="*/ 179109 w 269405"/>
                    <a:gd name="connsiteY5" fmla="*/ 100925 h 222368"/>
                    <a:gd name="connsiteX6" fmla="*/ 179109 w 269405"/>
                    <a:gd name="connsiteY6" fmla="*/ 102259 h 222368"/>
                    <a:gd name="connsiteX7" fmla="*/ 225782 w 269405"/>
                    <a:gd name="connsiteY7" fmla="*/ 148931 h 222368"/>
                    <a:gd name="connsiteX8" fmla="*/ 194159 w 269405"/>
                    <a:gd name="connsiteY8" fmla="*/ 177506 h 222368"/>
                    <a:gd name="connsiteX9" fmla="*/ 185205 w 269405"/>
                    <a:gd name="connsiteY9" fmla="*/ 175887 h 222368"/>
                    <a:gd name="connsiteX10" fmla="*/ 101194 w 269405"/>
                    <a:gd name="connsiteY10" fmla="*/ 57301 h 222368"/>
                    <a:gd name="connsiteX11" fmla="*/ 99575 w 269405"/>
                    <a:gd name="connsiteY11" fmla="*/ 57301 h 222368"/>
                    <a:gd name="connsiteX12" fmla="*/ 104147 w 269405"/>
                    <a:gd name="connsiteY12" fmla="*/ 75208 h 222368"/>
                    <a:gd name="connsiteX13" fmla="*/ 101194 w 269405"/>
                    <a:gd name="connsiteY13" fmla="*/ 76827 h 222368"/>
                    <a:gd name="connsiteX14" fmla="*/ 60523 w 269405"/>
                    <a:gd name="connsiteY14" fmla="*/ 48157 h 222368"/>
                    <a:gd name="connsiteX15" fmla="*/ 55951 w 269405"/>
                    <a:gd name="connsiteY15" fmla="*/ 52633 h 222368"/>
                    <a:gd name="connsiteX16" fmla="*/ 55951 w 269405"/>
                    <a:gd name="connsiteY16" fmla="*/ 58634 h 222368"/>
                    <a:gd name="connsiteX17" fmla="*/ 155201 w 269405"/>
                    <a:gd name="connsiteY17" fmla="*/ 195508 h 222368"/>
                    <a:gd name="connsiteX18" fmla="*/ 155201 w 269405"/>
                    <a:gd name="connsiteY18" fmla="*/ 201414 h 222368"/>
                    <a:gd name="connsiteX19" fmla="*/ 111577 w 269405"/>
                    <a:gd name="connsiteY19" fmla="*/ 222369 h 222368"/>
                    <a:gd name="connsiteX20" fmla="*/ 108529 w 269405"/>
                    <a:gd name="connsiteY20" fmla="*/ 219511 h 222368"/>
                    <a:gd name="connsiteX21" fmla="*/ 31948 w 269405"/>
                    <a:gd name="connsiteY21" fmla="*/ 72160 h 222368"/>
                    <a:gd name="connsiteX22" fmla="*/ 22899 w 269405"/>
                    <a:gd name="connsiteY22" fmla="*/ 73684 h 222368"/>
                    <a:gd name="connsiteX23" fmla="*/ 18422 w 269405"/>
                    <a:gd name="connsiteY23" fmla="*/ 82732 h 222368"/>
                    <a:gd name="connsiteX24" fmla="*/ 27471 w 269405"/>
                    <a:gd name="connsiteY24" fmla="*/ 117118 h 222368"/>
                    <a:gd name="connsiteX25" fmla="*/ 24518 w 269405"/>
                    <a:gd name="connsiteY25" fmla="*/ 120166 h 222368"/>
                    <a:gd name="connsiteX26" fmla="*/ 19851 w 269405"/>
                    <a:gd name="connsiteY26" fmla="*/ 118737 h 222368"/>
                    <a:gd name="connsiteX27" fmla="*/ 1849 w 269405"/>
                    <a:gd name="connsiteY27" fmla="*/ 70635 h 222368"/>
                    <a:gd name="connsiteX28" fmla="*/ 123674 w 269405"/>
                    <a:gd name="connsiteY28" fmla="*/ 55 h 2223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269405" h="222368">
                      <a:moveTo>
                        <a:pt x="123674" y="55"/>
                      </a:moveTo>
                      <a:cubicBezTo>
                        <a:pt x="177871" y="-1374"/>
                        <a:pt x="182443" y="25011"/>
                        <a:pt x="189777" y="70921"/>
                      </a:cubicBezTo>
                      <a:cubicBezTo>
                        <a:pt x="216352" y="85971"/>
                        <a:pt x="242831" y="101020"/>
                        <a:pt x="269406" y="115879"/>
                      </a:cubicBezTo>
                      <a:cubicBezTo>
                        <a:pt x="268930" y="117308"/>
                        <a:pt x="268453" y="118927"/>
                        <a:pt x="267977" y="120356"/>
                      </a:cubicBezTo>
                      <a:cubicBezTo>
                        <a:pt x="260357" y="125309"/>
                        <a:pt x="252833" y="130452"/>
                        <a:pt x="245308" y="135501"/>
                      </a:cubicBezTo>
                      <a:cubicBezTo>
                        <a:pt x="223210" y="123976"/>
                        <a:pt x="201207" y="112450"/>
                        <a:pt x="179109" y="100925"/>
                      </a:cubicBezTo>
                      <a:lnTo>
                        <a:pt x="179109" y="102259"/>
                      </a:lnTo>
                      <a:cubicBezTo>
                        <a:pt x="187491" y="127024"/>
                        <a:pt x="206541" y="134834"/>
                        <a:pt x="225782" y="148931"/>
                      </a:cubicBezTo>
                      <a:cubicBezTo>
                        <a:pt x="219685" y="161599"/>
                        <a:pt x="204160" y="168362"/>
                        <a:pt x="194159" y="177506"/>
                      </a:cubicBezTo>
                      <a:cubicBezTo>
                        <a:pt x="191206" y="177030"/>
                        <a:pt x="188253" y="176553"/>
                        <a:pt x="185205" y="175887"/>
                      </a:cubicBezTo>
                      <a:cubicBezTo>
                        <a:pt x="186443" y="152551"/>
                        <a:pt x="119673" y="68159"/>
                        <a:pt x="101194" y="57301"/>
                      </a:cubicBezTo>
                      <a:lnTo>
                        <a:pt x="99575" y="57301"/>
                      </a:lnTo>
                      <a:cubicBezTo>
                        <a:pt x="101194" y="63206"/>
                        <a:pt x="102528" y="69207"/>
                        <a:pt x="104147" y="75208"/>
                      </a:cubicBezTo>
                      <a:cubicBezTo>
                        <a:pt x="103004" y="75779"/>
                        <a:pt x="102052" y="76255"/>
                        <a:pt x="101194" y="76827"/>
                      </a:cubicBezTo>
                      <a:cubicBezTo>
                        <a:pt x="86812" y="67207"/>
                        <a:pt x="80716" y="52443"/>
                        <a:pt x="60523" y="48157"/>
                      </a:cubicBezTo>
                      <a:cubicBezTo>
                        <a:pt x="58904" y="49585"/>
                        <a:pt x="57570" y="51204"/>
                        <a:pt x="55951" y="52633"/>
                      </a:cubicBezTo>
                      <a:lnTo>
                        <a:pt x="55951" y="58634"/>
                      </a:lnTo>
                      <a:cubicBezTo>
                        <a:pt x="80144" y="89114"/>
                        <a:pt x="117577" y="187888"/>
                        <a:pt x="155201" y="195508"/>
                      </a:cubicBezTo>
                      <a:lnTo>
                        <a:pt x="155201" y="201414"/>
                      </a:lnTo>
                      <a:cubicBezTo>
                        <a:pt x="140628" y="208558"/>
                        <a:pt x="126150" y="215511"/>
                        <a:pt x="111577" y="222369"/>
                      </a:cubicBezTo>
                      <a:cubicBezTo>
                        <a:pt x="110624" y="221511"/>
                        <a:pt x="109672" y="220559"/>
                        <a:pt x="108529" y="219511"/>
                      </a:cubicBezTo>
                      <a:cubicBezTo>
                        <a:pt x="122435" y="190365"/>
                        <a:pt x="44140" y="102640"/>
                        <a:pt x="31948" y="72160"/>
                      </a:cubicBezTo>
                      <a:cubicBezTo>
                        <a:pt x="28995" y="72636"/>
                        <a:pt x="25947" y="73112"/>
                        <a:pt x="22899" y="73684"/>
                      </a:cubicBezTo>
                      <a:cubicBezTo>
                        <a:pt x="21470" y="76732"/>
                        <a:pt x="19946" y="79589"/>
                        <a:pt x="18422" y="82732"/>
                      </a:cubicBezTo>
                      <a:cubicBezTo>
                        <a:pt x="21470" y="94162"/>
                        <a:pt x="24518" y="105687"/>
                        <a:pt x="27471" y="117118"/>
                      </a:cubicBezTo>
                      <a:cubicBezTo>
                        <a:pt x="26423" y="118260"/>
                        <a:pt x="25376" y="119213"/>
                        <a:pt x="24518" y="120166"/>
                      </a:cubicBezTo>
                      <a:cubicBezTo>
                        <a:pt x="22899" y="119689"/>
                        <a:pt x="21470" y="119213"/>
                        <a:pt x="19851" y="118737"/>
                      </a:cubicBezTo>
                      <a:cubicBezTo>
                        <a:pt x="13565" y="104068"/>
                        <a:pt x="-6057" y="88543"/>
                        <a:pt x="1849" y="70635"/>
                      </a:cubicBezTo>
                      <a:cubicBezTo>
                        <a:pt x="42902" y="53491"/>
                        <a:pt x="89765" y="26535"/>
                        <a:pt x="123674" y="55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2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9" name="任意多边形: 形状 128">
                  <a:extLst>
                    <a:ext uri="{FF2B5EF4-FFF2-40B4-BE49-F238E27FC236}">
                      <a16:creationId xmlns:a16="http://schemas.microsoft.com/office/drawing/2014/main" id="{0F5F0A1F-E42C-4993-A568-91C139A7BF89}"/>
                    </a:ext>
                  </a:extLst>
                </p:cNvPr>
                <p:cNvSpPr/>
                <p:nvPr/>
              </p:nvSpPr>
              <p:spPr>
                <a:xfrm>
                  <a:off x="4274121" y="6062186"/>
                  <a:ext cx="55625" cy="64674"/>
                </a:xfrm>
                <a:custGeom>
                  <a:avLst/>
                  <a:gdLst>
                    <a:gd name="connsiteX0" fmla="*/ 10478 w 55625"/>
                    <a:gd name="connsiteY0" fmla="*/ 0 h 64674"/>
                    <a:gd name="connsiteX1" fmla="*/ 0 w 55625"/>
                    <a:gd name="connsiteY1" fmla="*/ 1524 h 64674"/>
                    <a:gd name="connsiteX2" fmla="*/ 0 w 55625"/>
                    <a:gd name="connsiteY2" fmla="*/ 7525 h 64674"/>
                    <a:gd name="connsiteX3" fmla="*/ 45053 w 55625"/>
                    <a:gd name="connsiteY3" fmla="*/ 64675 h 64674"/>
                    <a:gd name="connsiteX4" fmla="*/ 51054 w 55625"/>
                    <a:gd name="connsiteY4" fmla="*/ 61627 h 64674"/>
                    <a:gd name="connsiteX5" fmla="*/ 55626 w 55625"/>
                    <a:gd name="connsiteY5" fmla="*/ 48006 h 64674"/>
                    <a:gd name="connsiteX6" fmla="*/ 10478 w 55625"/>
                    <a:gd name="connsiteY6" fmla="*/ 0 h 646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5625" h="64674">
                      <a:moveTo>
                        <a:pt x="10478" y="0"/>
                      </a:moveTo>
                      <a:cubicBezTo>
                        <a:pt x="6858" y="571"/>
                        <a:pt x="3524" y="1048"/>
                        <a:pt x="0" y="1524"/>
                      </a:cubicBezTo>
                      <a:lnTo>
                        <a:pt x="0" y="7525"/>
                      </a:lnTo>
                      <a:cubicBezTo>
                        <a:pt x="16669" y="24955"/>
                        <a:pt x="25241" y="50387"/>
                        <a:pt x="45053" y="64675"/>
                      </a:cubicBezTo>
                      <a:cubicBezTo>
                        <a:pt x="47149" y="63627"/>
                        <a:pt x="49149" y="62579"/>
                        <a:pt x="51054" y="61627"/>
                      </a:cubicBezTo>
                      <a:cubicBezTo>
                        <a:pt x="52578" y="56959"/>
                        <a:pt x="54102" y="52483"/>
                        <a:pt x="55626" y="48006"/>
                      </a:cubicBezTo>
                      <a:cubicBezTo>
                        <a:pt x="43434" y="26956"/>
                        <a:pt x="37910" y="6001"/>
                        <a:pt x="10478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0" name="任意多边形: 形状 129">
                  <a:extLst>
                    <a:ext uri="{FF2B5EF4-FFF2-40B4-BE49-F238E27FC236}">
                      <a16:creationId xmlns:a16="http://schemas.microsoft.com/office/drawing/2014/main" id="{8876C940-28F4-4791-B687-A62311BEFEE2}"/>
                    </a:ext>
                  </a:extLst>
                </p:cNvPr>
                <p:cNvSpPr/>
                <p:nvPr/>
              </p:nvSpPr>
              <p:spPr>
                <a:xfrm>
                  <a:off x="2766599" y="6086284"/>
                  <a:ext cx="139731" cy="196881"/>
                </a:xfrm>
                <a:custGeom>
                  <a:avLst/>
                  <a:gdLst>
                    <a:gd name="connsiteX0" fmla="*/ 96107 w 139731"/>
                    <a:gd name="connsiteY0" fmla="*/ 0 h 196881"/>
                    <a:gd name="connsiteX1" fmla="*/ 139732 w 139731"/>
                    <a:gd name="connsiteY1" fmla="*/ 25432 h 196881"/>
                    <a:gd name="connsiteX2" fmla="*/ 139732 w 139731"/>
                    <a:gd name="connsiteY2" fmla="*/ 26956 h 196881"/>
                    <a:gd name="connsiteX3" fmla="*/ 36004 w 139731"/>
                    <a:gd name="connsiteY3" fmla="*/ 160782 h 196881"/>
                    <a:gd name="connsiteX4" fmla="*/ 43529 w 139731"/>
                    <a:gd name="connsiteY4" fmla="*/ 174212 h 196881"/>
                    <a:gd name="connsiteX5" fmla="*/ 100679 w 139731"/>
                    <a:gd name="connsiteY5" fmla="*/ 153162 h 196881"/>
                    <a:gd name="connsiteX6" fmla="*/ 105156 w 139731"/>
                    <a:gd name="connsiteY6" fmla="*/ 154781 h 196881"/>
                    <a:gd name="connsiteX7" fmla="*/ 99155 w 139731"/>
                    <a:gd name="connsiteY7" fmla="*/ 160782 h 196881"/>
                    <a:gd name="connsiteX8" fmla="*/ 63151 w 139731"/>
                    <a:gd name="connsiteY8" fmla="*/ 196882 h 196881"/>
                    <a:gd name="connsiteX9" fmla="*/ 0 w 139731"/>
                    <a:gd name="connsiteY9" fmla="*/ 151829 h 196881"/>
                    <a:gd name="connsiteX10" fmla="*/ 96107 w 139731"/>
                    <a:gd name="connsiteY10" fmla="*/ 0 h 1968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39731" h="196881">
                      <a:moveTo>
                        <a:pt x="96107" y="0"/>
                      </a:moveTo>
                      <a:cubicBezTo>
                        <a:pt x="112967" y="3143"/>
                        <a:pt x="128969" y="15335"/>
                        <a:pt x="139732" y="25432"/>
                      </a:cubicBezTo>
                      <a:lnTo>
                        <a:pt x="139732" y="26956"/>
                      </a:lnTo>
                      <a:cubicBezTo>
                        <a:pt x="95155" y="53245"/>
                        <a:pt x="60579" y="114967"/>
                        <a:pt x="36004" y="160782"/>
                      </a:cubicBezTo>
                      <a:cubicBezTo>
                        <a:pt x="38576" y="165259"/>
                        <a:pt x="41053" y="169831"/>
                        <a:pt x="43529" y="174212"/>
                      </a:cubicBezTo>
                      <a:cubicBezTo>
                        <a:pt x="75152" y="176498"/>
                        <a:pt x="82486" y="166592"/>
                        <a:pt x="100679" y="153162"/>
                      </a:cubicBezTo>
                      <a:lnTo>
                        <a:pt x="105156" y="154781"/>
                      </a:lnTo>
                      <a:cubicBezTo>
                        <a:pt x="103251" y="156591"/>
                        <a:pt x="101251" y="158782"/>
                        <a:pt x="99155" y="160782"/>
                      </a:cubicBezTo>
                      <a:cubicBezTo>
                        <a:pt x="93917" y="172307"/>
                        <a:pt x="76867" y="194024"/>
                        <a:pt x="63151" y="196882"/>
                      </a:cubicBezTo>
                      <a:cubicBezTo>
                        <a:pt x="42100" y="181832"/>
                        <a:pt x="21050" y="166783"/>
                        <a:pt x="0" y="151829"/>
                      </a:cubicBezTo>
                      <a:cubicBezTo>
                        <a:pt x="26003" y="128111"/>
                        <a:pt x="104965" y="41338"/>
                        <a:pt x="96107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1" name="任意多边形: 形状 130">
                  <a:extLst>
                    <a:ext uri="{FF2B5EF4-FFF2-40B4-BE49-F238E27FC236}">
                      <a16:creationId xmlns:a16="http://schemas.microsoft.com/office/drawing/2014/main" id="{8098C922-10D1-4DA5-944B-F55E34076D19}"/>
                    </a:ext>
                  </a:extLst>
                </p:cNvPr>
                <p:cNvSpPr/>
                <p:nvPr/>
              </p:nvSpPr>
              <p:spPr>
                <a:xfrm>
                  <a:off x="4254595" y="6098285"/>
                  <a:ext cx="5905" cy="7429"/>
                </a:xfrm>
                <a:custGeom>
                  <a:avLst/>
                  <a:gdLst>
                    <a:gd name="connsiteX0" fmla="*/ 0 w 5905"/>
                    <a:gd name="connsiteY0" fmla="*/ 0 h 7429"/>
                    <a:gd name="connsiteX1" fmla="*/ 2953 w 5905"/>
                    <a:gd name="connsiteY1" fmla="*/ 7429 h 7429"/>
                    <a:gd name="connsiteX2" fmla="*/ 5905 w 5905"/>
                    <a:gd name="connsiteY2" fmla="*/ 7429 h 7429"/>
                    <a:gd name="connsiteX3" fmla="*/ 5905 w 5905"/>
                    <a:gd name="connsiteY3" fmla="*/ 1429 h 7429"/>
                    <a:gd name="connsiteX4" fmla="*/ 0 w 5905"/>
                    <a:gd name="connsiteY4" fmla="*/ 0 h 74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05" h="7429">
                      <a:moveTo>
                        <a:pt x="0" y="0"/>
                      </a:moveTo>
                      <a:cubicBezTo>
                        <a:pt x="857" y="2572"/>
                        <a:pt x="2000" y="5144"/>
                        <a:pt x="2953" y="7429"/>
                      </a:cubicBezTo>
                      <a:lnTo>
                        <a:pt x="5905" y="7429"/>
                      </a:lnTo>
                      <a:lnTo>
                        <a:pt x="5905" y="1429"/>
                      </a:lnTo>
                      <a:cubicBezTo>
                        <a:pt x="4000" y="953"/>
                        <a:pt x="2000" y="476"/>
                        <a:pt x="0" y="0"/>
                      </a:cubicBezTo>
                      <a:close/>
                    </a:path>
                  </a:pathLst>
                </a:custGeom>
                <a:noFill/>
                <a:ln w="2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2" name="任意多边形: 形状 131">
                  <a:extLst>
                    <a:ext uri="{FF2B5EF4-FFF2-40B4-BE49-F238E27FC236}">
                      <a16:creationId xmlns:a16="http://schemas.microsoft.com/office/drawing/2014/main" id="{1642F89F-C9A8-461E-B64E-4BE2E1A3CD2B}"/>
                    </a:ext>
                  </a:extLst>
                </p:cNvPr>
                <p:cNvSpPr/>
                <p:nvPr/>
              </p:nvSpPr>
              <p:spPr>
                <a:xfrm>
                  <a:off x="4100170" y="6129813"/>
                  <a:ext cx="123802" cy="195357"/>
                </a:xfrm>
                <a:custGeom>
                  <a:avLst/>
                  <a:gdLst>
                    <a:gd name="connsiteX0" fmla="*/ 44697 w 123802"/>
                    <a:gd name="connsiteY0" fmla="*/ 0 h 195357"/>
                    <a:gd name="connsiteX1" fmla="*/ 71748 w 123802"/>
                    <a:gd name="connsiteY1" fmla="*/ 43529 h 195357"/>
                    <a:gd name="connsiteX2" fmla="*/ 70224 w 123802"/>
                    <a:gd name="connsiteY2" fmla="*/ 45053 h 195357"/>
                    <a:gd name="connsiteX3" fmla="*/ 64223 w 123802"/>
                    <a:gd name="connsiteY3" fmla="*/ 45053 h 195357"/>
                    <a:gd name="connsiteX4" fmla="*/ 29742 w 123802"/>
                    <a:gd name="connsiteY4" fmla="*/ 18098 h 195357"/>
                    <a:gd name="connsiteX5" fmla="*/ 19170 w 123802"/>
                    <a:gd name="connsiteY5" fmla="*/ 21146 h 195357"/>
                    <a:gd name="connsiteX6" fmla="*/ 89845 w 123802"/>
                    <a:gd name="connsiteY6" fmla="*/ 84201 h 195357"/>
                    <a:gd name="connsiteX7" fmla="*/ 119754 w 123802"/>
                    <a:gd name="connsiteY7" fmla="*/ 132302 h 195357"/>
                    <a:gd name="connsiteX8" fmla="*/ 119754 w 123802"/>
                    <a:gd name="connsiteY8" fmla="*/ 171355 h 195357"/>
                    <a:gd name="connsiteX9" fmla="*/ 74796 w 123802"/>
                    <a:gd name="connsiteY9" fmla="*/ 195358 h 195357"/>
                    <a:gd name="connsiteX10" fmla="*/ 71748 w 123802"/>
                    <a:gd name="connsiteY10" fmla="*/ 193929 h 195357"/>
                    <a:gd name="connsiteX11" fmla="*/ 49173 w 123802"/>
                    <a:gd name="connsiteY11" fmla="*/ 148685 h 195357"/>
                    <a:gd name="connsiteX12" fmla="*/ 52126 w 123802"/>
                    <a:gd name="connsiteY12" fmla="*/ 145733 h 195357"/>
                    <a:gd name="connsiteX13" fmla="*/ 56698 w 123802"/>
                    <a:gd name="connsiteY13" fmla="*/ 145733 h 195357"/>
                    <a:gd name="connsiteX14" fmla="*/ 95655 w 123802"/>
                    <a:gd name="connsiteY14" fmla="*/ 175927 h 195357"/>
                    <a:gd name="connsiteX15" fmla="*/ 109181 w 123802"/>
                    <a:gd name="connsiteY15" fmla="*/ 163925 h 195357"/>
                    <a:gd name="connsiteX16" fmla="*/ 32505 w 123802"/>
                    <a:gd name="connsiteY16" fmla="*/ 105251 h 195357"/>
                    <a:gd name="connsiteX17" fmla="*/ 8406 w 123802"/>
                    <a:gd name="connsiteY17" fmla="*/ 66008 h 195357"/>
                    <a:gd name="connsiteX18" fmla="*/ 977 w 123802"/>
                    <a:gd name="connsiteY18" fmla="*/ 30004 h 195357"/>
                    <a:gd name="connsiteX19" fmla="*/ 44697 w 123802"/>
                    <a:gd name="connsiteY19" fmla="*/ 0 h 1953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23802" h="195357">
                      <a:moveTo>
                        <a:pt x="44697" y="0"/>
                      </a:moveTo>
                      <a:cubicBezTo>
                        <a:pt x="57460" y="4382"/>
                        <a:pt x="69176" y="29146"/>
                        <a:pt x="71748" y="43529"/>
                      </a:cubicBezTo>
                      <a:cubicBezTo>
                        <a:pt x="71176" y="44101"/>
                        <a:pt x="70795" y="44672"/>
                        <a:pt x="70224" y="45053"/>
                      </a:cubicBezTo>
                      <a:lnTo>
                        <a:pt x="64223" y="45053"/>
                      </a:lnTo>
                      <a:cubicBezTo>
                        <a:pt x="54888" y="32480"/>
                        <a:pt x="42601" y="27242"/>
                        <a:pt x="29742" y="18098"/>
                      </a:cubicBezTo>
                      <a:lnTo>
                        <a:pt x="19170" y="21146"/>
                      </a:lnTo>
                      <a:cubicBezTo>
                        <a:pt x="3453" y="72390"/>
                        <a:pt x="60127" y="64961"/>
                        <a:pt x="89845" y="84201"/>
                      </a:cubicBezTo>
                      <a:cubicBezTo>
                        <a:pt x="104895" y="94012"/>
                        <a:pt x="113943" y="112871"/>
                        <a:pt x="119754" y="132302"/>
                      </a:cubicBezTo>
                      <a:cubicBezTo>
                        <a:pt x="123468" y="143828"/>
                        <a:pt x="126612" y="159353"/>
                        <a:pt x="119754" y="171355"/>
                      </a:cubicBezTo>
                      <a:cubicBezTo>
                        <a:pt x="111562" y="185928"/>
                        <a:pt x="88226" y="186214"/>
                        <a:pt x="74796" y="195358"/>
                      </a:cubicBezTo>
                      <a:lnTo>
                        <a:pt x="71748" y="193929"/>
                      </a:lnTo>
                      <a:cubicBezTo>
                        <a:pt x="64223" y="178879"/>
                        <a:pt x="56793" y="163830"/>
                        <a:pt x="49173" y="148685"/>
                      </a:cubicBezTo>
                      <a:cubicBezTo>
                        <a:pt x="50221" y="147828"/>
                        <a:pt x="51174" y="146780"/>
                        <a:pt x="52126" y="145733"/>
                      </a:cubicBezTo>
                      <a:lnTo>
                        <a:pt x="56698" y="145733"/>
                      </a:lnTo>
                      <a:cubicBezTo>
                        <a:pt x="66414" y="161258"/>
                        <a:pt x="77082" y="168783"/>
                        <a:pt x="95655" y="175927"/>
                      </a:cubicBezTo>
                      <a:cubicBezTo>
                        <a:pt x="102037" y="171831"/>
                        <a:pt x="105657" y="171164"/>
                        <a:pt x="109181" y="163925"/>
                      </a:cubicBezTo>
                      <a:cubicBezTo>
                        <a:pt x="117087" y="116586"/>
                        <a:pt x="58413" y="124206"/>
                        <a:pt x="32505" y="105251"/>
                      </a:cubicBezTo>
                      <a:cubicBezTo>
                        <a:pt x="19741" y="95917"/>
                        <a:pt x="14979" y="82106"/>
                        <a:pt x="8406" y="66008"/>
                      </a:cubicBezTo>
                      <a:cubicBezTo>
                        <a:pt x="4692" y="56864"/>
                        <a:pt x="-2643" y="43529"/>
                        <a:pt x="977" y="30004"/>
                      </a:cubicBezTo>
                      <a:cubicBezTo>
                        <a:pt x="6882" y="7620"/>
                        <a:pt x="33267" y="15431"/>
                        <a:pt x="44697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3" name="任意多边形: 形状 132">
                  <a:extLst>
                    <a:ext uri="{FF2B5EF4-FFF2-40B4-BE49-F238E27FC236}">
                      <a16:creationId xmlns:a16="http://schemas.microsoft.com/office/drawing/2014/main" id="{EB8309A4-39C3-491C-8E7E-CE586B94FC6C}"/>
                    </a:ext>
                  </a:extLst>
                </p:cNvPr>
                <p:cNvSpPr/>
                <p:nvPr/>
              </p:nvSpPr>
              <p:spPr>
                <a:xfrm>
                  <a:off x="2874708" y="6140291"/>
                  <a:ext cx="186404" cy="232095"/>
                </a:xfrm>
                <a:custGeom>
                  <a:avLst/>
                  <a:gdLst>
                    <a:gd name="connsiteX0" fmla="*/ 67627 w 186404"/>
                    <a:gd name="connsiteY0" fmla="*/ 0 h 232095"/>
                    <a:gd name="connsiteX1" fmla="*/ 186404 w 186404"/>
                    <a:gd name="connsiteY1" fmla="*/ 58674 h 232095"/>
                    <a:gd name="connsiteX2" fmla="*/ 183451 w 186404"/>
                    <a:gd name="connsiteY2" fmla="*/ 63246 h 232095"/>
                    <a:gd name="connsiteX3" fmla="*/ 120301 w 186404"/>
                    <a:gd name="connsiteY3" fmla="*/ 212122 h 232095"/>
                    <a:gd name="connsiteX4" fmla="*/ 136874 w 186404"/>
                    <a:gd name="connsiteY4" fmla="*/ 227171 h 232095"/>
                    <a:gd name="connsiteX5" fmla="*/ 160782 w 186404"/>
                    <a:gd name="connsiteY5" fmla="*/ 216503 h 232095"/>
                    <a:gd name="connsiteX6" fmla="*/ 160782 w 186404"/>
                    <a:gd name="connsiteY6" fmla="*/ 222504 h 232095"/>
                    <a:gd name="connsiteX7" fmla="*/ 159448 w 186404"/>
                    <a:gd name="connsiteY7" fmla="*/ 225457 h 232095"/>
                    <a:gd name="connsiteX8" fmla="*/ 102203 w 186404"/>
                    <a:gd name="connsiteY8" fmla="*/ 213360 h 232095"/>
                    <a:gd name="connsiteX9" fmla="*/ 132302 w 186404"/>
                    <a:gd name="connsiteY9" fmla="*/ 82677 h 232095"/>
                    <a:gd name="connsiteX10" fmla="*/ 120206 w 186404"/>
                    <a:gd name="connsiteY10" fmla="*/ 85630 h 232095"/>
                    <a:gd name="connsiteX11" fmla="*/ 117253 w 186404"/>
                    <a:gd name="connsiteY11" fmla="*/ 34576 h 232095"/>
                    <a:gd name="connsiteX12" fmla="*/ 39148 w 186404"/>
                    <a:gd name="connsiteY12" fmla="*/ 171450 h 232095"/>
                    <a:gd name="connsiteX13" fmla="*/ 40577 w 186404"/>
                    <a:gd name="connsiteY13" fmla="*/ 190976 h 232095"/>
                    <a:gd name="connsiteX14" fmla="*/ 0 w 186404"/>
                    <a:gd name="connsiteY14" fmla="*/ 168497 h 232095"/>
                    <a:gd name="connsiteX15" fmla="*/ 1524 w 186404"/>
                    <a:gd name="connsiteY15" fmla="*/ 162496 h 232095"/>
                    <a:gd name="connsiteX16" fmla="*/ 16573 w 186404"/>
                    <a:gd name="connsiteY16" fmla="*/ 160972 h 232095"/>
                    <a:gd name="connsiteX17" fmla="*/ 88773 w 186404"/>
                    <a:gd name="connsiteY17" fmla="*/ 18097 h 232095"/>
                    <a:gd name="connsiteX18" fmla="*/ 85820 w 186404"/>
                    <a:gd name="connsiteY18" fmla="*/ 16669 h 232095"/>
                    <a:gd name="connsiteX19" fmla="*/ 76771 w 186404"/>
                    <a:gd name="connsiteY19" fmla="*/ 15145 h 232095"/>
                    <a:gd name="connsiteX20" fmla="*/ 48196 w 186404"/>
                    <a:gd name="connsiteY20" fmla="*/ 40672 h 232095"/>
                    <a:gd name="connsiteX21" fmla="*/ 45244 w 186404"/>
                    <a:gd name="connsiteY21" fmla="*/ 39338 h 232095"/>
                    <a:gd name="connsiteX22" fmla="*/ 45244 w 186404"/>
                    <a:gd name="connsiteY22" fmla="*/ 34671 h 232095"/>
                    <a:gd name="connsiteX23" fmla="*/ 67627 w 186404"/>
                    <a:gd name="connsiteY23" fmla="*/ 0 h 2320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86404" h="232095">
                      <a:moveTo>
                        <a:pt x="67627" y="0"/>
                      </a:moveTo>
                      <a:cubicBezTo>
                        <a:pt x="78391" y="1238"/>
                        <a:pt x="177927" y="51245"/>
                        <a:pt x="186404" y="58674"/>
                      </a:cubicBezTo>
                      <a:cubicBezTo>
                        <a:pt x="185547" y="60198"/>
                        <a:pt x="184499" y="61627"/>
                        <a:pt x="183451" y="63246"/>
                      </a:cubicBezTo>
                      <a:cubicBezTo>
                        <a:pt x="166497" y="64961"/>
                        <a:pt x="113062" y="190214"/>
                        <a:pt x="120301" y="212122"/>
                      </a:cubicBezTo>
                      <a:cubicBezTo>
                        <a:pt x="123920" y="220789"/>
                        <a:pt x="128683" y="223076"/>
                        <a:pt x="136874" y="227171"/>
                      </a:cubicBezTo>
                      <a:cubicBezTo>
                        <a:pt x="144875" y="223552"/>
                        <a:pt x="152971" y="220028"/>
                        <a:pt x="160782" y="216503"/>
                      </a:cubicBezTo>
                      <a:lnTo>
                        <a:pt x="160782" y="222504"/>
                      </a:lnTo>
                      <a:cubicBezTo>
                        <a:pt x="160306" y="223456"/>
                        <a:pt x="159925" y="224600"/>
                        <a:pt x="159448" y="225457"/>
                      </a:cubicBezTo>
                      <a:cubicBezTo>
                        <a:pt x="136684" y="233267"/>
                        <a:pt x="113348" y="239078"/>
                        <a:pt x="102203" y="213360"/>
                      </a:cubicBezTo>
                      <a:cubicBezTo>
                        <a:pt x="87154" y="163735"/>
                        <a:pt x="126778" y="125444"/>
                        <a:pt x="132302" y="82677"/>
                      </a:cubicBezTo>
                      <a:lnTo>
                        <a:pt x="120206" y="85630"/>
                      </a:lnTo>
                      <a:cubicBezTo>
                        <a:pt x="121729" y="64961"/>
                        <a:pt x="131350" y="47149"/>
                        <a:pt x="117253" y="34576"/>
                      </a:cubicBezTo>
                      <a:cubicBezTo>
                        <a:pt x="103727" y="43053"/>
                        <a:pt x="42577" y="152114"/>
                        <a:pt x="39148" y="171450"/>
                      </a:cubicBezTo>
                      <a:cubicBezTo>
                        <a:pt x="39624" y="177927"/>
                        <a:pt x="40005" y="184404"/>
                        <a:pt x="40577" y="190976"/>
                      </a:cubicBezTo>
                      <a:cubicBezTo>
                        <a:pt x="27146" y="183547"/>
                        <a:pt x="13525" y="175831"/>
                        <a:pt x="0" y="168497"/>
                      </a:cubicBezTo>
                      <a:cubicBezTo>
                        <a:pt x="571" y="166402"/>
                        <a:pt x="1048" y="164306"/>
                        <a:pt x="1524" y="162496"/>
                      </a:cubicBezTo>
                      <a:cubicBezTo>
                        <a:pt x="6572" y="161925"/>
                        <a:pt x="11525" y="161354"/>
                        <a:pt x="16573" y="160972"/>
                      </a:cubicBezTo>
                      <a:cubicBezTo>
                        <a:pt x="31337" y="121920"/>
                        <a:pt x="84868" y="62579"/>
                        <a:pt x="88773" y="18097"/>
                      </a:cubicBezTo>
                      <a:cubicBezTo>
                        <a:pt x="87725" y="17526"/>
                        <a:pt x="86677" y="17145"/>
                        <a:pt x="85820" y="16669"/>
                      </a:cubicBezTo>
                      <a:cubicBezTo>
                        <a:pt x="82772" y="16193"/>
                        <a:pt x="79819" y="15716"/>
                        <a:pt x="76771" y="15145"/>
                      </a:cubicBezTo>
                      <a:cubicBezTo>
                        <a:pt x="66389" y="23813"/>
                        <a:pt x="57817" y="31623"/>
                        <a:pt x="48196" y="40672"/>
                      </a:cubicBezTo>
                      <a:cubicBezTo>
                        <a:pt x="47149" y="40291"/>
                        <a:pt x="46196" y="39814"/>
                        <a:pt x="45244" y="39338"/>
                      </a:cubicBezTo>
                      <a:lnTo>
                        <a:pt x="45244" y="34671"/>
                      </a:lnTo>
                      <a:cubicBezTo>
                        <a:pt x="52578" y="23051"/>
                        <a:pt x="60198" y="11525"/>
                        <a:pt x="67627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4" name="任意多边形: 形状 133">
                  <a:extLst>
                    <a:ext uri="{FF2B5EF4-FFF2-40B4-BE49-F238E27FC236}">
                      <a16:creationId xmlns:a16="http://schemas.microsoft.com/office/drawing/2014/main" id="{840932F4-EAF6-4D2F-8FFA-110E7673E3F4}"/>
                    </a:ext>
                  </a:extLst>
                </p:cNvPr>
                <p:cNvSpPr/>
                <p:nvPr/>
              </p:nvSpPr>
              <p:spPr>
                <a:xfrm>
                  <a:off x="3997420" y="6169902"/>
                  <a:ext cx="151996" cy="198894"/>
                </a:xfrm>
                <a:custGeom>
                  <a:avLst/>
                  <a:gdLst>
                    <a:gd name="connsiteX0" fmla="*/ 112871 w 151996"/>
                    <a:gd name="connsiteY0" fmla="*/ 126885 h 198894"/>
                    <a:gd name="connsiteX1" fmla="*/ 103823 w 151996"/>
                    <a:gd name="connsiteY1" fmla="*/ 125266 h 198894"/>
                    <a:gd name="connsiteX2" fmla="*/ 79820 w 151996"/>
                    <a:gd name="connsiteY2" fmla="*/ 104311 h 198894"/>
                    <a:gd name="connsiteX3" fmla="*/ 76772 w 151996"/>
                    <a:gd name="connsiteY3" fmla="*/ 107263 h 198894"/>
                    <a:gd name="connsiteX4" fmla="*/ 103823 w 151996"/>
                    <a:gd name="connsiteY4" fmla="*/ 171843 h 198894"/>
                    <a:gd name="connsiteX5" fmla="*/ 135350 w 151996"/>
                    <a:gd name="connsiteY5" fmla="*/ 129838 h 198894"/>
                    <a:gd name="connsiteX6" fmla="*/ 142780 w 151996"/>
                    <a:gd name="connsiteY6" fmla="*/ 129838 h 198894"/>
                    <a:gd name="connsiteX7" fmla="*/ 145828 w 151996"/>
                    <a:gd name="connsiteY7" fmla="*/ 131267 h 198894"/>
                    <a:gd name="connsiteX8" fmla="*/ 148781 w 151996"/>
                    <a:gd name="connsiteY8" fmla="*/ 171843 h 198894"/>
                    <a:gd name="connsiteX9" fmla="*/ 72200 w 151996"/>
                    <a:gd name="connsiteY9" fmla="*/ 198894 h 198894"/>
                    <a:gd name="connsiteX10" fmla="*/ 69247 w 151996"/>
                    <a:gd name="connsiteY10" fmla="*/ 194417 h 198894"/>
                    <a:gd name="connsiteX11" fmla="*/ 0 w 151996"/>
                    <a:gd name="connsiteY11" fmla="*/ 31921 h 198894"/>
                    <a:gd name="connsiteX12" fmla="*/ 1524 w 151996"/>
                    <a:gd name="connsiteY12" fmla="*/ 25920 h 198894"/>
                    <a:gd name="connsiteX13" fmla="*/ 84201 w 151996"/>
                    <a:gd name="connsiteY13" fmla="*/ 393 h 198894"/>
                    <a:gd name="connsiteX14" fmla="*/ 100775 w 151996"/>
                    <a:gd name="connsiteY14" fmla="*/ 42589 h 198894"/>
                    <a:gd name="connsiteX15" fmla="*/ 99155 w 151996"/>
                    <a:gd name="connsiteY15" fmla="*/ 44018 h 198894"/>
                    <a:gd name="connsiteX16" fmla="*/ 93154 w 151996"/>
                    <a:gd name="connsiteY16" fmla="*/ 44018 h 198894"/>
                    <a:gd name="connsiteX17" fmla="*/ 72200 w 151996"/>
                    <a:gd name="connsiteY17" fmla="*/ 19919 h 198894"/>
                    <a:gd name="connsiteX18" fmla="*/ 45149 w 151996"/>
                    <a:gd name="connsiteY18" fmla="*/ 24586 h 198894"/>
                    <a:gd name="connsiteX19" fmla="*/ 42196 w 151996"/>
                    <a:gd name="connsiteY19" fmla="*/ 28968 h 198894"/>
                    <a:gd name="connsiteX20" fmla="*/ 69152 w 151996"/>
                    <a:gd name="connsiteY20" fmla="*/ 89071 h 198894"/>
                    <a:gd name="connsiteX21" fmla="*/ 70675 w 151996"/>
                    <a:gd name="connsiteY21" fmla="*/ 89071 h 198894"/>
                    <a:gd name="connsiteX22" fmla="*/ 75152 w 151996"/>
                    <a:gd name="connsiteY22" fmla="*/ 83070 h 198894"/>
                    <a:gd name="connsiteX23" fmla="*/ 76676 w 151996"/>
                    <a:gd name="connsiteY23" fmla="*/ 55924 h 198894"/>
                    <a:gd name="connsiteX24" fmla="*/ 84201 w 151996"/>
                    <a:gd name="connsiteY24" fmla="*/ 57543 h 198894"/>
                    <a:gd name="connsiteX25" fmla="*/ 112871 w 151996"/>
                    <a:gd name="connsiteY25" fmla="*/ 126885 h 1988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151996" h="198894">
                      <a:moveTo>
                        <a:pt x="112871" y="126885"/>
                      </a:moveTo>
                      <a:cubicBezTo>
                        <a:pt x="109823" y="126313"/>
                        <a:pt x="106871" y="125837"/>
                        <a:pt x="103823" y="125266"/>
                      </a:cubicBezTo>
                      <a:cubicBezTo>
                        <a:pt x="100203" y="114217"/>
                        <a:pt x="92202" y="106502"/>
                        <a:pt x="79820" y="104311"/>
                      </a:cubicBezTo>
                      <a:cubicBezTo>
                        <a:pt x="78677" y="105263"/>
                        <a:pt x="77819" y="106406"/>
                        <a:pt x="76772" y="107263"/>
                      </a:cubicBezTo>
                      <a:cubicBezTo>
                        <a:pt x="79629" y="128980"/>
                        <a:pt x="92964" y="155936"/>
                        <a:pt x="103823" y="171843"/>
                      </a:cubicBezTo>
                      <a:cubicBezTo>
                        <a:pt x="132017" y="172414"/>
                        <a:pt x="131445" y="152507"/>
                        <a:pt x="135350" y="129838"/>
                      </a:cubicBezTo>
                      <a:lnTo>
                        <a:pt x="142780" y="129838"/>
                      </a:lnTo>
                      <a:cubicBezTo>
                        <a:pt x="143828" y="130219"/>
                        <a:pt x="144875" y="130695"/>
                        <a:pt x="145828" y="131267"/>
                      </a:cubicBezTo>
                      <a:cubicBezTo>
                        <a:pt x="147542" y="148030"/>
                        <a:pt x="156782" y="158318"/>
                        <a:pt x="148781" y="171843"/>
                      </a:cubicBezTo>
                      <a:cubicBezTo>
                        <a:pt x="119253" y="173748"/>
                        <a:pt x="100965" y="195751"/>
                        <a:pt x="72200" y="198894"/>
                      </a:cubicBezTo>
                      <a:cubicBezTo>
                        <a:pt x="71247" y="197465"/>
                        <a:pt x="70199" y="195846"/>
                        <a:pt x="69247" y="194417"/>
                      </a:cubicBezTo>
                      <a:cubicBezTo>
                        <a:pt x="83153" y="159746"/>
                        <a:pt x="19907" y="54685"/>
                        <a:pt x="0" y="31921"/>
                      </a:cubicBezTo>
                      <a:cubicBezTo>
                        <a:pt x="572" y="30111"/>
                        <a:pt x="1143" y="28016"/>
                        <a:pt x="1524" y="25920"/>
                      </a:cubicBezTo>
                      <a:cubicBezTo>
                        <a:pt x="29147" y="21634"/>
                        <a:pt x="54769" y="-3417"/>
                        <a:pt x="84201" y="393"/>
                      </a:cubicBezTo>
                      <a:cubicBezTo>
                        <a:pt x="89725" y="14490"/>
                        <a:pt x="95250" y="28492"/>
                        <a:pt x="100775" y="42589"/>
                      </a:cubicBezTo>
                      <a:cubicBezTo>
                        <a:pt x="100203" y="43065"/>
                        <a:pt x="99536" y="43446"/>
                        <a:pt x="99155" y="44018"/>
                      </a:cubicBezTo>
                      <a:lnTo>
                        <a:pt x="93154" y="44018"/>
                      </a:lnTo>
                      <a:cubicBezTo>
                        <a:pt x="87535" y="35254"/>
                        <a:pt x="81153" y="25349"/>
                        <a:pt x="72200" y="19919"/>
                      </a:cubicBezTo>
                      <a:cubicBezTo>
                        <a:pt x="63818" y="14966"/>
                        <a:pt x="50102" y="17062"/>
                        <a:pt x="45149" y="24586"/>
                      </a:cubicBezTo>
                      <a:cubicBezTo>
                        <a:pt x="44196" y="25920"/>
                        <a:pt x="43053" y="27444"/>
                        <a:pt x="42196" y="28968"/>
                      </a:cubicBezTo>
                      <a:cubicBezTo>
                        <a:pt x="45529" y="51161"/>
                        <a:pt x="58483" y="72974"/>
                        <a:pt x="69152" y="89071"/>
                      </a:cubicBezTo>
                      <a:lnTo>
                        <a:pt x="70675" y="89071"/>
                      </a:lnTo>
                      <a:cubicBezTo>
                        <a:pt x="72104" y="87070"/>
                        <a:pt x="73628" y="85070"/>
                        <a:pt x="75152" y="83070"/>
                      </a:cubicBezTo>
                      <a:cubicBezTo>
                        <a:pt x="79439" y="75641"/>
                        <a:pt x="77343" y="66496"/>
                        <a:pt x="76676" y="55924"/>
                      </a:cubicBezTo>
                      <a:cubicBezTo>
                        <a:pt x="79153" y="56495"/>
                        <a:pt x="81534" y="57067"/>
                        <a:pt x="84201" y="57543"/>
                      </a:cubicBezTo>
                      <a:cubicBezTo>
                        <a:pt x="93726" y="80689"/>
                        <a:pt x="103346" y="103739"/>
                        <a:pt x="112871" y="126885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5" name="任意多边形: 形状 134">
                  <a:extLst>
                    <a:ext uri="{FF2B5EF4-FFF2-40B4-BE49-F238E27FC236}">
                      <a16:creationId xmlns:a16="http://schemas.microsoft.com/office/drawing/2014/main" id="{177FAD66-B46D-478D-9CFB-ECEDC1B1A1AB}"/>
                    </a:ext>
                  </a:extLst>
                </p:cNvPr>
                <p:cNvSpPr/>
                <p:nvPr/>
              </p:nvSpPr>
              <p:spPr>
                <a:xfrm>
                  <a:off x="3043205" y="6204870"/>
                  <a:ext cx="146514" cy="213645"/>
                </a:xfrm>
                <a:custGeom>
                  <a:avLst/>
                  <a:gdLst>
                    <a:gd name="connsiteX0" fmla="*/ 38957 w 146514"/>
                    <a:gd name="connsiteY0" fmla="*/ 0 h 213645"/>
                    <a:gd name="connsiteX1" fmla="*/ 82582 w 146514"/>
                    <a:gd name="connsiteY1" fmla="*/ 15145 h 213645"/>
                    <a:gd name="connsiteX2" fmla="*/ 123254 w 146514"/>
                    <a:gd name="connsiteY2" fmla="*/ 24098 h 213645"/>
                    <a:gd name="connsiteX3" fmla="*/ 108204 w 146514"/>
                    <a:gd name="connsiteY3" fmla="*/ 123349 h 213645"/>
                    <a:gd name="connsiteX4" fmla="*/ 117253 w 146514"/>
                    <a:gd name="connsiteY4" fmla="*/ 213646 h 213645"/>
                    <a:gd name="connsiteX5" fmla="*/ 106680 w 146514"/>
                    <a:gd name="connsiteY5" fmla="*/ 213646 h 213645"/>
                    <a:gd name="connsiteX6" fmla="*/ 88678 w 146514"/>
                    <a:gd name="connsiteY6" fmla="*/ 207645 h 213645"/>
                    <a:gd name="connsiteX7" fmla="*/ 79629 w 146514"/>
                    <a:gd name="connsiteY7" fmla="*/ 129350 h 213645"/>
                    <a:gd name="connsiteX8" fmla="*/ 76676 w 146514"/>
                    <a:gd name="connsiteY8" fmla="*/ 128016 h 213645"/>
                    <a:gd name="connsiteX9" fmla="*/ 60198 w 146514"/>
                    <a:gd name="connsiteY9" fmla="*/ 172974 h 213645"/>
                    <a:gd name="connsiteX10" fmla="*/ 63151 w 146514"/>
                    <a:gd name="connsiteY10" fmla="*/ 200025 h 213645"/>
                    <a:gd name="connsiteX11" fmla="*/ 61627 w 146514"/>
                    <a:gd name="connsiteY11" fmla="*/ 200025 h 213645"/>
                    <a:gd name="connsiteX12" fmla="*/ 18002 w 146514"/>
                    <a:gd name="connsiteY12" fmla="*/ 184976 h 213645"/>
                    <a:gd name="connsiteX13" fmla="*/ 19621 w 146514"/>
                    <a:gd name="connsiteY13" fmla="*/ 180594 h 213645"/>
                    <a:gd name="connsiteX14" fmla="*/ 75152 w 146514"/>
                    <a:gd name="connsiteY14" fmla="*/ 27146 h 213645"/>
                    <a:gd name="connsiteX15" fmla="*/ 64675 w 146514"/>
                    <a:gd name="connsiteY15" fmla="*/ 16669 h 213645"/>
                    <a:gd name="connsiteX16" fmla="*/ 2953 w 146514"/>
                    <a:gd name="connsiteY16" fmla="*/ 139922 h 213645"/>
                    <a:gd name="connsiteX17" fmla="*/ 0 w 146514"/>
                    <a:gd name="connsiteY17" fmla="*/ 138398 h 213645"/>
                    <a:gd name="connsiteX18" fmla="*/ 45053 w 146514"/>
                    <a:gd name="connsiteY18" fmla="*/ 22670 h 213645"/>
                    <a:gd name="connsiteX19" fmla="*/ 38957 w 146514"/>
                    <a:gd name="connsiteY19" fmla="*/ 0 h 2136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46514" h="213645">
                      <a:moveTo>
                        <a:pt x="38957" y="0"/>
                      </a:moveTo>
                      <a:cubicBezTo>
                        <a:pt x="54388" y="1238"/>
                        <a:pt x="69533" y="11144"/>
                        <a:pt x="82582" y="15145"/>
                      </a:cubicBezTo>
                      <a:cubicBezTo>
                        <a:pt x="96202" y="18193"/>
                        <a:pt x="109538" y="21146"/>
                        <a:pt x="123254" y="24098"/>
                      </a:cubicBezTo>
                      <a:cubicBezTo>
                        <a:pt x="173355" y="46387"/>
                        <a:pt x="130207" y="105823"/>
                        <a:pt x="108204" y="123349"/>
                      </a:cubicBezTo>
                      <a:cubicBezTo>
                        <a:pt x="111252" y="153543"/>
                        <a:pt x="114205" y="183547"/>
                        <a:pt x="117253" y="213646"/>
                      </a:cubicBezTo>
                      <a:lnTo>
                        <a:pt x="106680" y="213646"/>
                      </a:lnTo>
                      <a:cubicBezTo>
                        <a:pt x="100679" y="211550"/>
                        <a:pt x="94679" y="209645"/>
                        <a:pt x="88678" y="207645"/>
                      </a:cubicBezTo>
                      <a:cubicBezTo>
                        <a:pt x="85725" y="181546"/>
                        <a:pt x="82677" y="155448"/>
                        <a:pt x="79629" y="129350"/>
                      </a:cubicBezTo>
                      <a:cubicBezTo>
                        <a:pt x="78772" y="128969"/>
                        <a:pt x="77724" y="128492"/>
                        <a:pt x="76676" y="128016"/>
                      </a:cubicBezTo>
                      <a:cubicBezTo>
                        <a:pt x="71152" y="142970"/>
                        <a:pt x="65722" y="158020"/>
                        <a:pt x="60198" y="172974"/>
                      </a:cubicBezTo>
                      <a:cubicBezTo>
                        <a:pt x="57817" y="186309"/>
                        <a:pt x="65056" y="189833"/>
                        <a:pt x="63151" y="200025"/>
                      </a:cubicBezTo>
                      <a:lnTo>
                        <a:pt x="61627" y="200025"/>
                      </a:lnTo>
                      <a:cubicBezTo>
                        <a:pt x="46482" y="198215"/>
                        <a:pt x="29146" y="191738"/>
                        <a:pt x="18002" y="184976"/>
                      </a:cubicBezTo>
                      <a:cubicBezTo>
                        <a:pt x="18574" y="183547"/>
                        <a:pt x="19050" y="181928"/>
                        <a:pt x="19621" y="180594"/>
                      </a:cubicBezTo>
                      <a:cubicBezTo>
                        <a:pt x="42767" y="167354"/>
                        <a:pt x="70485" y="62008"/>
                        <a:pt x="75152" y="27146"/>
                      </a:cubicBezTo>
                      <a:cubicBezTo>
                        <a:pt x="71342" y="22479"/>
                        <a:pt x="70104" y="19907"/>
                        <a:pt x="64675" y="16669"/>
                      </a:cubicBezTo>
                      <a:cubicBezTo>
                        <a:pt x="26670" y="39719"/>
                        <a:pt x="35433" y="111252"/>
                        <a:pt x="2953" y="139922"/>
                      </a:cubicBezTo>
                      <a:lnTo>
                        <a:pt x="0" y="138398"/>
                      </a:lnTo>
                      <a:cubicBezTo>
                        <a:pt x="15050" y="99822"/>
                        <a:pt x="30099" y="61341"/>
                        <a:pt x="45053" y="22670"/>
                      </a:cubicBezTo>
                      <a:cubicBezTo>
                        <a:pt x="46196" y="12573"/>
                        <a:pt x="38195" y="8192"/>
                        <a:pt x="38957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6" name="任意多边形: 形状 135">
                  <a:extLst>
                    <a:ext uri="{FF2B5EF4-FFF2-40B4-BE49-F238E27FC236}">
                      <a16:creationId xmlns:a16="http://schemas.microsoft.com/office/drawing/2014/main" id="{06FF9364-D460-416E-B942-13131165C34B}"/>
                    </a:ext>
                  </a:extLst>
                </p:cNvPr>
                <p:cNvSpPr/>
                <p:nvPr/>
              </p:nvSpPr>
              <p:spPr>
                <a:xfrm>
                  <a:off x="3905694" y="6212581"/>
                  <a:ext cx="147256" cy="189186"/>
                </a:xfrm>
                <a:custGeom>
                  <a:avLst/>
                  <a:gdLst>
                    <a:gd name="connsiteX0" fmla="*/ 40672 w 147256"/>
                    <a:gd name="connsiteY0" fmla="*/ 4 h 189186"/>
                    <a:gd name="connsiteX1" fmla="*/ 102298 w 147256"/>
                    <a:gd name="connsiteY1" fmla="*/ 69061 h 189186"/>
                    <a:gd name="connsiteX2" fmla="*/ 94679 w 147256"/>
                    <a:gd name="connsiteY2" fmla="*/ 91635 h 189186"/>
                    <a:gd name="connsiteX3" fmla="*/ 147256 w 147256"/>
                    <a:gd name="connsiteY3" fmla="*/ 157834 h 189186"/>
                    <a:gd name="connsiteX4" fmla="*/ 145828 w 147256"/>
                    <a:gd name="connsiteY4" fmla="*/ 165168 h 189186"/>
                    <a:gd name="connsiteX5" fmla="*/ 124777 w 147256"/>
                    <a:gd name="connsiteY5" fmla="*/ 171264 h 189186"/>
                    <a:gd name="connsiteX6" fmla="*/ 69247 w 147256"/>
                    <a:gd name="connsiteY6" fmla="*/ 108113 h 189186"/>
                    <a:gd name="connsiteX7" fmla="*/ 66104 w 147256"/>
                    <a:gd name="connsiteY7" fmla="*/ 111257 h 189186"/>
                    <a:gd name="connsiteX8" fmla="*/ 96202 w 147256"/>
                    <a:gd name="connsiteY8" fmla="*/ 174217 h 189186"/>
                    <a:gd name="connsiteX9" fmla="*/ 48101 w 147256"/>
                    <a:gd name="connsiteY9" fmla="*/ 186313 h 189186"/>
                    <a:gd name="connsiteX10" fmla="*/ 0 w 147256"/>
                    <a:gd name="connsiteY10" fmla="*/ 18007 h 189186"/>
                    <a:gd name="connsiteX11" fmla="*/ 0 w 147256"/>
                    <a:gd name="connsiteY11" fmla="*/ 13435 h 189186"/>
                    <a:gd name="connsiteX12" fmla="*/ 40672 w 147256"/>
                    <a:gd name="connsiteY12" fmla="*/ 4 h 1891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47256" h="189186">
                      <a:moveTo>
                        <a:pt x="40672" y="4"/>
                      </a:moveTo>
                      <a:cubicBezTo>
                        <a:pt x="83344" y="-376"/>
                        <a:pt x="117062" y="24579"/>
                        <a:pt x="102298" y="69061"/>
                      </a:cubicBezTo>
                      <a:cubicBezTo>
                        <a:pt x="100489" y="74585"/>
                        <a:pt x="91250" y="81062"/>
                        <a:pt x="94679" y="91635"/>
                      </a:cubicBezTo>
                      <a:cubicBezTo>
                        <a:pt x="102489" y="115066"/>
                        <a:pt x="131635" y="139832"/>
                        <a:pt x="147256" y="157834"/>
                      </a:cubicBezTo>
                      <a:cubicBezTo>
                        <a:pt x="146780" y="160310"/>
                        <a:pt x="146304" y="162787"/>
                        <a:pt x="145828" y="165168"/>
                      </a:cubicBezTo>
                      <a:cubicBezTo>
                        <a:pt x="134398" y="165358"/>
                        <a:pt x="132112" y="167835"/>
                        <a:pt x="124777" y="171264"/>
                      </a:cubicBezTo>
                      <a:cubicBezTo>
                        <a:pt x="100203" y="159643"/>
                        <a:pt x="88582" y="125925"/>
                        <a:pt x="69247" y="108113"/>
                      </a:cubicBezTo>
                      <a:cubicBezTo>
                        <a:pt x="68008" y="109161"/>
                        <a:pt x="67151" y="110113"/>
                        <a:pt x="66104" y="111257"/>
                      </a:cubicBezTo>
                      <a:cubicBezTo>
                        <a:pt x="73533" y="137069"/>
                        <a:pt x="81058" y="157167"/>
                        <a:pt x="96202" y="174217"/>
                      </a:cubicBezTo>
                      <a:cubicBezTo>
                        <a:pt x="90202" y="182313"/>
                        <a:pt x="59626" y="194886"/>
                        <a:pt x="48101" y="186313"/>
                      </a:cubicBezTo>
                      <a:cubicBezTo>
                        <a:pt x="63246" y="157548"/>
                        <a:pt x="18669" y="36390"/>
                        <a:pt x="0" y="18007"/>
                      </a:cubicBezTo>
                      <a:lnTo>
                        <a:pt x="0" y="13435"/>
                      </a:lnTo>
                      <a:cubicBezTo>
                        <a:pt x="13716" y="8958"/>
                        <a:pt x="27146" y="4386"/>
                        <a:pt x="40672" y="4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7" name="任意多边形: 形状 136">
                  <a:extLst>
                    <a:ext uri="{FF2B5EF4-FFF2-40B4-BE49-F238E27FC236}">
                      <a16:creationId xmlns:a16="http://schemas.microsoft.com/office/drawing/2014/main" id="{41A881A4-7B15-4FFA-ACEC-AC81A8A86E12}"/>
                    </a:ext>
                  </a:extLst>
                </p:cNvPr>
                <p:cNvSpPr/>
                <p:nvPr/>
              </p:nvSpPr>
              <p:spPr>
                <a:xfrm>
                  <a:off x="3946366" y="6222968"/>
                  <a:ext cx="38351" cy="75152"/>
                </a:xfrm>
                <a:custGeom>
                  <a:avLst/>
                  <a:gdLst>
                    <a:gd name="connsiteX0" fmla="*/ 9049 w 38351"/>
                    <a:gd name="connsiteY0" fmla="*/ 0 h 75152"/>
                    <a:gd name="connsiteX1" fmla="*/ 0 w 38351"/>
                    <a:gd name="connsiteY1" fmla="*/ 7620 h 75152"/>
                    <a:gd name="connsiteX2" fmla="*/ 21050 w 38351"/>
                    <a:gd name="connsiteY2" fmla="*/ 75152 h 75152"/>
                    <a:gd name="connsiteX3" fmla="*/ 34576 w 38351"/>
                    <a:gd name="connsiteY3" fmla="*/ 66104 h 75152"/>
                    <a:gd name="connsiteX4" fmla="*/ 9049 w 38351"/>
                    <a:gd name="connsiteY4" fmla="*/ 0 h 751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351" h="75152">
                      <a:moveTo>
                        <a:pt x="9049" y="0"/>
                      </a:moveTo>
                      <a:cubicBezTo>
                        <a:pt x="6096" y="2477"/>
                        <a:pt x="3143" y="5048"/>
                        <a:pt x="0" y="7620"/>
                      </a:cubicBezTo>
                      <a:cubicBezTo>
                        <a:pt x="1429" y="27146"/>
                        <a:pt x="10097" y="62579"/>
                        <a:pt x="21050" y="75152"/>
                      </a:cubicBezTo>
                      <a:cubicBezTo>
                        <a:pt x="27718" y="73152"/>
                        <a:pt x="31433" y="71723"/>
                        <a:pt x="34576" y="66104"/>
                      </a:cubicBezTo>
                      <a:cubicBezTo>
                        <a:pt x="47435" y="44577"/>
                        <a:pt x="24575" y="5810"/>
                        <a:pt x="9049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8" name="任意多边形: 形状 137">
                  <a:extLst>
                    <a:ext uri="{FF2B5EF4-FFF2-40B4-BE49-F238E27FC236}">
                      <a16:creationId xmlns:a16="http://schemas.microsoft.com/office/drawing/2014/main" id="{4C918E65-2C70-4DA7-955E-7963E356E210}"/>
                    </a:ext>
                  </a:extLst>
                </p:cNvPr>
                <p:cNvSpPr/>
                <p:nvPr/>
              </p:nvSpPr>
              <p:spPr>
                <a:xfrm>
                  <a:off x="3812729" y="6236570"/>
                  <a:ext cx="114907" cy="188613"/>
                </a:xfrm>
                <a:custGeom>
                  <a:avLst/>
                  <a:gdLst>
                    <a:gd name="connsiteX0" fmla="*/ 30005 w 114907"/>
                    <a:gd name="connsiteY0" fmla="*/ 19 h 188613"/>
                    <a:gd name="connsiteX1" fmla="*/ 82583 w 114907"/>
                    <a:gd name="connsiteY1" fmla="*/ 186518 h 188613"/>
                    <a:gd name="connsiteX2" fmla="*/ 30005 w 114907"/>
                    <a:gd name="connsiteY2" fmla="*/ 19 h 1886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907" h="188613">
                      <a:moveTo>
                        <a:pt x="30005" y="19"/>
                      </a:moveTo>
                      <a:cubicBezTo>
                        <a:pt x="111253" y="-1982"/>
                        <a:pt x="145067" y="157657"/>
                        <a:pt x="82583" y="186518"/>
                      </a:cubicBezTo>
                      <a:cubicBezTo>
                        <a:pt x="2192" y="209188"/>
                        <a:pt x="-27717" y="41357"/>
                        <a:pt x="30005" y="19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9" name="任意多边形: 形状 138">
                  <a:extLst>
                    <a:ext uri="{FF2B5EF4-FFF2-40B4-BE49-F238E27FC236}">
                      <a16:creationId xmlns:a16="http://schemas.microsoft.com/office/drawing/2014/main" id="{9742C39D-347E-4D90-AF10-CA5578ACCE79}"/>
                    </a:ext>
                  </a:extLst>
                </p:cNvPr>
                <p:cNvSpPr/>
                <p:nvPr/>
              </p:nvSpPr>
              <p:spPr>
                <a:xfrm>
                  <a:off x="3125787" y="6238208"/>
                  <a:ext cx="39607" cy="71913"/>
                </a:xfrm>
                <a:custGeom>
                  <a:avLst/>
                  <a:gdLst>
                    <a:gd name="connsiteX0" fmla="*/ 22574 w 39607"/>
                    <a:gd name="connsiteY0" fmla="*/ 0 h 71913"/>
                    <a:gd name="connsiteX1" fmla="*/ 0 w 39607"/>
                    <a:gd name="connsiteY1" fmla="*/ 69056 h 71913"/>
                    <a:gd name="connsiteX2" fmla="*/ 16574 w 39607"/>
                    <a:gd name="connsiteY2" fmla="*/ 71914 h 71913"/>
                    <a:gd name="connsiteX3" fmla="*/ 28670 w 39607"/>
                    <a:gd name="connsiteY3" fmla="*/ 1334 h 71913"/>
                    <a:gd name="connsiteX4" fmla="*/ 22574 w 39607"/>
                    <a:gd name="connsiteY4" fmla="*/ 0 h 71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607" h="71913">
                      <a:moveTo>
                        <a:pt x="22574" y="0"/>
                      </a:moveTo>
                      <a:cubicBezTo>
                        <a:pt x="10763" y="16193"/>
                        <a:pt x="3524" y="46006"/>
                        <a:pt x="0" y="69056"/>
                      </a:cubicBezTo>
                      <a:cubicBezTo>
                        <a:pt x="4572" y="71247"/>
                        <a:pt x="8572" y="71914"/>
                        <a:pt x="16574" y="71914"/>
                      </a:cubicBezTo>
                      <a:cubicBezTo>
                        <a:pt x="25813" y="60579"/>
                        <a:pt x="55436" y="14764"/>
                        <a:pt x="28670" y="1334"/>
                      </a:cubicBezTo>
                      <a:cubicBezTo>
                        <a:pt x="26575" y="857"/>
                        <a:pt x="24479" y="381"/>
                        <a:pt x="22574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0" name="任意多边形: 形状 139">
                  <a:extLst>
                    <a:ext uri="{FF2B5EF4-FFF2-40B4-BE49-F238E27FC236}">
                      <a16:creationId xmlns:a16="http://schemas.microsoft.com/office/drawing/2014/main" id="{64CCFB7C-4700-48EC-89CD-109A725643F8}"/>
                    </a:ext>
                  </a:extLst>
                </p:cNvPr>
                <p:cNvSpPr/>
                <p:nvPr/>
              </p:nvSpPr>
              <p:spPr>
                <a:xfrm>
                  <a:off x="3175317" y="6244113"/>
                  <a:ext cx="123253" cy="195287"/>
                </a:xfrm>
                <a:custGeom>
                  <a:avLst/>
                  <a:gdLst>
                    <a:gd name="connsiteX0" fmla="*/ 42100 w 123253"/>
                    <a:gd name="connsiteY0" fmla="*/ 0 h 195287"/>
                    <a:gd name="connsiteX1" fmla="*/ 123254 w 123253"/>
                    <a:gd name="connsiteY1" fmla="*/ 19431 h 195287"/>
                    <a:gd name="connsiteX2" fmla="*/ 117253 w 123253"/>
                    <a:gd name="connsiteY2" fmla="*/ 48006 h 195287"/>
                    <a:gd name="connsiteX3" fmla="*/ 108204 w 123253"/>
                    <a:gd name="connsiteY3" fmla="*/ 48006 h 195287"/>
                    <a:gd name="connsiteX4" fmla="*/ 90202 w 123253"/>
                    <a:gd name="connsiteY4" fmla="*/ 16478 h 195287"/>
                    <a:gd name="connsiteX5" fmla="*/ 72200 w 123253"/>
                    <a:gd name="connsiteY5" fmla="*/ 22479 h 195287"/>
                    <a:gd name="connsiteX6" fmla="*/ 61627 w 123253"/>
                    <a:gd name="connsiteY6" fmla="*/ 84106 h 195287"/>
                    <a:gd name="connsiteX7" fmla="*/ 72200 w 123253"/>
                    <a:gd name="connsiteY7" fmla="*/ 84106 h 195287"/>
                    <a:gd name="connsiteX8" fmla="*/ 93154 w 123253"/>
                    <a:gd name="connsiteY8" fmla="*/ 58674 h 195287"/>
                    <a:gd name="connsiteX9" fmla="*/ 93154 w 123253"/>
                    <a:gd name="connsiteY9" fmla="*/ 60103 h 195287"/>
                    <a:gd name="connsiteX10" fmla="*/ 75152 w 123253"/>
                    <a:gd name="connsiteY10" fmla="*/ 139827 h 195287"/>
                    <a:gd name="connsiteX11" fmla="*/ 73628 w 123253"/>
                    <a:gd name="connsiteY11" fmla="*/ 139827 h 195287"/>
                    <a:gd name="connsiteX12" fmla="*/ 70580 w 123253"/>
                    <a:gd name="connsiteY12" fmla="*/ 138398 h 195287"/>
                    <a:gd name="connsiteX13" fmla="*/ 58579 w 123253"/>
                    <a:gd name="connsiteY13" fmla="*/ 100775 h 195287"/>
                    <a:gd name="connsiteX14" fmla="*/ 54007 w 123253"/>
                    <a:gd name="connsiteY14" fmla="*/ 103727 h 195287"/>
                    <a:gd name="connsiteX15" fmla="*/ 46577 w 123253"/>
                    <a:gd name="connsiteY15" fmla="*/ 178975 h 195287"/>
                    <a:gd name="connsiteX16" fmla="*/ 94679 w 123253"/>
                    <a:gd name="connsiteY16" fmla="*/ 153353 h 195287"/>
                    <a:gd name="connsiteX17" fmla="*/ 97631 w 123253"/>
                    <a:gd name="connsiteY17" fmla="*/ 160782 h 195287"/>
                    <a:gd name="connsiteX18" fmla="*/ 85630 w 123253"/>
                    <a:gd name="connsiteY18" fmla="*/ 195263 h 195287"/>
                    <a:gd name="connsiteX19" fmla="*/ 0 w 123253"/>
                    <a:gd name="connsiteY19" fmla="*/ 177260 h 195287"/>
                    <a:gd name="connsiteX20" fmla="*/ 0 w 123253"/>
                    <a:gd name="connsiteY20" fmla="*/ 174403 h 195287"/>
                    <a:gd name="connsiteX21" fmla="*/ 45053 w 123253"/>
                    <a:gd name="connsiteY21" fmla="*/ 27051 h 195287"/>
                    <a:gd name="connsiteX22" fmla="*/ 42100 w 123253"/>
                    <a:gd name="connsiteY22" fmla="*/ 0 h 195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23253" h="195287">
                      <a:moveTo>
                        <a:pt x="42100" y="0"/>
                      </a:moveTo>
                      <a:cubicBezTo>
                        <a:pt x="70866" y="1810"/>
                        <a:pt x="103727" y="7334"/>
                        <a:pt x="123254" y="19431"/>
                      </a:cubicBezTo>
                      <a:cubicBezTo>
                        <a:pt x="121158" y="29146"/>
                        <a:pt x="119348" y="38576"/>
                        <a:pt x="117253" y="48006"/>
                      </a:cubicBezTo>
                      <a:lnTo>
                        <a:pt x="108204" y="48006"/>
                      </a:lnTo>
                      <a:cubicBezTo>
                        <a:pt x="108395" y="28099"/>
                        <a:pt x="100298" y="25432"/>
                        <a:pt x="90202" y="16478"/>
                      </a:cubicBezTo>
                      <a:cubicBezTo>
                        <a:pt x="79153" y="16478"/>
                        <a:pt x="78010" y="18288"/>
                        <a:pt x="72200" y="22479"/>
                      </a:cubicBezTo>
                      <a:cubicBezTo>
                        <a:pt x="68675" y="43053"/>
                        <a:pt x="65151" y="63627"/>
                        <a:pt x="61627" y="84106"/>
                      </a:cubicBezTo>
                      <a:lnTo>
                        <a:pt x="72200" y="84106"/>
                      </a:lnTo>
                      <a:cubicBezTo>
                        <a:pt x="81725" y="77058"/>
                        <a:pt x="82296" y="59722"/>
                        <a:pt x="93154" y="58674"/>
                      </a:cubicBezTo>
                      <a:lnTo>
                        <a:pt x="93154" y="60103"/>
                      </a:lnTo>
                      <a:cubicBezTo>
                        <a:pt x="87154" y="86678"/>
                        <a:pt x="81153" y="113252"/>
                        <a:pt x="75152" y="139827"/>
                      </a:cubicBezTo>
                      <a:lnTo>
                        <a:pt x="73628" y="139827"/>
                      </a:lnTo>
                      <a:cubicBezTo>
                        <a:pt x="72581" y="139351"/>
                        <a:pt x="71533" y="138875"/>
                        <a:pt x="70580" y="138398"/>
                      </a:cubicBezTo>
                      <a:cubicBezTo>
                        <a:pt x="71723" y="118682"/>
                        <a:pt x="70009" y="107728"/>
                        <a:pt x="58579" y="100775"/>
                      </a:cubicBezTo>
                      <a:cubicBezTo>
                        <a:pt x="57055" y="101727"/>
                        <a:pt x="55626" y="102870"/>
                        <a:pt x="54007" y="103727"/>
                      </a:cubicBezTo>
                      <a:cubicBezTo>
                        <a:pt x="50292" y="125159"/>
                        <a:pt x="34481" y="158306"/>
                        <a:pt x="46577" y="178975"/>
                      </a:cubicBezTo>
                      <a:cubicBezTo>
                        <a:pt x="77057" y="182023"/>
                        <a:pt x="77438" y="165545"/>
                        <a:pt x="94679" y="153353"/>
                      </a:cubicBezTo>
                      <a:cubicBezTo>
                        <a:pt x="96774" y="156496"/>
                        <a:pt x="96583" y="155543"/>
                        <a:pt x="97631" y="160782"/>
                      </a:cubicBezTo>
                      <a:lnTo>
                        <a:pt x="85630" y="195263"/>
                      </a:lnTo>
                      <a:cubicBezTo>
                        <a:pt x="56293" y="195834"/>
                        <a:pt x="23050" y="186595"/>
                        <a:pt x="0" y="177260"/>
                      </a:cubicBezTo>
                      <a:lnTo>
                        <a:pt x="0" y="174403"/>
                      </a:lnTo>
                      <a:cubicBezTo>
                        <a:pt x="28861" y="146114"/>
                        <a:pt x="36957" y="73724"/>
                        <a:pt x="45053" y="27051"/>
                      </a:cubicBezTo>
                      <a:cubicBezTo>
                        <a:pt x="47911" y="11525"/>
                        <a:pt x="39053" y="8192"/>
                        <a:pt x="42100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1" name="任意多边形: 形状 140">
                  <a:extLst>
                    <a:ext uri="{FF2B5EF4-FFF2-40B4-BE49-F238E27FC236}">
                      <a16:creationId xmlns:a16="http://schemas.microsoft.com/office/drawing/2014/main" id="{4AACD47E-EE3A-47FC-8BA5-FE453BC96A0C}"/>
                    </a:ext>
                  </a:extLst>
                </p:cNvPr>
                <p:cNvSpPr/>
                <p:nvPr/>
              </p:nvSpPr>
              <p:spPr>
                <a:xfrm>
                  <a:off x="3837000" y="6245637"/>
                  <a:ext cx="64512" cy="169735"/>
                </a:xfrm>
                <a:custGeom>
                  <a:avLst/>
                  <a:gdLst>
                    <a:gd name="connsiteX0" fmla="*/ 14687 w 64512"/>
                    <a:gd name="connsiteY0" fmla="*/ 0 h 169735"/>
                    <a:gd name="connsiteX1" fmla="*/ 1161 w 64512"/>
                    <a:gd name="connsiteY1" fmla="*/ 8954 h 169735"/>
                    <a:gd name="connsiteX2" fmla="*/ 40119 w 64512"/>
                    <a:gd name="connsiteY2" fmla="*/ 169736 h 169735"/>
                    <a:gd name="connsiteX3" fmla="*/ 55263 w 64512"/>
                    <a:gd name="connsiteY3" fmla="*/ 166878 h 169735"/>
                    <a:gd name="connsiteX4" fmla="*/ 14687 w 64512"/>
                    <a:gd name="connsiteY4" fmla="*/ 0 h 1697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4512" h="169735">
                      <a:moveTo>
                        <a:pt x="14687" y="0"/>
                      </a:moveTo>
                      <a:cubicBezTo>
                        <a:pt x="10210" y="2858"/>
                        <a:pt x="5733" y="5905"/>
                        <a:pt x="1161" y="8954"/>
                      </a:cubicBezTo>
                      <a:cubicBezTo>
                        <a:pt x="-4173" y="72104"/>
                        <a:pt x="8877" y="134493"/>
                        <a:pt x="40119" y="169736"/>
                      </a:cubicBezTo>
                      <a:cubicBezTo>
                        <a:pt x="45167" y="168878"/>
                        <a:pt x="50215" y="167735"/>
                        <a:pt x="55263" y="166878"/>
                      </a:cubicBezTo>
                      <a:cubicBezTo>
                        <a:pt x="79552" y="119253"/>
                        <a:pt x="52501" y="16669"/>
                        <a:pt x="1468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2" name="任意多边形: 形状 141">
                  <a:extLst>
                    <a:ext uri="{FF2B5EF4-FFF2-40B4-BE49-F238E27FC236}">
                      <a16:creationId xmlns:a16="http://schemas.microsoft.com/office/drawing/2014/main" id="{E4983CAA-A4C3-473A-A5AE-71BE5D3C75EE}"/>
                    </a:ext>
                  </a:extLst>
                </p:cNvPr>
                <p:cNvSpPr/>
                <p:nvPr/>
              </p:nvSpPr>
              <p:spPr>
                <a:xfrm>
                  <a:off x="3706050" y="6253162"/>
                  <a:ext cx="91054" cy="193042"/>
                </a:xfrm>
                <a:custGeom>
                  <a:avLst/>
                  <a:gdLst>
                    <a:gd name="connsiteX0" fmla="*/ 53912 w 91054"/>
                    <a:gd name="connsiteY0" fmla="*/ 0 h 193042"/>
                    <a:gd name="connsiteX1" fmla="*/ 84106 w 91054"/>
                    <a:gd name="connsiteY1" fmla="*/ 1429 h 193042"/>
                    <a:gd name="connsiteX2" fmla="*/ 90202 w 91054"/>
                    <a:gd name="connsiteY2" fmla="*/ 46672 h 193042"/>
                    <a:gd name="connsiteX3" fmla="*/ 88583 w 91054"/>
                    <a:gd name="connsiteY3" fmla="*/ 46672 h 193042"/>
                    <a:gd name="connsiteX4" fmla="*/ 85630 w 91054"/>
                    <a:gd name="connsiteY4" fmla="*/ 46672 h 193042"/>
                    <a:gd name="connsiteX5" fmla="*/ 42005 w 91054"/>
                    <a:gd name="connsiteY5" fmla="*/ 12097 h 193042"/>
                    <a:gd name="connsiteX6" fmla="*/ 40481 w 91054"/>
                    <a:gd name="connsiteY6" fmla="*/ 15049 h 193042"/>
                    <a:gd name="connsiteX7" fmla="*/ 48006 w 91054"/>
                    <a:gd name="connsiteY7" fmla="*/ 84106 h 193042"/>
                    <a:gd name="connsiteX8" fmla="*/ 50959 w 91054"/>
                    <a:gd name="connsiteY8" fmla="*/ 85630 h 193042"/>
                    <a:gd name="connsiteX9" fmla="*/ 55531 w 91054"/>
                    <a:gd name="connsiteY9" fmla="*/ 84106 h 193042"/>
                    <a:gd name="connsiteX10" fmla="*/ 67628 w 91054"/>
                    <a:gd name="connsiteY10" fmla="*/ 49625 h 193042"/>
                    <a:gd name="connsiteX11" fmla="*/ 70580 w 91054"/>
                    <a:gd name="connsiteY11" fmla="*/ 51054 h 193042"/>
                    <a:gd name="connsiteX12" fmla="*/ 70580 w 91054"/>
                    <a:gd name="connsiteY12" fmla="*/ 54102 h 193042"/>
                    <a:gd name="connsiteX13" fmla="*/ 78200 w 91054"/>
                    <a:gd name="connsiteY13" fmla="*/ 130778 h 193042"/>
                    <a:gd name="connsiteX14" fmla="*/ 75152 w 91054"/>
                    <a:gd name="connsiteY14" fmla="*/ 129349 h 193042"/>
                    <a:gd name="connsiteX15" fmla="*/ 58579 w 91054"/>
                    <a:gd name="connsiteY15" fmla="*/ 100679 h 193042"/>
                    <a:gd name="connsiteX16" fmla="*/ 50959 w 91054"/>
                    <a:gd name="connsiteY16" fmla="*/ 102298 h 193042"/>
                    <a:gd name="connsiteX17" fmla="*/ 58579 w 91054"/>
                    <a:gd name="connsiteY17" fmla="*/ 168307 h 193042"/>
                    <a:gd name="connsiteX18" fmla="*/ 75152 w 91054"/>
                    <a:gd name="connsiteY18" fmla="*/ 186309 h 193042"/>
                    <a:gd name="connsiteX19" fmla="*/ 24003 w 91054"/>
                    <a:gd name="connsiteY19" fmla="*/ 192405 h 193042"/>
                    <a:gd name="connsiteX20" fmla="*/ 24003 w 91054"/>
                    <a:gd name="connsiteY20" fmla="*/ 187928 h 193042"/>
                    <a:gd name="connsiteX21" fmla="*/ 0 w 91054"/>
                    <a:gd name="connsiteY21" fmla="*/ 15049 h 193042"/>
                    <a:gd name="connsiteX22" fmla="*/ 2953 w 91054"/>
                    <a:gd name="connsiteY22" fmla="*/ 7429 h 193042"/>
                    <a:gd name="connsiteX23" fmla="*/ 53912 w 91054"/>
                    <a:gd name="connsiteY23" fmla="*/ 0 h 1930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91054" h="193042">
                      <a:moveTo>
                        <a:pt x="53912" y="0"/>
                      </a:moveTo>
                      <a:cubicBezTo>
                        <a:pt x="64008" y="476"/>
                        <a:pt x="73914" y="953"/>
                        <a:pt x="84106" y="1429"/>
                      </a:cubicBezTo>
                      <a:cubicBezTo>
                        <a:pt x="86582" y="15716"/>
                        <a:pt x="93440" y="33242"/>
                        <a:pt x="90202" y="46672"/>
                      </a:cubicBezTo>
                      <a:lnTo>
                        <a:pt x="88583" y="46672"/>
                      </a:lnTo>
                      <a:lnTo>
                        <a:pt x="85630" y="46672"/>
                      </a:lnTo>
                      <a:cubicBezTo>
                        <a:pt x="79058" y="22860"/>
                        <a:pt x="70771" y="9049"/>
                        <a:pt x="42005" y="12097"/>
                      </a:cubicBezTo>
                      <a:cubicBezTo>
                        <a:pt x="41529" y="13049"/>
                        <a:pt x="41053" y="13906"/>
                        <a:pt x="40481" y="15049"/>
                      </a:cubicBezTo>
                      <a:cubicBezTo>
                        <a:pt x="36290" y="36862"/>
                        <a:pt x="44672" y="62865"/>
                        <a:pt x="48006" y="84106"/>
                      </a:cubicBezTo>
                      <a:cubicBezTo>
                        <a:pt x="49054" y="84677"/>
                        <a:pt x="50006" y="85154"/>
                        <a:pt x="50959" y="85630"/>
                      </a:cubicBezTo>
                      <a:cubicBezTo>
                        <a:pt x="52483" y="85154"/>
                        <a:pt x="53912" y="84677"/>
                        <a:pt x="55531" y="84106"/>
                      </a:cubicBezTo>
                      <a:cubicBezTo>
                        <a:pt x="62008" y="74866"/>
                        <a:pt x="62675" y="62198"/>
                        <a:pt x="67628" y="49625"/>
                      </a:cubicBezTo>
                      <a:cubicBezTo>
                        <a:pt x="68485" y="50197"/>
                        <a:pt x="69628" y="50578"/>
                        <a:pt x="70580" y="51054"/>
                      </a:cubicBezTo>
                      <a:lnTo>
                        <a:pt x="70580" y="54102"/>
                      </a:lnTo>
                      <a:cubicBezTo>
                        <a:pt x="74200" y="62579"/>
                        <a:pt x="81725" y="121634"/>
                        <a:pt x="78200" y="130778"/>
                      </a:cubicBezTo>
                      <a:cubicBezTo>
                        <a:pt x="77153" y="130302"/>
                        <a:pt x="76105" y="129826"/>
                        <a:pt x="75152" y="129349"/>
                      </a:cubicBezTo>
                      <a:cubicBezTo>
                        <a:pt x="72295" y="116681"/>
                        <a:pt x="67532" y="107252"/>
                        <a:pt x="58579" y="100679"/>
                      </a:cubicBezTo>
                      <a:cubicBezTo>
                        <a:pt x="56007" y="101251"/>
                        <a:pt x="53530" y="101727"/>
                        <a:pt x="50959" y="102298"/>
                      </a:cubicBezTo>
                      <a:cubicBezTo>
                        <a:pt x="53435" y="124206"/>
                        <a:pt x="55912" y="146304"/>
                        <a:pt x="58579" y="168307"/>
                      </a:cubicBezTo>
                      <a:cubicBezTo>
                        <a:pt x="62484" y="177641"/>
                        <a:pt x="71723" y="176213"/>
                        <a:pt x="75152" y="186309"/>
                      </a:cubicBezTo>
                      <a:cubicBezTo>
                        <a:pt x="55245" y="186595"/>
                        <a:pt x="38481" y="195453"/>
                        <a:pt x="24003" y="192405"/>
                      </a:cubicBezTo>
                      <a:lnTo>
                        <a:pt x="24003" y="187928"/>
                      </a:lnTo>
                      <a:cubicBezTo>
                        <a:pt x="42958" y="172688"/>
                        <a:pt x="16669" y="21241"/>
                        <a:pt x="0" y="15049"/>
                      </a:cubicBezTo>
                      <a:cubicBezTo>
                        <a:pt x="953" y="9430"/>
                        <a:pt x="571" y="10382"/>
                        <a:pt x="2953" y="7429"/>
                      </a:cubicBezTo>
                      <a:cubicBezTo>
                        <a:pt x="15145" y="9239"/>
                        <a:pt x="40291" y="6572"/>
                        <a:pt x="53912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3" name="任意多边形: 形状 142">
                  <a:extLst>
                    <a:ext uri="{FF2B5EF4-FFF2-40B4-BE49-F238E27FC236}">
                      <a16:creationId xmlns:a16="http://schemas.microsoft.com/office/drawing/2014/main" id="{412361FC-FFBF-4473-8C9B-DB10982B1CBA}"/>
                    </a:ext>
                  </a:extLst>
                </p:cNvPr>
                <p:cNvSpPr/>
                <p:nvPr/>
              </p:nvSpPr>
              <p:spPr>
                <a:xfrm>
                  <a:off x="3555650" y="6269425"/>
                  <a:ext cx="107794" cy="186634"/>
                </a:xfrm>
                <a:custGeom>
                  <a:avLst/>
                  <a:gdLst>
                    <a:gd name="connsiteX0" fmla="*/ 10477 w 107794"/>
                    <a:gd name="connsiteY0" fmla="*/ 215 h 186634"/>
                    <a:gd name="connsiteX1" fmla="*/ 94679 w 107794"/>
                    <a:gd name="connsiteY1" fmla="*/ 28695 h 186634"/>
                    <a:gd name="connsiteX2" fmla="*/ 82582 w 107794"/>
                    <a:gd name="connsiteY2" fmla="*/ 176046 h 186634"/>
                    <a:gd name="connsiteX3" fmla="*/ 48006 w 107794"/>
                    <a:gd name="connsiteY3" fmla="*/ 185095 h 186634"/>
                    <a:gd name="connsiteX4" fmla="*/ 8954 w 107794"/>
                    <a:gd name="connsiteY4" fmla="*/ 183666 h 186634"/>
                    <a:gd name="connsiteX5" fmla="*/ 0 w 107794"/>
                    <a:gd name="connsiteY5" fmla="*/ 6216 h 186634"/>
                    <a:gd name="connsiteX6" fmla="*/ 10477 w 107794"/>
                    <a:gd name="connsiteY6" fmla="*/ 215 h 1866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7794" h="186634">
                      <a:moveTo>
                        <a:pt x="10477" y="215"/>
                      </a:moveTo>
                      <a:cubicBezTo>
                        <a:pt x="52483" y="-1023"/>
                        <a:pt x="80772" y="2406"/>
                        <a:pt x="94679" y="28695"/>
                      </a:cubicBezTo>
                      <a:cubicBezTo>
                        <a:pt x="115252" y="67938"/>
                        <a:pt x="111919" y="151853"/>
                        <a:pt x="82582" y="176046"/>
                      </a:cubicBezTo>
                      <a:cubicBezTo>
                        <a:pt x="72961" y="183952"/>
                        <a:pt x="60103" y="183286"/>
                        <a:pt x="48006" y="185095"/>
                      </a:cubicBezTo>
                      <a:cubicBezTo>
                        <a:pt x="37052" y="186905"/>
                        <a:pt x="17907" y="187857"/>
                        <a:pt x="8954" y="183666"/>
                      </a:cubicBezTo>
                      <a:cubicBezTo>
                        <a:pt x="27908" y="158330"/>
                        <a:pt x="16669" y="24123"/>
                        <a:pt x="0" y="6216"/>
                      </a:cubicBezTo>
                      <a:cubicBezTo>
                        <a:pt x="3429" y="4215"/>
                        <a:pt x="6858" y="2215"/>
                        <a:pt x="10477" y="215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4" name="任意多边形: 形状 143">
                  <a:extLst>
                    <a:ext uri="{FF2B5EF4-FFF2-40B4-BE49-F238E27FC236}">
                      <a16:creationId xmlns:a16="http://schemas.microsoft.com/office/drawing/2014/main" id="{97D95D0D-8568-427D-BBA1-32A36A2E37EE}"/>
                    </a:ext>
                  </a:extLst>
                </p:cNvPr>
                <p:cNvSpPr/>
                <p:nvPr/>
              </p:nvSpPr>
              <p:spPr>
                <a:xfrm>
                  <a:off x="3327336" y="6271164"/>
                  <a:ext cx="100488" cy="184879"/>
                </a:xfrm>
                <a:custGeom>
                  <a:avLst/>
                  <a:gdLst>
                    <a:gd name="connsiteX0" fmla="*/ 58388 w 100488"/>
                    <a:gd name="connsiteY0" fmla="*/ 0 h 184879"/>
                    <a:gd name="connsiteX1" fmla="*/ 100489 w 100488"/>
                    <a:gd name="connsiteY1" fmla="*/ 181927 h 184879"/>
                    <a:gd name="connsiteX2" fmla="*/ 98965 w 100488"/>
                    <a:gd name="connsiteY2" fmla="*/ 184880 h 184879"/>
                    <a:gd name="connsiteX3" fmla="*/ 55340 w 100488"/>
                    <a:gd name="connsiteY3" fmla="*/ 183356 h 184879"/>
                    <a:gd name="connsiteX4" fmla="*/ 53816 w 100488"/>
                    <a:gd name="connsiteY4" fmla="*/ 180308 h 184879"/>
                    <a:gd name="connsiteX5" fmla="*/ 64484 w 100488"/>
                    <a:gd name="connsiteY5" fmla="*/ 171355 h 184879"/>
                    <a:gd name="connsiteX6" fmla="*/ 53816 w 100488"/>
                    <a:gd name="connsiteY6" fmla="*/ 129254 h 184879"/>
                    <a:gd name="connsiteX7" fmla="*/ 28289 w 100488"/>
                    <a:gd name="connsiteY7" fmla="*/ 130683 h 184879"/>
                    <a:gd name="connsiteX8" fmla="*/ 17907 w 100488"/>
                    <a:gd name="connsiteY8" fmla="*/ 165354 h 184879"/>
                    <a:gd name="connsiteX9" fmla="*/ 26860 w 100488"/>
                    <a:gd name="connsiteY9" fmla="*/ 181927 h 184879"/>
                    <a:gd name="connsiteX10" fmla="*/ 20860 w 100488"/>
                    <a:gd name="connsiteY10" fmla="*/ 183356 h 184879"/>
                    <a:gd name="connsiteX11" fmla="*/ 0 w 100488"/>
                    <a:gd name="connsiteY11" fmla="*/ 178879 h 184879"/>
                    <a:gd name="connsiteX12" fmla="*/ 0 w 100488"/>
                    <a:gd name="connsiteY12" fmla="*/ 177355 h 184879"/>
                    <a:gd name="connsiteX13" fmla="*/ 58388 w 100488"/>
                    <a:gd name="connsiteY13" fmla="*/ 0 h 1848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0488" h="184879">
                      <a:moveTo>
                        <a:pt x="58388" y="0"/>
                      </a:moveTo>
                      <a:cubicBezTo>
                        <a:pt x="74295" y="13525"/>
                        <a:pt x="83248" y="152019"/>
                        <a:pt x="100489" y="181927"/>
                      </a:cubicBezTo>
                      <a:cubicBezTo>
                        <a:pt x="100013" y="182784"/>
                        <a:pt x="99441" y="183928"/>
                        <a:pt x="98965" y="184880"/>
                      </a:cubicBezTo>
                      <a:cubicBezTo>
                        <a:pt x="84487" y="184404"/>
                        <a:pt x="69913" y="183832"/>
                        <a:pt x="55340" y="183356"/>
                      </a:cubicBezTo>
                      <a:cubicBezTo>
                        <a:pt x="54864" y="182308"/>
                        <a:pt x="54292" y="181451"/>
                        <a:pt x="53816" y="180308"/>
                      </a:cubicBezTo>
                      <a:cubicBezTo>
                        <a:pt x="58102" y="177451"/>
                        <a:pt x="61627" y="176022"/>
                        <a:pt x="64484" y="171355"/>
                      </a:cubicBezTo>
                      <a:cubicBezTo>
                        <a:pt x="69056" y="154876"/>
                        <a:pt x="60865" y="138493"/>
                        <a:pt x="53816" y="129254"/>
                      </a:cubicBezTo>
                      <a:cubicBezTo>
                        <a:pt x="45244" y="129826"/>
                        <a:pt x="36767" y="130302"/>
                        <a:pt x="28289" y="130683"/>
                      </a:cubicBezTo>
                      <a:cubicBezTo>
                        <a:pt x="23336" y="141160"/>
                        <a:pt x="18764" y="150781"/>
                        <a:pt x="17907" y="165354"/>
                      </a:cubicBezTo>
                      <a:cubicBezTo>
                        <a:pt x="20860" y="170878"/>
                        <a:pt x="23908" y="176403"/>
                        <a:pt x="26860" y="181927"/>
                      </a:cubicBezTo>
                      <a:cubicBezTo>
                        <a:pt x="24765" y="182308"/>
                        <a:pt x="22955" y="182784"/>
                        <a:pt x="20860" y="183356"/>
                      </a:cubicBezTo>
                      <a:cubicBezTo>
                        <a:pt x="14097" y="181927"/>
                        <a:pt x="6953" y="180308"/>
                        <a:pt x="0" y="178879"/>
                      </a:cubicBezTo>
                      <a:lnTo>
                        <a:pt x="0" y="177355"/>
                      </a:lnTo>
                      <a:cubicBezTo>
                        <a:pt x="33338" y="130969"/>
                        <a:pt x="31528" y="54292"/>
                        <a:pt x="58388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2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5" name="任意多边形: 形状 144">
                  <a:extLst>
                    <a:ext uri="{FF2B5EF4-FFF2-40B4-BE49-F238E27FC236}">
                      <a16:creationId xmlns:a16="http://schemas.microsoft.com/office/drawing/2014/main" id="{BA6E90F9-517F-4CA5-8F1A-5F3C2835CBAB}"/>
                    </a:ext>
                  </a:extLst>
                </p:cNvPr>
                <p:cNvSpPr/>
                <p:nvPr/>
              </p:nvSpPr>
              <p:spPr>
                <a:xfrm>
                  <a:off x="3445922" y="6272498"/>
                  <a:ext cx="99250" cy="185750"/>
                </a:xfrm>
                <a:custGeom>
                  <a:avLst/>
                  <a:gdLst>
                    <a:gd name="connsiteX0" fmla="*/ 88583 w 99250"/>
                    <a:gd name="connsiteY0" fmla="*/ 0 h 185750"/>
                    <a:gd name="connsiteX1" fmla="*/ 99250 w 99250"/>
                    <a:gd name="connsiteY1" fmla="*/ 1619 h 185750"/>
                    <a:gd name="connsiteX2" fmla="*/ 90202 w 99250"/>
                    <a:gd name="connsiteY2" fmla="*/ 18002 h 185750"/>
                    <a:gd name="connsiteX3" fmla="*/ 88678 w 99250"/>
                    <a:gd name="connsiteY3" fmla="*/ 184976 h 185750"/>
                    <a:gd name="connsiteX4" fmla="*/ 22670 w 99250"/>
                    <a:gd name="connsiteY4" fmla="*/ 61627 h 185750"/>
                    <a:gd name="connsiteX5" fmla="*/ 19621 w 99250"/>
                    <a:gd name="connsiteY5" fmla="*/ 63246 h 185750"/>
                    <a:gd name="connsiteX6" fmla="*/ 28575 w 99250"/>
                    <a:gd name="connsiteY6" fmla="*/ 183452 h 185750"/>
                    <a:gd name="connsiteX7" fmla="*/ 27051 w 99250"/>
                    <a:gd name="connsiteY7" fmla="*/ 184880 h 185750"/>
                    <a:gd name="connsiteX8" fmla="*/ 1619 w 99250"/>
                    <a:gd name="connsiteY8" fmla="*/ 181832 h 185750"/>
                    <a:gd name="connsiteX9" fmla="*/ 4572 w 99250"/>
                    <a:gd name="connsiteY9" fmla="*/ 177355 h 185750"/>
                    <a:gd name="connsiteX10" fmla="*/ 10573 w 99250"/>
                    <a:gd name="connsiteY10" fmla="*/ 31528 h 185750"/>
                    <a:gd name="connsiteX11" fmla="*/ 0 w 99250"/>
                    <a:gd name="connsiteY11" fmla="*/ 5905 h 185750"/>
                    <a:gd name="connsiteX12" fmla="*/ 1524 w 99250"/>
                    <a:gd name="connsiteY12" fmla="*/ 4477 h 185750"/>
                    <a:gd name="connsiteX13" fmla="*/ 25527 w 99250"/>
                    <a:gd name="connsiteY13" fmla="*/ 1524 h 185750"/>
                    <a:gd name="connsiteX14" fmla="*/ 78105 w 99250"/>
                    <a:gd name="connsiteY14" fmla="*/ 94774 h 185750"/>
                    <a:gd name="connsiteX15" fmla="*/ 81058 w 99250"/>
                    <a:gd name="connsiteY15" fmla="*/ 90202 h 185750"/>
                    <a:gd name="connsiteX16" fmla="*/ 70580 w 99250"/>
                    <a:gd name="connsiteY16" fmla="*/ 4572 h 185750"/>
                    <a:gd name="connsiteX17" fmla="*/ 72104 w 99250"/>
                    <a:gd name="connsiteY17" fmla="*/ 1619 h 185750"/>
                    <a:gd name="connsiteX18" fmla="*/ 88583 w 99250"/>
                    <a:gd name="connsiteY18" fmla="*/ 0 h 1857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99250" h="185750">
                      <a:moveTo>
                        <a:pt x="88583" y="0"/>
                      </a:moveTo>
                      <a:cubicBezTo>
                        <a:pt x="92202" y="667"/>
                        <a:pt x="95631" y="1143"/>
                        <a:pt x="99250" y="1619"/>
                      </a:cubicBezTo>
                      <a:cubicBezTo>
                        <a:pt x="97155" y="9620"/>
                        <a:pt x="92107" y="10954"/>
                        <a:pt x="90202" y="18002"/>
                      </a:cubicBezTo>
                      <a:cubicBezTo>
                        <a:pt x="79438" y="59341"/>
                        <a:pt x="106204" y="165545"/>
                        <a:pt x="88678" y="184976"/>
                      </a:cubicBezTo>
                      <a:cubicBezTo>
                        <a:pt x="55054" y="156686"/>
                        <a:pt x="54578" y="91916"/>
                        <a:pt x="22670" y="61627"/>
                      </a:cubicBezTo>
                      <a:cubicBezTo>
                        <a:pt x="21622" y="62294"/>
                        <a:pt x="20574" y="62770"/>
                        <a:pt x="19621" y="63246"/>
                      </a:cubicBezTo>
                      <a:cubicBezTo>
                        <a:pt x="18288" y="102584"/>
                        <a:pt x="18669" y="151067"/>
                        <a:pt x="28575" y="183452"/>
                      </a:cubicBezTo>
                      <a:lnTo>
                        <a:pt x="27051" y="184880"/>
                      </a:lnTo>
                      <a:cubicBezTo>
                        <a:pt x="15050" y="185738"/>
                        <a:pt x="7144" y="187262"/>
                        <a:pt x="1619" y="181832"/>
                      </a:cubicBezTo>
                      <a:cubicBezTo>
                        <a:pt x="2572" y="180404"/>
                        <a:pt x="3429" y="178784"/>
                        <a:pt x="4572" y="177355"/>
                      </a:cubicBezTo>
                      <a:cubicBezTo>
                        <a:pt x="13621" y="171355"/>
                        <a:pt x="14192" y="48863"/>
                        <a:pt x="10573" y="31528"/>
                      </a:cubicBezTo>
                      <a:lnTo>
                        <a:pt x="0" y="5905"/>
                      </a:lnTo>
                      <a:cubicBezTo>
                        <a:pt x="476" y="5429"/>
                        <a:pt x="1048" y="5048"/>
                        <a:pt x="1524" y="4477"/>
                      </a:cubicBezTo>
                      <a:cubicBezTo>
                        <a:pt x="11239" y="4858"/>
                        <a:pt x="19526" y="4001"/>
                        <a:pt x="25527" y="1524"/>
                      </a:cubicBezTo>
                      <a:cubicBezTo>
                        <a:pt x="51530" y="23717"/>
                        <a:pt x="52007" y="72676"/>
                        <a:pt x="78105" y="94774"/>
                      </a:cubicBezTo>
                      <a:cubicBezTo>
                        <a:pt x="79058" y="93154"/>
                        <a:pt x="80105" y="91726"/>
                        <a:pt x="81058" y="90202"/>
                      </a:cubicBezTo>
                      <a:cubicBezTo>
                        <a:pt x="92202" y="65627"/>
                        <a:pt x="82487" y="19907"/>
                        <a:pt x="70580" y="4572"/>
                      </a:cubicBezTo>
                      <a:cubicBezTo>
                        <a:pt x="71152" y="3715"/>
                        <a:pt x="71628" y="2572"/>
                        <a:pt x="72104" y="1619"/>
                      </a:cubicBezTo>
                      <a:cubicBezTo>
                        <a:pt x="77629" y="1143"/>
                        <a:pt x="83153" y="667"/>
                        <a:pt x="88583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6" name="任意多边形: 形状 145">
                  <a:extLst>
                    <a:ext uri="{FF2B5EF4-FFF2-40B4-BE49-F238E27FC236}">
                      <a16:creationId xmlns:a16="http://schemas.microsoft.com/office/drawing/2014/main" id="{294B7088-771F-41D4-B809-BCBF1EAA839F}"/>
                    </a:ext>
                  </a:extLst>
                </p:cNvPr>
                <p:cNvSpPr/>
                <p:nvPr/>
              </p:nvSpPr>
              <p:spPr>
                <a:xfrm>
                  <a:off x="3592869" y="6280118"/>
                  <a:ext cx="44135" cy="163959"/>
                </a:xfrm>
                <a:custGeom>
                  <a:avLst/>
                  <a:gdLst>
                    <a:gd name="connsiteX0" fmla="*/ 6406 w 44135"/>
                    <a:gd name="connsiteY0" fmla="*/ 0 h 163959"/>
                    <a:gd name="connsiteX1" fmla="*/ 119 w 44135"/>
                    <a:gd name="connsiteY1" fmla="*/ 6001 h 163959"/>
                    <a:gd name="connsiteX2" fmla="*/ 21360 w 44135"/>
                    <a:gd name="connsiteY2" fmla="*/ 163830 h 163959"/>
                    <a:gd name="connsiteX3" fmla="*/ 6406 w 44135"/>
                    <a:gd name="connsiteY3" fmla="*/ 0 h 1639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4135" h="163959">
                      <a:moveTo>
                        <a:pt x="6406" y="0"/>
                      </a:moveTo>
                      <a:cubicBezTo>
                        <a:pt x="4310" y="2096"/>
                        <a:pt x="2215" y="4001"/>
                        <a:pt x="119" y="6001"/>
                      </a:cubicBezTo>
                      <a:cubicBezTo>
                        <a:pt x="-452" y="35528"/>
                        <a:pt x="214" y="168688"/>
                        <a:pt x="21360" y="163830"/>
                      </a:cubicBezTo>
                      <a:cubicBezTo>
                        <a:pt x="58602" y="145733"/>
                        <a:pt x="47744" y="5429"/>
                        <a:pt x="640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47" name="任意多边形: 形状 146">
                  <a:extLst>
                    <a:ext uri="{FF2B5EF4-FFF2-40B4-BE49-F238E27FC236}">
                      <a16:creationId xmlns:a16="http://schemas.microsoft.com/office/drawing/2014/main" id="{8118E98D-14FC-4255-8E06-824C2CDAA03A}"/>
                    </a:ext>
                  </a:extLst>
                </p:cNvPr>
                <p:cNvSpPr/>
                <p:nvPr/>
              </p:nvSpPr>
              <p:spPr>
                <a:xfrm>
                  <a:off x="3362128" y="6343268"/>
                  <a:ext cx="20643" cy="45148"/>
                </a:xfrm>
                <a:custGeom>
                  <a:avLst/>
                  <a:gdLst>
                    <a:gd name="connsiteX0" fmla="*/ 10071 w 20643"/>
                    <a:gd name="connsiteY0" fmla="*/ 0 h 45148"/>
                    <a:gd name="connsiteX1" fmla="*/ 1117 w 20643"/>
                    <a:gd name="connsiteY1" fmla="*/ 45149 h 45148"/>
                    <a:gd name="connsiteX2" fmla="*/ 19120 w 20643"/>
                    <a:gd name="connsiteY2" fmla="*/ 42196 h 45148"/>
                    <a:gd name="connsiteX3" fmla="*/ 20644 w 20643"/>
                    <a:gd name="connsiteY3" fmla="*/ 37624 h 45148"/>
                    <a:gd name="connsiteX4" fmla="*/ 10071 w 20643"/>
                    <a:gd name="connsiteY4" fmla="*/ 0 h 45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0643" h="45148">
                      <a:moveTo>
                        <a:pt x="10071" y="0"/>
                      </a:moveTo>
                      <a:cubicBezTo>
                        <a:pt x="3975" y="9906"/>
                        <a:pt x="-2693" y="30956"/>
                        <a:pt x="1117" y="45149"/>
                      </a:cubicBezTo>
                      <a:cubicBezTo>
                        <a:pt x="7118" y="44101"/>
                        <a:pt x="13119" y="43053"/>
                        <a:pt x="19120" y="42196"/>
                      </a:cubicBezTo>
                      <a:cubicBezTo>
                        <a:pt x="19691" y="40672"/>
                        <a:pt x="20263" y="39148"/>
                        <a:pt x="20644" y="37624"/>
                      </a:cubicBezTo>
                      <a:cubicBezTo>
                        <a:pt x="19596" y="25527"/>
                        <a:pt x="17310" y="3429"/>
                        <a:pt x="10071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3" name="图形 7">
              <a:extLst>
                <a:ext uri="{FF2B5EF4-FFF2-40B4-BE49-F238E27FC236}">
                  <a16:creationId xmlns:a16="http://schemas.microsoft.com/office/drawing/2014/main" id="{31CD36F4-0426-40AF-A680-113B88023B91}"/>
                </a:ext>
              </a:extLst>
            </p:cNvPr>
            <p:cNvGrpSpPr/>
            <p:nvPr/>
          </p:nvGrpSpPr>
          <p:grpSpPr>
            <a:xfrm>
              <a:off x="8282628" y="-820039"/>
              <a:ext cx="1923862" cy="470602"/>
              <a:chOff x="1816114" y="6783404"/>
              <a:chExt cx="3505376" cy="857460"/>
            </a:xfrm>
            <a:solidFill>
              <a:schemeClr val="tx1"/>
            </a:solidFill>
          </p:grpSpPr>
          <p:grpSp>
            <p:nvGrpSpPr>
              <p:cNvPr id="14" name="图形 7">
                <a:extLst>
                  <a:ext uri="{FF2B5EF4-FFF2-40B4-BE49-F238E27FC236}">
                    <a16:creationId xmlns:a16="http://schemas.microsoft.com/office/drawing/2014/main" id="{D847F5F2-A530-42D5-8280-C9AF1FABE2A4}"/>
                  </a:ext>
                </a:extLst>
              </p:cNvPr>
              <p:cNvGrpSpPr/>
              <p:nvPr/>
            </p:nvGrpSpPr>
            <p:grpSpPr>
              <a:xfrm>
                <a:off x="1816114" y="6783404"/>
                <a:ext cx="3467184" cy="594778"/>
                <a:chOff x="1816114" y="6783404"/>
                <a:chExt cx="3467184" cy="594778"/>
              </a:xfrm>
              <a:grpFill/>
            </p:grpSpPr>
            <p:sp>
              <p:nvSpPr>
                <p:cNvPr id="54" name="任意多边形: 形状 53">
                  <a:extLst>
                    <a:ext uri="{FF2B5EF4-FFF2-40B4-BE49-F238E27FC236}">
                      <a16:creationId xmlns:a16="http://schemas.microsoft.com/office/drawing/2014/main" id="{F0094C41-9CE3-40D7-B96F-894290C505CD}"/>
                    </a:ext>
                  </a:extLst>
                </p:cNvPr>
                <p:cNvSpPr/>
                <p:nvPr/>
              </p:nvSpPr>
              <p:spPr>
                <a:xfrm>
                  <a:off x="1816114" y="6806036"/>
                  <a:ext cx="395784" cy="572067"/>
                </a:xfrm>
                <a:custGeom>
                  <a:avLst/>
                  <a:gdLst>
                    <a:gd name="connsiteX0" fmla="*/ 380414 w 395784"/>
                    <a:gd name="connsiteY0" fmla="*/ 53 h 572067"/>
                    <a:gd name="connsiteX1" fmla="*/ 291355 w 395784"/>
                    <a:gd name="connsiteY1" fmla="*/ 55107 h 572067"/>
                    <a:gd name="connsiteX2" fmla="*/ 240111 w 395784"/>
                    <a:gd name="connsiteY2" fmla="*/ 97874 h 572067"/>
                    <a:gd name="connsiteX3" fmla="*/ 226490 w 395784"/>
                    <a:gd name="connsiteY3" fmla="*/ 125402 h 572067"/>
                    <a:gd name="connsiteX4" fmla="*/ 155910 w 395784"/>
                    <a:gd name="connsiteY4" fmla="*/ 265229 h 572067"/>
                    <a:gd name="connsiteX5" fmla="*/ 124287 w 395784"/>
                    <a:gd name="connsiteY5" fmla="*/ 333047 h 572067"/>
                    <a:gd name="connsiteX6" fmla="*/ 110666 w 395784"/>
                    <a:gd name="connsiteY6" fmla="*/ 322665 h 572067"/>
                    <a:gd name="connsiteX7" fmla="*/ 128383 w 395784"/>
                    <a:gd name="connsiteY7" fmla="*/ 222747 h 572067"/>
                    <a:gd name="connsiteX8" fmla="*/ 96283 w 395784"/>
                    <a:gd name="connsiteY8" fmla="*/ 220366 h 572067"/>
                    <a:gd name="connsiteX9" fmla="*/ 23417 w 395784"/>
                    <a:gd name="connsiteY9" fmla="*/ 307996 h 572067"/>
                    <a:gd name="connsiteX10" fmla="*/ 75043 w 395784"/>
                    <a:gd name="connsiteY10" fmla="*/ 313330 h 572067"/>
                    <a:gd name="connsiteX11" fmla="*/ 81805 w 395784"/>
                    <a:gd name="connsiteY11" fmla="*/ 295423 h 572067"/>
                    <a:gd name="connsiteX12" fmla="*/ 94759 w 395784"/>
                    <a:gd name="connsiteY12" fmla="*/ 309329 h 572067"/>
                    <a:gd name="connsiteX13" fmla="*/ 90283 w 395784"/>
                    <a:gd name="connsiteY13" fmla="*/ 382862 h 572067"/>
                    <a:gd name="connsiteX14" fmla="*/ 84663 w 395784"/>
                    <a:gd name="connsiteY14" fmla="*/ 393911 h 572067"/>
                    <a:gd name="connsiteX15" fmla="*/ 21036 w 395784"/>
                    <a:gd name="connsiteY15" fmla="*/ 538692 h 572067"/>
                    <a:gd name="connsiteX16" fmla="*/ 33133 w 395784"/>
                    <a:gd name="connsiteY16" fmla="*/ 540596 h 572067"/>
                    <a:gd name="connsiteX17" fmla="*/ 72471 w 395784"/>
                    <a:gd name="connsiteY17" fmla="*/ 500973 h 572067"/>
                    <a:gd name="connsiteX18" fmla="*/ 87520 w 395784"/>
                    <a:gd name="connsiteY18" fmla="*/ 523261 h 572067"/>
                    <a:gd name="connsiteX19" fmla="*/ 98284 w 395784"/>
                    <a:gd name="connsiteY19" fmla="*/ 570315 h 572067"/>
                    <a:gd name="connsiteX20" fmla="*/ 112571 w 395784"/>
                    <a:gd name="connsiteY20" fmla="*/ 491066 h 572067"/>
                    <a:gd name="connsiteX21" fmla="*/ 111619 w 395784"/>
                    <a:gd name="connsiteY21" fmla="*/ 448871 h 572067"/>
                    <a:gd name="connsiteX22" fmla="*/ 122953 w 395784"/>
                    <a:gd name="connsiteY22" fmla="*/ 388101 h 572067"/>
                    <a:gd name="connsiteX23" fmla="*/ 222299 w 395784"/>
                    <a:gd name="connsiteY23" fmla="*/ 189600 h 572067"/>
                    <a:gd name="connsiteX24" fmla="*/ 261542 w 395784"/>
                    <a:gd name="connsiteY24" fmla="*/ 135689 h 572067"/>
                    <a:gd name="connsiteX25" fmla="*/ 265352 w 395784"/>
                    <a:gd name="connsiteY25" fmla="*/ 148928 h 572067"/>
                    <a:gd name="connsiteX26" fmla="*/ 188390 w 395784"/>
                    <a:gd name="connsiteY26" fmla="*/ 285517 h 572067"/>
                    <a:gd name="connsiteX27" fmla="*/ 202201 w 395784"/>
                    <a:gd name="connsiteY27" fmla="*/ 331142 h 572067"/>
                    <a:gd name="connsiteX28" fmla="*/ 220013 w 395784"/>
                    <a:gd name="connsiteY28" fmla="*/ 310282 h 572067"/>
                    <a:gd name="connsiteX29" fmla="*/ 246112 w 395784"/>
                    <a:gd name="connsiteY29" fmla="*/ 255894 h 572067"/>
                    <a:gd name="connsiteX30" fmla="*/ 283831 w 395784"/>
                    <a:gd name="connsiteY30" fmla="*/ 216461 h 572067"/>
                    <a:gd name="connsiteX31" fmla="*/ 282211 w 395784"/>
                    <a:gd name="connsiteY31" fmla="*/ 233034 h 572067"/>
                    <a:gd name="connsiteX32" fmla="*/ 240778 w 395784"/>
                    <a:gd name="connsiteY32" fmla="*/ 297233 h 572067"/>
                    <a:gd name="connsiteX33" fmla="*/ 246112 w 395784"/>
                    <a:gd name="connsiteY33" fmla="*/ 310377 h 572067"/>
                    <a:gd name="connsiteX34" fmla="*/ 298309 w 395784"/>
                    <a:gd name="connsiteY34" fmla="*/ 293423 h 572067"/>
                    <a:gd name="connsiteX35" fmla="*/ 293070 w 395784"/>
                    <a:gd name="connsiteY35" fmla="*/ 282755 h 572067"/>
                    <a:gd name="connsiteX36" fmla="*/ 289927 w 395784"/>
                    <a:gd name="connsiteY36" fmla="*/ 264848 h 572067"/>
                    <a:gd name="connsiteX37" fmla="*/ 353935 w 395784"/>
                    <a:gd name="connsiteY37" fmla="*/ 162073 h 572067"/>
                    <a:gd name="connsiteX38" fmla="*/ 332218 w 395784"/>
                    <a:gd name="connsiteY38" fmla="*/ 144737 h 572067"/>
                    <a:gd name="connsiteX39" fmla="*/ 256970 w 395784"/>
                    <a:gd name="connsiteY39" fmla="*/ 218556 h 572067"/>
                    <a:gd name="connsiteX40" fmla="*/ 243635 w 395784"/>
                    <a:gd name="connsiteY40" fmla="*/ 220461 h 572067"/>
                    <a:gd name="connsiteX41" fmla="*/ 305738 w 395784"/>
                    <a:gd name="connsiteY41" fmla="*/ 128640 h 572067"/>
                    <a:gd name="connsiteX42" fmla="*/ 392035 w 395784"/>
                    <a:gd name="connsiteY42" fmla="*/ 23103 h 572067"/>
                    <a:gd name="connsiteX43" fmla="*/ 380414 w 395784"/>
                    <a:gd name="connsiteY43" fmla="*/ 53 h 5720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</a:cxnLst>
                  <a:rect l="l" t="t" r="r" b="b"/>
                  <a:pathLst>
                    <a:path w="395784" h="572067">
                      <a:moveTo>
                        <a:pt x="380414" y="53"/>
                      </a:moveTo>
                      <a:cubicBezTo>
                        <a:pt x="380414" y="53"/>
                        <a:pt x="313930" y="37772"/>
                        <a:pt x="291355" y="55107"/>
                      </a:cubicBezTo>
                      <a:cubicBezTo>
                        <a:pt x="291355" y="55107"/>
                        <a:pt x="258875" y="88826"/>
                        <a:pt x="240111" y="97874"/>
                      </a:cubicBezTo>
                      <a:cubicBezTo>
                        <a:pt x="240111" y="97874"/>
                        <a:pt x="225823" y="110924"/>
                        <a:pt x="226490" y="125402"/>
                      </a:cubicBezTo>
                      <a:cubicBezTo>
                        <a:pt x="226490" y="125402"/>
                        <a:pt x="176770" y="232272"/>
                        <a:pt x="155910" y="265229"/>
                      </a:cubicBezTo>
                      <a:cubicBezTo>
                        <a:pt x="155910" y="265229"/>
                        <a:pt x="136098" y="313140"/>
                        <a:pt x="124287" y="333047"/>
                      </a:cubicBezTo>
                      <a:cubicBezTo>
                        <a:pt x="124287" y="333047"/>
                        <a:pt x="110571" y="346572"/>
                        <a:pt x="110666" y="322665"/>
                      </a:cubicBezTo>
                      <a:cubicBezTo>
                        <a:pt x="110666" y="322665"/>
                        <a:pt x="126097" y="235225"/>
                        <a:pt x="128383" y="222747"/>
                      </a:cubicBezTo>
                      <a:cubicBezTo>
                        <a:pt x="128383" y="222747"/>
                        <a:pt x="117429" y="201411"/>
                        <a:pt x="96283" y="220366"/>
                      </a:cubicBezTo>
                      <a:cubicBezTo>
                        <a:pt x="96283" y="220366"/>
                        <a:pt x="55897" y="277040"/>
                        <a:pt x="23417" y="307996"/>
                      </a:cubicBezTo>
                      <a:cubicBezTo>
                        <a:pt x="23417" y="307996"/>
                        <a:pt x="31894" y="343048"/>
                        <a:pt x="75043" y="313330"/>
                      </a:cubicBezTo>
                      <a:cubicBezTo>
                        <a:pt x="75043" y="313330"/>
                        <a:pt x="84187" y="306948"/>
                        <a:pt x="81805" y="295423"/>
                      </a:cubicBezTo>
                      <a:cubicBezTo>
                        <a:pt x="81805" y="295423"/>
                        <a:pt x="100665" y="282278"/>
                        <a:pt x="94759" y="309329"/>
                      </a:cubicBezTo>
                      <a:cubicBezTo>
                        <a:pt x="94759" y="309329"/>
                        <a:pt x="102951" y="364575"/>
                        <a:pt x="90283" y="382862"/>
                      </a:cubicBezTo>
                      <a:cubicBezTo>
                        <a:pt x="90283" y="382862"/>
                        <a:pt x="88568" y="392102"/>
                        <a:pt x="84663" y="393911"/>
                      </a:cubicBezTo>
                      <a:cubicBezTo>
                        <a:pt x="84663" y="393911"/>
                        <a:pt x="-50878" y="536310"/>
                        <a:pt x="21036" y="538692"/>
                      </a:cubicBezTo>
                      <a:lnTo>
                        <a:pt x="33133" y="540596"/>
                      </a:lnTo>
                      <a:lnTo>
                        <a:pt x="72471" y="500973"/>
                      </a:lnTo>
                      <a:cubicBezTo>
                        <a:pt x="72471" y="500973"/>
                        <a:pt x="92854" y="483637"/>
                        <a:pt x="87520" y="523261"/>
                      </a:cubicBezTo>
                      <a:cubicBezTo>
                        <a:pt x="87520" y="523261"/>
                        <a:pt x="84663" y="573743"/>
                        <a:pt x="98284" y="570315"/>
                      </a:cubicBezTo>
                      <a:cubicBezTo>
                        <a:pt x="98284" y="570315"/>
                        <a:pt x="114286" y="590888"/>
                        <a:pt x="112571" y="491066"/>
                      </a:cubicBezTo>
                      <a:cubicBezTo>
                        <a:pt x="112571" y="491066"/>
                        <a:pt x="107904" y="455348"/>
                        <a:pt x="111619" y="448871"/>
                      </a:cubicBezTo>
                      <a:cubicBezTo>
                        <a:pt x="115524" y="442584"/>
                        <a:pt x="99236" y="436774"/>
                        <a:pt x="122953" y="388101"/>
                      </a:cubicBezTo>
                      <a:cubicBezTo>
                        <a:pt x="122953" y="388101"/>
                        <a:pt x="161053" y="268943"/>
                        <a:pt x="222299" y="189600"/>
                      </a:cubicBezTo>
                      <a:cubicBezTo>
                        <a:pt x="222299" y="189600"/>
                        <a:pt x="243064" y="146833"/>
                        <a:pt x="261542" y="135689"/>
                      </a:cubicBezTo>
                      <a:cubicBezTo>
                        <a:pt x="261542" y="135689"/>
                        <a:pt x="273448" y="137117"/>
                        <a:pt x="265352" y="148928"/>
                      </a:cubicBezTo>
                      <a:cubicBezTo>
                        <a:pt x="265352" y="148928"/>
                        <a:pt x="196010" y="247798"/>
                        <a:pt x="188390" y="285517"/>
                      </a:cubicBezTo>
                      <a:cubicBezTo>
                        <a:pt x="188390" y="285517"/>
                        <a:pt x="169626" y="340571"/>
                        <a:pt x="202201" y="331142"/>
                      </a:cubicBezTo>
                      <a:cubicBezTo>
                        <a:pt x="202201" y="331142"/>
                        <a:pt x="209250" y="331332"/>
                        <a:pt x="220013" y="310282"/>
                      </a:cubicBezTo>
                      <a:cubicBezTo>
                        <a:pt x="220013" y="310282"/>
                        <a:pt x="239539" y="269134"/>
                        <a:pt x="246112" y="255894"/>
                      </a:cubicBezTo>
                      <a:cubicBezTo>
                        <a:pt x="246112" y="255894"/>
                        <a:pt x="262780" y="227415"/>
                        <a:pt x="283831" y="216461"/>
                      </a:cubicBezTo>
                      <a:cubicBezTo>
                        <a:pt x="283831" y="216461"/>
                        <a:pt x="293546" y="218270"/>
                        <a:pt x="282211" y="233034"/>
                      </a:cubicBezTo>
                      <a:lnTo>
                        <a:pt x="240778" y="297233"/>
                      </a:lnTo>
                      <a:lnTo>
                        <a:pt x="246112" y="310377"/>
                      </a:lnTo>
                      <a:cubicBezTo>
                        <a:pt x="246112" y="310377"/>
                        <a:pt x="302690" y="313997"/>
                        <a:pt x="298309" y="293423"/>
                      </a:cubicBezTo>
                      <a:cubicBezTo>
                        <a:pt x="298309" y="293423"/>
                        <a:pt x="298309" y="284755"/>
                        <a:pt x="293070" y="282755"/>
                      </a:cubicBezTo>
                      <a:cubicBezTo>
                        <a:pt x="293070" y="282755"/>
                        <a:pt x="281449" y="273706"/>
                        <a:pt x="289927" y="264848"/>
                      </a:cubicBezTo>
                      <a:lnTo>
                        <a:pt x="353935" y="162073"/>
                      </a:lnTo>
                      <a:cubicBezTo>
                        <a:pt x="353935" y="162073"/>
                        <a:pt x="350601" y="136832"/>
                        <a:pt x="332218" y="144737"/>
                      </a:cubicBezTo>
                      <a:cubicBezTo>
                        <a:pt x="332218" y="144737"/>
                        <a:pt x="290022" y="159882"/>
                        <a:pt x="256970" y="218556"/>
                      </a:cubicBezTo>
                      <a:cubicBezTo>
                        <a:pt x="256970" y="218556"/>
                        <a:pt x="247445" y="233415"/>
                        <a:pt x="243635" y="220461"/>
                      </a:cubicBezTo>
                      <a:cubicBezTo>
                        <a:pt x="243635" y="220461"/>
                        <a:pt x="297928" y="136832"/>
                        <a:pt x="305738" y="128640"/>
                      </a:cubicBezTo>
                      <a:cubicBezTo>
                        <a:pt x="305738" y="128640"/>
                        <a:pt x="336790" y="67680"/>
                        <a:pt x="392035" y="23103"/>
                      </a:cubicBezTo>
                      <a:cubicBezTo>
                        <a:pt x="391844" y="23199"/>
                        <a:pt x="406036" y="-1281"/>
                        <a:pt x="380414" y="5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5" name="任意多边形: 形状 54">
                  <a:extLst>
                    <a:ext uri="{FF2B5EF4-FFF2-40B4-BE49-F238E27FC236}">
                      <a16:creationId xmlns:a16="http://schemas.microsoft.com/office/drawing/2014/main" id="{D02C1737-B4A1-4CFF-91F3-8F4035600261}"/>
                    </a:ext>
                  </a:extLst>
                </p:cNvPr>
                <p:cNvSpPr/>
                <p:nvPr/>
              </p:nvSpPr>
              <p:spPr>
                <a:xfrm>
                  <a:off x="1882679" y="6876468"/>
                  <a:ext cx="66975" cy="41062"/>
                </a:xfrm>
                <a:custGeom>
                  <a:avLst/>
                  <a:gdLst>
                    <a:gd name="connsiteX0" fmla="*/ 50673 w 66975"/>
                    <a:gd name="connsiteY0" fmla="*/ 41062 h 41062"/>
                    <a:gd name="connsiteX1" fmla="*/ 58865 w 66975"/>
                    <a:gd name="connsiteY1" fmla="*/ 7534 h 41062"/>
                    <a:gd name="connsiteX2" fmla="*/ 19050 w 66975"/>
                    <a:gd name="connsiteY2" fmla="*/ 105 h 41062"/>
                    <a:gd name="connsiteX3" fmla="*/ 0 w 66975"/>
                    <a:gd name="connsiteY3" fmla="*/ 9344 h 41062"/>
                    <a:gd name="connsiteX4" fmla="*/ 10382 w 66975"/>
                    <a:gd name="connsiteY4" fmla="*/ 28966 h 41062"/>
                    <a:gd name="connsiteX5" fmla="*/ 50673 w 66975"/>
                    <a:gd name="connsiteY5" fmla="*/ 41062 h 41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6975" h="41062">
                      <a:moveTo>
                        <a:pt x="50673" y="41062"/>
                      </a:moveTo>
                      <a:cubicBezTo>
                        <a:pt x="50673" y="41062"/>
                        <a:pt x="81058" y="36300"/>
                        <a:pt x="58865" y="7534"/>
                      </a:cubicBezTo>
                      <a:cubicBezTo>
                        <a:pt x="58865" y="7534"/>
                        <a:pt x="25146" y="-1038"/>
                        <a:pt x="19050" y="105"/>
                      </a:cubicBezTo>
                      <a:cubicBezTo>
                        <a:pt x="19050" y="105"/>
                        <a:pt x="2858" y="7725"/>
                        <a:pt x="0" y="9344"/>
                      </a:cubicBezTo>
                      <a:lnTo>
                        <a:pt x="10382" y="28966"/>
                      </a:lnTo>
                      <a:lnTo>
                        <a:pt x="50673" y="41062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6" name="任意多边形: 形状 55">
                  <a:extLst>
                    <a:ext uri="{FF2B5EF4-FFF2-40B4-BE49-F238E27FC236}">
                      <a16:creationId xmlns:a16="http://schemas.microsoft.com/office/drawing/2014/main" id="{7BCC4179-B00B-47EE-868A-95893AE6AC8D}"/>
                    </a:ext>
                  </a:extLst>
                </p:cNvPr>
                <p:cNvSpPr/>
                <p:nvPr/>
              </p:nvSpPr>
              <p:spPr>
                <a:xfrm>
                  <a:off x="2059273" y="7201185"/>
                  <a:ext cx="380" cy="666"/>
                </a:xfrm>
                <a:custGeom>
                  <a:avLst/>
                  <a:gdLst>
                    <a:gd name="connsiteX0" fmla="*/ 286 w 380"/>
                    <a:gd name="connsiteY0" fmla="*/ 0 h 666"/>
                    <a:gd name="connsiteX1" fmla="*/ 0 w 380"/>
                    <a:gd name="connsiteY1" fmla="*/ 667 h 666"/>
                    <a:gd name="connsiteX2" fmla="*/ 381 w 380"/>
                    <a:gd name="connsiteY2" fmla="*/ 190 h 666"/>
                    <a:gd name="connsiteX3" fmla="*/ 286 w 380"/>
                    <a:gd name="connsiteY3" fmla="*/ 0 h 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80" h="666">
                      <a:moveTo>
                        <a:pt x="286" y="0"/>
                      </a:moveTo>
                      <a:cubicBezTo>
                        <a:pt x="286" y="95"/>
                        <a:pt x="190" y="381"/>
                        <a:pt x="0" y="667"/>
                      </a:cubicBezTo>
                      <a:cubicBezTo>
                        <a:pt x="95" y="476"/>
                        <a:pt x="286" y="286"/>
                        <a:pt x="381" y="190"/>
                      </a:cubicBezTo>
                      <a:cubicBezTo>
                        <a:pt x="381" y="95"/>
                        <a:pt x="381" y="95"/>
                        <a:pt x="286" y="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7" name="任意多边形: 形状 56">
                  <a:extLst>
                    <a:ext uri="{FF2B5EF4-FFF2-40B4-BE49-F238E27FC236}">
                      <a16:creationId xmlns:a16="http://schemas.microsoft.com/office/drawing/2014/main" id="{605A2E55-4931-4C3F-B0A9-52A3AD235D08}"/>
                    </a:ext>
                  </a:extLst>
                </p:cNvPr>
                <p:cNvSpPr/>
                <p:nvPr/>
              </p:nvSpPr>
              <p:spPr>
                <a:xfrm>
                  <a:off x="1980215" y="7089171"/>
                  <a:ext cx="229461" cy="256702"/>
                </a:xfrm>
                <a:custGeom>
                  <a:avLst/>
                  <a:gdLst>
                    <a:gd name="connsiteX0" fmla="*/ 218789 w 229461"/>
                    <a:gd name="connsiteY0" fmla="*/ 0 h 256702"/>
                    <a:gd name="connsiteX1" fmla="*/ 102299 w 229461"/>
                    <a:gd name="connsiteY1" fmla="*/ 50673 h 256702"/>
                    <a:gd name="connsiteX2" fmla="*/ 39434 w 229461"/>
                    <a:gd name="connsiteY2" fmla="*/ 132683 h 256702"/>
                    <a:gd name="connsiteX3" fmla="*/ 32957 w 229461"/>
                    <a:gd name="connsiteY3" fmla="*/ 137732 h 256702"/>
                    <a:gd name="connsiteX4" fmla="*/ 27432 w 229461"/>
                    <a:gd name="connsiteY4" fmla="*/ 114776 h 256702"/>
                    <a:gd name="connsiteX5" fmla="*/ 2096 w 229461"/>
                    <a:gd name="connsiteY5" fmla="*/ 112586 h 256702"/>
                    <a:gd name="connsiteX6" fmla="*/ 0 w 229461"/>
                    <a:gd name="connsiteY6" fmla="*/ 210217 h 256702"/>
                    <a:gd name="connsiteX7" fmla="*/ 14764 w 229461"/>
                    <a:gd name="connsiteY7" fmla="*/ 247460 h 256702"/>
                    <a:gd name="connsiteX8" fmla="*/ 39434 w 229461"/>
                    <a:gd name="connsiteY8" fmla="*/ 251460 h 256702"/>
                    <a:gd name="connsiteX9" fmla="*/ 50864 w 229461"/>
                    <a:gd name="connsiteY9" fmla="*/ 236792 h 256702"/>
                    <a:gd name="connsiteX10" fmla="*/ 72676 w 229461"/>
                    <a:gd name="connsiteY10" fmla="*/ 233744 h 256702"/>
                    <a:gd name="connsiteX11" fmla="*/ 101251 w 229461"/>
                    <a:gd name="connsiteY11" fmla="*/ 236125 h 256702"/>
                    <a:gd name="connsiteX12" fmla="*/ 112967 w 229461"/>
                    <a:gd name="connsiteY12" fmla="*/ 244983 h 256702"/>
                    <a:gd name="connsiteX13" fmla="*/ 176784 w 229461"/>
                    <a:gd name="connsiteY13" fmla="*/ 244126 h 256702"/>
                    <a:gd name="connsiteX14" fmla="*/ 224028 w 229461"/>
                    <a:gd name="connsiteY14" fmla="*/ 112681 h 256702"/>
                    <a:gd name="connsiteX15" fmla="*/ 218789 w 229461"/>
                    <a:gd name="connsiteY15" fmla="*/ 0 h 256702"/>
                    <a:gd name="connsiteX16" fmla="*/ 74771 w 229461"/>
                    <a:gd name="connsiteY16" fmla="*/ 213170 h 256702"/>
                    <a:gd name="connsiteX17" fmla="*/ 67532 w 229461"/>
                    <a:gd name="connsiteY17" fmla="*/ 210788 h 256702"/>
                    <a:gd name="connsiteX18" fmla="*/ 56388 w 229461"/>
                    <a:gd name="connsiteY18" fmla="*/ 216694 h 256702"/>
                    <a:gd name="connsiteX19" fmla="*/ 48768 w 229461"/>
                    <a:gd name="connsiteY19" fmla="*/ 196310 h 256702"/>
                    <a:gd name="connsiteX20" fmla="*/ 68199 w 229461"/>
                    <a:gd name="connsiteY20" fmla="*/ 185261 h 256702"/>
                    <a:gd name="connsiteX21" fmla="*/ 74771 w 229461"/>
                    <a:gd name="connsiteY21" fmla="*/ 213170 h 256702"/>
                    <a:gd name="connsiteX22" fmla="*/ 80486 w 229461"/>
                    <a:gd name="connsiteY22" fmla="*/ 139351 h 256702"/>
                    <a:gd name="connsiteX23" fmla="*/ 75914 w 229461"/>
                    <a:gd name="connsiteY23" fmla="*/ 146113 h 256702"/>
                    <a:gd name="connsiteX24" fmla="*/ 75914 w 229461"/>
                    <a:gd name="connsiteY24" fmla="*/ 146113 h 256702"/>
                    <a:gd name="connsiteX25" fmla="*/ 70104 w 229461"/>
                    <a:gd name="connsiteY25" fmla="*/ 140113 h 256702"/>
                    <a:gd name="connsiteX26" fmla="*/ 79439 w 229461"/>
                    <a:gd name="connsiteY26" fmla="*/ 111824 h 256702"/>
                    <a:gd name="connsiteX27" fmla="*/ 79629 w 229461"/>
                    <a:gd name="connsiteY27" fmla="*/ 112109 h 256702"/>
                    <a:gd name="connsiteX28" fmla="*/ 79724 w 229461"/>
                    <a:gd name="connsiteY28" fmla="*/ 112014 h 256702"/>
                    <a:gd name="connsiteX29" fmla="*/ 82106 w 229461"/>
                    <a:gd name="connsiteY29" fmla="*/ 116777 h 256702"/>
                    <a:gd name="connsiteX30" fmla="*/ 80486 w 229461"/>
                    <a:gd name="connsiteY30" fmla="*/ 139351 h 256702"/>
                    <a:gd name="connsiteX31" fmla="*/ 108109 w 229461"/>
                    <a:gd name="connsiteY31" fmla="*/ 142018 h 256702"/>
                    <a:gd name="connsiteX32" fmla="*/ 106871 w 229461"/>
                    <a:gd name="connsiteY32" fmla="*/ 141446 h 256702"/>
                    <a:gd name="connsiteX33" fmla="*/ 104299 w 229461"/>
                    <a:gd name="connsiteY33" fmla="*/ 129540 h 256702"/>
                    <a:gd name="connsiteX34" fmla="*/ 107156 w 229461"/>
                    <a:gd name="connsiteY34" fmla="*/ 127445 h 256702"/>
                    <a:gd name="connsiteX35" fmla="*/ 110395 w 229461"/>
                    <a:gd name="connsiteY35" fmla="*/ 116967 h 256702"/>
                    <a:gd name="connsiteX36" fmla="*/ 109633 w 229461"/>
                    <a:gd name="connsiteY36" fmla="*/ 112871 h 256702"/>
                    <a:gd name="connsiteX37" fmla="*/ 113252 w 229461"/>
                    <a:gd name="connsiteY37" fmla="*/ 111538 h 256702"/>
                    <a:gd name="connsiteX38" fmla="*/ 121920 w 229461"/>
                    <a:gd name="connsiteY38" fmla="*/ 113252 h 256702"/>
                    <a:gd name="connsiteX39" fmla="*/ 125254 w 229461"/>
                    <a:gd name="connsiteY39" fmla="*/ 126683 h 256702"/>
                    <a:gd name="connsiteX40" fmla="*/ 115062 w 229461"/>
                    <a:gd name="connsiteY40" fmla="*/ 137446 h 256702"/>
                    <a:gd name="connsiteX41" fmla="*/ 108109 w 229461"/>
                    <a:gd name="connsiteY41" fmla="*/ 142018 h 256702"/>
                    <a:gd name="connsiteX42" fmla="*/ 192310 w 229461"/>
                    <a:gd name="connsiteY42" fmla="*/ 110300 h 256702"/>
                    <a:gd name="connsiteX43" fmla="*/ 157829 w 229461"/>
                    <a:gd name="connsiteY43" fmla="*/ 217075 h 256702"/>
                    <a:gd name="connsiteX44" fmla="*/ 138875 w 229461"/>
                    <a:gd name="connsiteY44" fmla="*/ 230696 h 256702"/>
                    <a:gd name="connsiteX45" fmla="*/ 115824 w 229461"/>
                    <a:gd name="connsiteY45" fmla="*/ 221742 h 256702"/>
                    <a:gd name="connsiteX46" fmla="*/ 117348 w 229461"/>
                    <a:gd name="connsiteY46" fmla="*/ 191738 h 256702"/>
                    <a:gd name="connsiteX47" fmla="*/ 155258 w 229461"/>
                    <a:gd name="connsiteY47" fmla="*/ 178879 h 256702"/>
                    <a:gd name="connsiteX48" fmla="*/ 163640 w 229461"/>
                    <a:gd name="connsiteY48" fmla="*/ 88106 h 256702"/>
                    <a:gd name="connsiteX49" fmla="*/ 150876 w 229461"/>
                    <a:gd name="connsiteY49" fmla="*/ 62579 h 256702"/>
                    <a:gd name="connsiteX50" fmla="*/ 114300 w 229461"/>
                    <a:gd name="connsiteY50" fmla="*/ 80772 h 256702"/>
                    <a:gd name="connsiteX51" fmla="*/ 108585 w 229461"/>
                    <a:gd name="connsiteY51" fmla="*/ 71723 h 256702"/>
                    <a:gd name="connsiteX52" fmla="*/ 212217 w 229461"/>
                    <a:gd name="connsiteY52" fmla="*/ 20384 h 256702"/>
                    <a:gd name="connsiteX53" fmla="*/ 192310 w 229461"/>
                    <a:gd name="connsiteY53" fmla="*/ 110300 h 256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</a:cxnLst>
                  <a:rect l="l" t="t" r="r" b="b"/>
                  <a:pathLst>
                    <a:path w="229461" h="256702">
                      <a:moveTo>
                        <a:pt x="218789" y="0"/>
                      </a:moveTo>
                      <a:cubicBezTo>
                        <a:pt x="176689" y="1048"/>
                        <a:pt x="106871" y="50006"/>
                        <a:pt x="102299" y="50673"/>
                      </a:cubicBezTo>
                      <a:cubicBezTo>
                        <a:pt x="73343" y="72771"/>
                        <a:pt x="40291" y="129826"/>
                        <a:pt x="39434" y="132683"/>
                      </a:cubicBezTo>
                      <a:cubicBezTo>
                        <a:pt x="38767" y="135636"/>
                        <a:pt x="32957" y="137732"/>
                        <a:pt x="32957" y="137732"/>
                      </a:cubicBezTo>
                      <a:cubicBezTo>
                        <a:pt x="27527" y="138875"/>
                        <a:pt x="27432" y="114776"/>
                        <a:pt x="27432" y="114776"/>
                      </a:cubicBezTo>
                      <a:cubicBezTo>
                        <a:pt x="13145" y="95250"/>
                        <a:pt x="2096" y="112586"/>
                        <a:pt x="2096" y="112586"/>
                      </a:cubicBezTo>
                      <a:cubicBezTo>
                        <a:pt x="3620" y="119825"/>
                        <a:pt x="0" y="210217"/>
                        <a:pt x="0" y="210217"/>
                      </a:cubicBezTo>
                      <a:cubicBezTo>
                        <a:pt x="2572" y="246412"/>
                        <a:pt x="14764" y="247460"/>
                        <a:pt x="14764" y="247460"/>
                      </a:cubicBezTo>
                      <a:cubicBezTo>
                        <a:pt x="32290" y="262985"/>
                        <a:pt x="39434" y="251460"/>
                        <a:pt x="39434" y="251460"/>
                      </a:cubicBezTo>
                      <a:cubicBezTo>
                        <a:pt x="44101" y="234601"/>
                        <a:pt x="50864" y="236792"/>
                        <a:pt x="50864" y="236792"/>
                      </a:cubicBezTo>
                      <a:cubicBezTo>
                        <a:pt x="61341" y="244507"/>
                        <a:pt x="72676" y="233744"/>
                        <a:pt x="72676" y="233744"/>
                      </a:cubicBezTo>
                      <a:cubicBezTo>
                        <a:pt x="82677" y="231934"/>
                        <a:pt x="101251" y="236125"/>
                        <a:pt x="101251" y="236125"/>
                      </a:cubicBezTo>
                      <a:cubicBezTo>
                        <a:pt x="101060" y="248031"/>
                        <a:pt x="112967" y="244983"/>
                        <a:pt x="112967" y="244983"/>
                      </a:cubicBezTo>
                      <a:cubicBezTo>
                        <a:pt x="146304" y="271844"/>
                        <a:pt x="176784" y="244126"/>
                        <a:pt x="176784" y="244126"/>
                      </a:cubicBezTo>
                      <a:cubicBezTo>
                        <a:pt x="201359" y="218885"/>
                        <a:pt x="224028" y="112681"/>
                        <a:pt x="224028" y="112681"/>
                      </a:cubicBezTo>
                      <a:cubicBezTo>
                        <a:pt x="238792" y="10192"/>
                        <a:pt x="218789" y="0"/>
                        <a:pt x="218789" y="0"/>
                      </a:cubicBezTo>
                      <a:close/>
                      <a:moveTo>
                        <a:pt x="74771" y="213170"/>
                      </a:moveTo>
                      <a:cubicBezTo>
                        <a:pt x="63437" y="224885"/>
                        <a:pt x="71342" y="211550"/>
                        <a:pt x="67532" y="210788"/>
                      </a:cubicBezTo>
                      <a:cubicBezTo>
                        <a:pt x="63532" y="210026"/>
                        <a:pt x="58674" y="214789"/>
                        <a:pt x="56388" y="216694"/>
                      </a:cubicBezTo>
                      <a:cubicBezTo>
                        <a:pt x="53912" y="218599"/>
                        <a:pt x="40767" y="211741"/>
                        <a:pt x="48768" y="196310"/>
                      </a:cubicBezTo>
                      <a:cubicBezTo>
                        <a:pt x="56769" y="180880"/>
                        <a:pt x="68199" y="185261"/>
                        <a:pt x="68199" y="185261"/>
                      </a:cubicBezTo>
                      <a:cubicBezTo>
                        <a:pt x="68199" y="185261"/>
                        <a:pt x="85820" y="201263"/>
                        <a:pt x="74771" y="213170"/>
                      </a:cubicBezTo>
                      <a:close/>
                      <a:moveTo>
                        <a:pt x="80486" y="139351"/>
                      </a:moveTo>
                      <a:cubicBezTo>
                        <a:pt x="79343" y="143828"/>
                        <a:pt x="77819" y="146113"/>
                        <a:pt x="75914" y="146113"/>
                      </a:cubicBezTo>
                      <a:lnTo>
                        <a:pt x="75914" y="146113"/>
                      </a:lnTo>
                      <a:cubicBezTo>
                        <a:pt x="72866" y="146113"/>
                        <a:pt x="70199" y="140303"/>
                        <a:pt x="70104" y="140113"/>
                      </a:cubicBezTo>
                      <a:cubicBezTo>
                        <a:pt x="66199" y="133350"/>
                        <a:pt x="78867" y="112681"/>
                        <a:pt x="79439" y="111824"/>
                      </a:cubicBezTo>
                      <a:cubicBezTo>
                        <a:pt x="79534" y="111919"/>
                        <a:pt x="79534" y="112014"/>
                        <a:pt x="79629" y="112109"/>
                      </a:cubicBezTo>
                      <a:cubicBezTo>
                        <a:pt x="79629" y="112109"/>
                        <a:pt x="79724" y="112014"/>
                        <a:pt x="79724" y="112014"/>
                      </a:cubicBezTo>
                      <a:cubicBezTo>
                        <a:pt x="80772" y="113443"/>
                        <a:pt x="81629" y="115062"/>
                        <a:pt x="82106" y="116777"/>
                      </a:cubicBezTo>
                      <a:cubicBezTo>
                        <a:pt x="85058" y="126302"/>
                        <a:pt x="80486" y="139160"/>
                        <a:pt x="80486" y="139351"/>
                      </a:cubicBezTo>
                      <a:close/>
                      <a:moveTo>
                        <a:pt x="108109" y="142018"/>
                      </a:moveTo>
                      <a:cubicBezTo>
                        <a:pt x="107633" y="142018"/>
                        <a:pt x="107156" y="141827"/>
                        <a:pt x="106871" y="141446"/>
                      </a:cubicBezTo>
                      <a:cubicBezTo>
                        <a:pt x="106680" y="141065"/>
                        <a:pt x="101441" y="132779"/>
                        <a:pt x="104299" y="129540"/>
                      </a:cubicBezTo>
                      <a:cubicBezTo>
                        <a:pt x="104966" y="128778"/>
                        <a:pt x="106013" y="128111"/>
                        <a:pt x="107156" y="127445"/>
                      </a:cubicBezTo>
                      <a:cubicBezTo>
                        <a:pt x="110395" y="125540"/>
                        <a:pt x="114109" y="123539"/>
                        <a:pt x="110395" y="116967"/>
                      </a:cubicBezTo>
                      <a:cubicBezTo>
                        <a:pt x="109347" y="115157"/>
                        <a:pt x="109157" y="113824"/>
                        <a:pt x="109633" y="112871"/>
                      </a:cubicBezTo>
                      <a:cubicBezTo>
                        <a:pt x="110204" y="112014"/>
                        <a:pt x="111347" y="111538"/>
                        <a:pt x="113252" y="111538"/>
                      </a:cubicBezTo>
                      <a:cubicBezTo>
                        <a:pt x="116872" y="111538"/>
                        <a:pt x="121730" y="113157"/>
                        <a:pt x="121920" y="113252"/>
                      </a:cubicBezTo>
                      <a:cubicBezTo>
                        <a:pt x="122111" y="113443"/>
                        <a:pt x="126873" y="119825"/>
                        <a:pt x="125254" y="126683"/>
                      </a:cubicBezTo>
                      <a:cubicBezTo>
                        <a:pt x="124206" y="131064"/>
                        <a:pt x="120777" y="134684"/>
                        <a:pt x="115062" y="137446"/>
                      </a:cubicBezTo>
                      <a:cubicBezTo>
                        <a:pt x="115062" y="137541"/>
                        <a:pt x="110490" y="142018"/>
                        <a:pt x="108109" y="142018"/>
                      </a:cubicBezTo>
                      <a:close/>
                      <a:moveTo>
                        <a:pt x="192310" y="110300"/>
                      </a:moveTo>
                      <a:cubicBezTo>
                        <a:pt x="192310" y="110300"/>
                        <a:pt x="169069" y="200882"/>
                        <a:pt x="157829" y="217075"/>
                      </a:cubicBezTo>
                      <a:cubicBezTo>
                        <a:pt x="157829" y="217075"/>
                        <a:pt x="137732" y="226504"/>
                        <a:pt x="138875" y="230696"/>
                      </a:cubicBezTo>
                      <a:cubicBezTo>
                        <a:pt x="138875" y="230696"/>
                        <a:pt x="120777" y="236792"/>
                        <a:pt x="115824" y="221742"/>
                      </a:cubicBezTo>
                      <a:cubicBezTo>
                        <a:pt x="115824" y="221742"/>
                        <a:pt x="106775" y="214408"/>
                        <a:pt x="117348" y="191738"/>
                      </a:cubicBezTo>
                      <a:cubicBezTo>
                        <a:pt x="117348" y="191738"/>
                        <a:pt x="144113" y="178975"/>
                        <a:pt x="155258" y="178879"/>
                      </a:cubicBezTo>
                      <a:cubicBezTo>
                        <a:pt x="155258" y="178879"/>
                        <a:pt x="131064" y="127635"/>
                        <a:pt x="163640" y="88106"/>
                      </a:cubicBezTo>
                      <a:cubicBezTo>
                        <a:pt x="163640" y="88106"/>
                        <a:pt x="167926" y="72676"/>
                        <a:pt x="150876" y="62579"/>
                      </a:cubicBezTo>
                      <a:cubicBezTo>
                        <a:pt x="150876" y="62579"/>
                        <a:pt x="130683" y="65913"/>
                        <a:pt x="114300" y="80772"/>
                      </a:cubicBezTo>
                      <a:cubicBezTo>
                        <a:pt x="114300" y="80772"/>
                        <a:pt x="102108" y="94012"/>
                        <a:pt x="108585" y="71723"/>
                      </a:cubicBezTo>
                      <a:cubicBezTo>
                        <a:pt x="108585" y="71723"/>
                        <a:pt x="193548" y="3810"/>
                        <a:pt x="212217" y="20384"/>
                      </a:cubicBezTo>
                      <a:cubicBezTo>
                        <a:pt x="212408" y="20479"/>
                        <a:pt x="229076" y="20193"/>
                        <a:pt x="192310" y="11030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8" name="任意多边形: 形状 57">
                  <a:extLst>
                    <a:ext uri="{FF2B5EF4-FFF2-40B4-BE49-F238E27FC236}">
                      <a16:creationId xmlns:a16="http://schemas.microsoft.com/office/drawing/2014/main" id="{6E6FAB4A-EF8E-47EA-BF1D-D92962FF50FC}"/>
                    </a:ext>
                  </a:extLst>
                </p:cNvPr>
                <p:cNvSpPr/>
                <p:nvPr/>
              </p:nvSpPr>
              <p:spPr>
                <a:xfrm>
                  <a:off x="2084006" y="7201024"/>
                  <a:ext cx="21736" cy="29842"/>
                </a:xfrm>
                <a:custGeom>
                  <a:avLst/>
                  <a:gdLst>
                    <a:gd name="connsiteX0" fmla="*/ 18225 w 21736"/>
                    <a:gd name="connsiteY0" fmla="*/ 1686 h 29842"/>
                    <a:gd name="connsiteX1" fmla="*/ 6985 w 21736"/>
                    <a:gd name="connsiteY1" fmla="*/ 5115 h 29842"/>
                    <a:gd name="connsiteX2" fmla="*/ 794 w 21736"/>
                    <a:gd name="connsiteY2" fmla="*/ 17878 h 29842"/>
                    <a:gd name="connsiteX3" fmla="*/ 3366 w 21736"/>
                    <a:gd name="connsiteY3" fmla="*/ 29404 h 29842"/>
                    <a:gd name="connsiteX4" fmla="*/ 11271 w 21736"/>
                    <a:gd name="connsiteY4" fmla="*/ 25403 h 29842"/>
                    <a:gd name="connsiteX5" fmla="*/ 18225 w 21736"/>
                    <a:gd name="connsiteY5" fmla="*/ 1686 h 29842"/>
                    <a:gd name="connsiteX6" fmla="*/ 11081 w 21736"/>
                    <a:gd name="connsiteY6" fmla="*/ 25213 h 29842"/>
                    <a:gd name="connsiteX7" fmla="*/ 3556 w 21736"/>
                    <a:gd name="connsiteY7" fmla="*/ 29308 h 29842"/>
                    <a:gd name="connsiteX8" fmla="*/ 889 w 21736"/>
                    <a:gd name="connsiteY8" fmla="*/ 18164 h 29842"/>
                    <a:gd name="connsiteX9" fmla="*/ 3747 w 21736"/>
                    <a:gd name="connsiteY9" fmla="*/ 16259 h 29842"/>
                    <a:gd name="connsiteX10" fmla="*/ 7080 w 21736"/>
                    <a:gd name="connsiteY10" fmla="*/ 5115 h 29842"/>
                    <a:gd name="connsiteX11" fmla="*/ 6318 w 21736"/>
                    <a:gd name="connsiteY11" fmla="*/ 1495 h 29842"/>
                    <a:gd name="connsiteX12" fmla="*/ 9557 w 21736"/>
                    <a:gd name="connsiteY12" fmla="*/ 447 h 29842"/>
                    <a:gd name="connsiteX13" fmla="*/ 17939 w 21736"/>
                    <a:gd name="connsiteY13" fmla="*/ 2067 h 29842"/>
                    <a:gd name="connsiteX14" fmla="*/ 21082 w 21736"/>
                    <a:gd name="connsiteY14" fmla="*/ 14925 h 29842"/>
                    <a:gd name="connsiteX15" fmla="*/ 11081 w 21736"/>
                    <a:gd name="connsiteY15" fmla="*/ 25213 h 298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1736" h="29842">
                      <a:moveTo>
                        <a:pt x="18225" y="1686"/>
                      </a:moveTo>
                      <a:cubicBezTo>
                        <a:pt x="18225" y="1686"/>
                        <a:pt x="1842" y="-3839"/>
                        <a:pt x="6985" y="5115"/>
                      </a:cubicBezTo>
                      <a:cubicBezTo>
                        <a:pt x="12033" y="14068"/>
                        <a:pt x="3461" y="15021"/>
                        <a:pt x="794" y="17878"/>
                      </a:cubicBezTo>
                      <a:cubicBezTo>
                        <a:pt x="-1968" y="21021"/>
                        <a:pt x="3366" y="29404"/>
                        <a:pt x="3366" y="29404"/>
                      </a:cubicBezTo>
                      <a:cubicBezTo>
                        <a:pt x="4890" y="31499"/>
                        <a:pt x="11271" y="25403"/>
                        <a:pt x="11271" y="25403"/>
                      </a:cubicBezTo>
                      <a:cubicBezTo>
                        <a:pt x="29655" y="16545"/>
                        <a:pt x="18225" y="1686"/>
                        <a:pt x="18225" y="1686"/>
                      </a:cubicBezTo>
                      <a:close/>
                      <a:moveTo>
                        <a:pt x="11081" y="25213"/>
                      </a:moveTo>
                      <a:cubicBezTo>
                        <a:pt x="11081" y="25308"/>
                        <a:pt x="4699" y="30928"/>
                        <a:pt x="3556" y="29308"/>
                      </a:cubicBezTo>
                      <a:cubicBezTo>
                        <a:pt x="3556" y="29308"/>
                        <a:pt x="-1683" y="21021"/>
                        <a:pt x="889" y="18164"/>
                      </a:cubicBezTo>
                      <a:cubicBezTo>
                        <a:pt x="1556" y="17402"/>
                        <a:pt x="2604" y="16830"/>
                        <a:pt x="3747" y="16259"/>
                      </a:cubicBezTo>
                      <a:cubicBezTo>
                        <a:pt x="6985" y="14354"/>
                        <a:pt x="11081" y="11973"/>
                        <a:pt x="7080" y="5115"/>
                      </a:cubicBezTo>
                      <a:cubicBezTo>
                        <a:pt x="6128" y="3496"/>
                        <a:pt x="5937" y="2257"/>
                        <a:pt x="6318" y="1495"/>
                      </a:cubicBezTo>
                      <a:cubicBezTo>
                        <a:pt x="6795" y="733"/>
                        <a:pt x="7842" y="447"/>
                        <a:pt x="9557" y="447"/>
                      </a:cubicBezTo>
                      <a:cubicBezTo>
                        <a:pt x="13081" y="447"/>
                        <a:pt x="17939" y="2162"/>
                        <a:pt x="17939" y="2067"/>
                      </a:cubicBezTo>
                      <a:cubicBezTo>
                        <a:pt x="18034" y="2067"/>
                        <a:pt x="22701" y="8258"/>
                        <a:pt x="21082" y="14925"/>
                      </a:cubicBezTo>
                      <a:cubicBezTo>
                        <a:pt x="20130" y="18926"/>
                        <a:pt x="16701" y="22450"/>
                        <a:pt x="11081" y="252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9" name="任意多边形: 形状 58">
                  <a:extLst>
                    <a:ext uri="{FF2B5EF4-FFF2-40B4-BE49-F238E27FC236}">
                      <a16:creationId xmlns:a16="http://schemas.microsoft.com/office/drawing/2014/main" id="{C9022938-A6DC-4141-9284-10FA521E4A37}"/>
                    </a:ext>
                  </a:extLst>
                </p:cNvPr>
                <p:cNvSpPr/>
                <p:nvPr/>
              </p:nvSpPr>
              <p:spPr>
                <a:xfrm>
                  <a:off x="2049706" y="7201185"/>
                  <a:ext cx="13499" cy="33742"/>
                </a:xfrm>
                <a:custGeom>
                  <a:avLst/>
                  <a:gdLst>
                    <a:gd name="connsiteX0" fmla="*/ 10520 w 13499"/>
                    <a:gd name="connsiteY0" fmla="*/ 27146 h 33742"/>
                    <a:gd name="connsiteX1" fmla="*/ 6329 w 13499"/>
                    <a:gd name="connsiteY1" fmla="*/ 33528 h 33742"/>
                    <a:gd name="connsiteX2" fmla="*/ 900 w 13499"/>
                    <a:gd name="connsiteY2" fmla="*/ 27813 h 33742"/>
                    <a:gd name="connsiteX3" fmla="*/ 9567 w 13499"/>
                    <a:gd name="connsiteY3" fmla="*/ 667 h 33742"/>
                    <a:gd name="connsiteX4" fmla="*/ 709 w 13499"/>
                    <a:gd name="connsiteY4" fmla="*/ 27908 h 33742"/>
                    <a:gd name="connsiteX5" fmla="*/ 10805 w 13499"/>
                    <a:gd name="connsiteY5" fmla="*/ 27146 h 33742"/>
                    <a:gd name="connsiteX6" fmla="*/ 12520 w 13499"/>
                    <a:gd name="connsiteY6" fmla="*/ 4667 h 33742"/>
                    <a:gd name="connsiteX7" fmla="*/ 10043 w 13499"/>
                    <a:gd name="connsiteY7" fmla="*/ 0 h 33742"/>
                    <a:gd name="connsiteX8" fmla="*/ 9948 w 13499"/>
                    <a:gd name="connsiteY8" fmla="*/ 190 h 33742"/>
                    <a:gd name="connsiteX9" fmla="*/ 10520 w 13499"/>
                    <a:gd name="connsiteY9" fmla="*/ 27146 h 337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499" h="33742">
                      <a:moveTo>
                        <a:pt x="10520" y="27146"/>
                      </a:moveTo>
                      <a:cubicBezTo>
                        <a:pt x="9377" y="31337"/>
                        <a:pt x="8043" y="33528"/>
                        <a:pt x="6329" y="33528"/>
                      </a:cubicBezTo>
                      <a:cubicBezTo>
                        <a:pt x="3566" y="33528"/>
                        <a:pt x="995" y="27908"/>
                        <a:pt x="900" y="27813"/>
                      </a:cubicBezTo>
                      <a:cubicBezTo>
                        <a:pt x="-2434" y="21907"/>
                        <a:pt x="7757" y="4191"/>
                        <a:pt x="9567" y="667"/>
                      </a:cubicBezTo>
                      <a:cubicBezTo>
                        <a:pt x="7281" y="4572"/>
                        <a:pt x="-2720" y="22003"/>
                        <a:pt x="709" y="27908"/>
                      </a:cubicBezTo>
                      <a:cubicBezTo>
                        <a:pt x="709" y="27908"/>
                        <a:pt x="7091" y="41529"/>
                        <a:pt x="10805" y="27146"/>
                      </a:cubicBezTo>
                      <a:cubicBezTo>
                        <a:pt x="10805" y="27146"/>
                        <a:pt x="15473" y="14192"/>
                        <a:pt x="12520" y="4667"/>
                      </a:cubicBezTo>
                      <a:cubicBezTo>
                        <a:pt x="11949" y="2953"/>
                        <a:pt x="11187" y="1334"/>
                        <a:pt x="10043" y="0"/>
                      </a:cubicBezTo>
                      <a:cubicBezTo>
                        <a:pt x="10043" y="0"/>
                        <a:pt x="10043" y="0"/>
                        <a:pt x="9948" y="190"/>
                      </a:cubicBezTo>
                      <a:cubicBezTo>
                        <a:pt x="16806" y="9144"/>
                        <a:pt x="10520" y="26956"/>
                        <a:pt x="10520" y="2714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60" name="任意多边形: 形状 59">
                  <a:extLst>
                    <a:ext uri="{FF2B5EF4-FFF2-40B4-BE49-F238E27FC236}">
                      <a16:creationId xmlns:a16="http://schemas.microsoft.com/office/drawing/2014/main" id="{C8C24D00-4EE4-418C-AC9F-371C0AABD6C0}"/>
                    </a:ext>
                  </a:extLst>
                </p:cNvPr>
                <p:cNvSpPr/>
                <p:nvPr/>
              </p:nvSpPr>
              <p:spPr>
                <a:xfrm>
                  <a:off x="2442240" y="6871538"/>
                  <a:ext cx="379877" cy="506266"/>
                </a:xfrm>
                <a:custGeom>
                  <a:avLst/>
                  <a:gdLst>
                    <a:gd name="connsiteX0" fmla="*/ 369412 w 379877"/>
                    <a:gd name="connsiteY0" fmla="*/ 46946 h 506266"/>
                    <a:gd name="connsiteX1" fmla="*/ 346266 w 379877"/>
                    <a:gd name="connsiteY1" fmla="*/ 42469 h 506266"/>
                    <a:gd name="connsiteX2" fmla="*/ 308833 w 379877"/>
                    <a:gd name="connsiteY2" fmla="*/ 35706 h 506266"/>
                    <a:gd name="connsiteX3" fmla="*/ 296736 w 379877"/>
                    <a:gd name="connsiteY3" fmla="*/ 4273 h 506266"/>
                    <a:gd name="connsiteX4" fmla="*/ 263303 w 379877"/>
                    <a:gd name="connsiteY4" fmla="*/ 15608 h 506266"/>
                    <a:gd name="connsiteX5" fmla="*/ 263780 w 379877"/>
                    <a:gd name="connsiteY5" fmla="*/ 24752 h 506266"/>
                    <a:gd name="connsiteX6" fmla="*/ 268257 w 379877"/>
                    <a:gd name="connsiteY6" fmla="*/ 85807 h 506266"/>
                    <a:gd name="connsiteX7" fmla="*/ 229204 w 379877"/>
                    <a:gd name="connsiteY7" fmla="*/ 95904 h 506266"/>
                    <a:gd name="connsiteX8" fmla="*/ 228918 w 379877"/>
                    <a:gd name="connsiteY8" fmla="*/ 119716 h 506266"/>
                    <a:gd name="connsiteX9" fmla="*/ 260255 w 379877"/>
                    <a:gd name="connsiteY9" fmla="*/ 127908 h 506266"/>
                    <a:gd name="connsiteX10" fmla="*/ 261970 w 379877"/>
                    <a:gd name="connsiteY10" fmla="*/ 183534 h 506266"/>
                    <a:gd name="connsiteX11" fmla="*/ 185484 w 379877"/>
                    <a:gd name="connsiteY11" fmla="*/ 238017 h 506266"/>
                    <a:gd name="connsiteX12" fmla="*/ 159576 w 379877"/>
                    <a:gd name="connsiteY12" fmla="*/ 195250 h 506266"/>
                    <a:gd name="connsiteX13" fmla="*/ 121000 w 379877"/>
                    <a:gd name="connsiteY13" fmla="*/ 133147 h 506266"/>
                    <a:gd name="connsiteX14" fmla="*/ 93378 w 379877"/>
                    <a:gd name="connsiteY14" fmla="*/ 142005 h 506266"/>
                    <a:gd name="connsiteX15" fmla="*/ 129192 w 379877"/>
                    <a:gd name="connsiteY15" fmla="*/ 299167 h 506266"/>
                    <a:gd name="connsiteX16" fmla="*/ 155480 w 379877"/>
                    <a:gd name="connsiteY16" fmla="*/ 372415 h 506266"/>
                    <a:gd name="connsiteX17" fmla="*/ 132430 w 379877"/>
                    <a:gd name="connsiteY17" fmla="*/ 378701 h 506266"/>
                    <a:gd name="connsiteX18" fmla="*/ 119667 w 379877"/>
                    <a:gd name="connsiteY18" fmla="*/ 397084 h 506266"/>
                    <a:gd name="connsiteX19" fmla="*/ 127477 w 379877"/>
                    <a:gd name="connsiteY19" fmla="*/ 399275 h 506266"/>
                    <a:gd name="connsiteX20" fmla="*/ 162815 w 379877"/>
                    <a:gd name="connsiteY20" fmla="*/ 427279 h 506266"/>
                    <a:gd name="connsiteX21" fmla="*/ 175769 w 379877"/>
                    <a:gd name="connsiteY21" fmla="*/ 424612 h 506266"/>
                    <a:gd name="connsiteX22" fmla="*/ 177007 w 379877"/>
                    <a:gd name="connsiteY22" fmla="*/ 449853 h 506266"/>
                    <a:gd name="connsiteX23" fmla="*/ 48991 w 379877"/>
                    <a:gd name="connsiteY23" fmla="*/ 446043 h 506266"/>
                    <a:gd name="connsiteX24" fmla="*/ 37942 w 379877"/>
                    <a:gd name="connsiteY24" fmla="*/ 426326 h 506266"/>
                    <a:gd name="connsiteX25" fmla="*/ 1747 w 379877"/>
                    <a:gd name="connsiteY25" fmla="*/ 465188 h 506266"/>
                    <a:gd name="connsiteX26" fmla="*/ 48610 w 379877"/>
                    <a:gd name="connsiteY26" fmla="*/ 479571 h 506266"/>
                    <a:gd name="connsiteX27" fmla="*/ 149384 w 379877"/>
                    <a:gd name="connsiteY27" fmla="*/ 481762 h 506266"/>
                    <a:gd name="connsiteX28" fmla="*/ 197962 w 379877"/>
                    <a:gd name="connsiteY28" fmla="*/ 470617 h 506266"/>
                    <a:gd name="connsiteX29" fmla="*/ 216917 w 379877"/>
                    <a:gd name="connsiteY29" fmla="*/ 494716 h 506266"/>
                    <a:gd name="connsiteX30" fmla="*/ 240824 w 379877"/>
                    <a:gd name="connsiteY30" fmla="*/ 505765 h 506266"/>
                    <a:gd name="connsiteX31" fmla="*/ 244539 w 379877"/>
                    <a:gd name="connsiteY31" fmla="*/ 477095 h 506266"/>
                    <a:gd name="connsiteX32" fmla="*/ 302642 w 379877"/>
                    <a:gd name="connsiteY32" fmla="*/ 484333 h 506266"/>
                    <a:gd name="connsiteX33" fmla="*/ 373127 w 379877"/>
                    <a:gd name="connsiteY33" fmla="*/ 459092 h 506266"/>
                    <a:gd name="connsiteX34" fmla="*/ 362459 w 379877"/>
                    <a:gd name="connsiteY34" fmla="*/ 450424 h 506266"/>
                    <a:gd name="connsiteX35" fmla="*/ 249778 w 379877"/>
                    <a:gd name="connsiteY35" fmla="*/ 449948 h 506266"/>
                    <a:gd name="connsiteX36" fmla="*/ 261303 w 379877"/>
                    <a:gd name="connsiteY36" fmla="*/ 407276 h 506266"/>
                    <a:gd name="connsiteX37" fmla="*/ 311976 w 379877"/>
                    <a:gd name="connsiteY37" fmla="*/ 331172 h 506266"/>
                    <a:gd name="connsiteX38" fmla="*/ 309595 w 379877"/>
                    <a:gd name="connsiteY38" fmla="*/ 323266 h 506266"/>
                    <a:gd name="connsiteX39" fmla="*/ 294831 w 379877"/>
                    <a:gd name="connsiteY39" fmla="*/ 294596 h 506266"/>
                    <a:gd name="connsiteX40" fmla="*/ 282639 w 379877"/>
                    <a:gd name="connsiteY40" fmla="*/ 281451 h 506266"/>
                    <a:gd name="connsiteX41" fmla="*/ 295593 w 379877"/>
                    <a:gd name="connsiteY41" fmla="*/ 265068 h 506266"/>
                    <a:gd name="connsiteX42" fmla="*/ 308262 w 379877"/>
                    <a:gd name="connsiteY42" fmla="*/ 235922 h 506266"/>
                    <a:gd name="connsiteX43" fmla="*/ 304642 w 379877"/>
                    <a:gd name="connsiteY43" fmla="*/ 214300 h 506266"/>
                    <a:gd name="connsiteX44" fmla="*/ 353220 w 379877"/>
                    <a:gd name="connsiteY44" fmla="*/ 158579 h 506266"/>
                    <a:gd name="connsiteX45" fmla="*/ 350076 w 379877"/>
                    <a:gd name="connsiteY45" fmla="*/ 137433 h 506266"/>
                    <a:gd name="connsiteX46" fmla="*/ 358839 w 379877"/>
                    <a:gd name="connsiteY46" fmla="*/ 120383 h 506266"/>
                    <a:gd name="connsiteX47" fmla="*/ 375127 w 379877"/>
                    <a:gd name="connsiteY47" fmla="*/ 99142 h 506266"/>
                    <a:gd name="connsiteX48" fmla="*/ 369412 w 379877"/>
                    <a:gd name="connsiteY48" fmla="*/ 46946 h 506266"/>
                    <a:gd name="connsiteX49" fmla="*/ 130525 w 379877"/>
                    <a:gd name="connsiteY49" fmla="*/ 258115 h 506266"/>
                    <a:gd name="connsiteX50" fmla="*/ 116999 w 379877"/>
                    <a:gd name="connsiteY50" fmla="*/ 180391 h 506266"/>
                    <a:gd name="connsiteX51" fmla="*/ 131954 w 379877"/>
                    <a:gd name="connsiteY51" fmla="*/ 190202 h 506266"/>
                    <a:gd name="connsiteX52" fmla="*/ 135383 w 379877"/>
                    <a:gd name="connsiteY52" fmla="*/ 231254 h 506266"/>
                    <a:gd name="connsiteX53" fmla="*/ 147384 w 379877"/>
                    <a:gd name="connsiteY53" fmla="*/ 289166 h 506266"/>
                    <a:gd name="connsiteX54" fmla="*/ 130525 w 379877"/>
                    <a:gd name="connsiteY54" fmla="*/ 258115 h 506266"/>
                    <a:gd name="connsiteX55" fmla="*/ 229014 w 379877"/>
                    <a:gd name="connsiteY55" fmla="*/ 308121 h 506266"/>
                    <a:gd name="connsiteX56" fmla="*/ 235776 w 379877"/>
                    <a:gd name="connsiteY56" fmla="*/ 352603 h 506266"/>
                    <a:gd name="connsiteX57" fmla="*/ 215297 w 379877"/>
                    <a:gd name="connsiteY57" fmla="*/ 377749 h 506266"/>
                    <a:gd name="connsiteX58" fmla="*/ 213202 w 379877"/>
                    <a:gd name="connsiteY58" fmla="*/ 404800 h 506266"/>
                    <a:gd name="connsiteX59" fmla="*/ 216155 w 379877"/>
                    <a:gd name="connsiteY59" fmla="*/ 427088 h 506266"/>
                    <a:gd name="connsiteX60" fmla="*/ 205201 w 379877"/>
                    <a:gd name="connsiteY60" fmla="*/ 423088 h 506266"/>
                    <a:gd name="connsiteX61" fmla="*/ 206820 w 379877"/>
                    <a:gd name="connsiteY61" fmla="*/ 414991 h 506266"/>
                    <a:gd name="connsiteX62" fmla="*/ 199772 w 379877"/>
                    <a:gd name="connsiteY62" fmla="*/ 396323 h 506266"/>
                    <a:gd name="connsiteX63" fmla="*/ 183579 w 379877"/>
                    <a:gd name="connsiteY63" fmla="*/ 369367 h 506266"/>
                    <a:gd name="connsiteX64" fmla="*/ 184722 w 379877"/>
                    <a:gd name="connsiteY64" fmla="*/ 279070 h 506266"/>
                    <a:gd name="connsiteX65" fmla="*/ 188247 w 379877"/>
                    <a:gd name="connsiteY65" fmla="*/ 272021 h 506266"/>
                    <a:gd name="connsiteX66" fmla="*/ 227013 w 379877"/>
                    <a:gd name="connsiteY66" fmla="*/ 246113 h 506266"/>
                    <a:gd name="connsiteX67" fmla="*/ 232538 w 379877"/>
                    <a:gd name="connsiteY67" fmla="*/ 248114 h 506266"/>
                    <a:gd name="connsiteX68" fmla="*/ 255303 w 379877"/>
                    <a:gd name="connsiteY68" fmla="*/ 241446 h 506266"/>
                    <a:gd name="connsiteX69" fmla="*/ 229680 w 379877"/>
                    <a:gd name="connsiteY69" fmla="*/ 279927 h 506266"/>
                    <a:gd name="connsiteX70" fmla="*/ 241491 w 379877"/>
                    <a:gd name="connsiteY70" fmla="*/ 292690 h 506266"/>
                    <a:gd name="connsiteX71" fmla="*/ 229014 w 379877"/>
                    <a:gd name="connsiteY71" fmla="*/ 308121 h 506266"/>
                    <a:gd name="connsiteX72" fmla="*/ 284163 w 379877"/>
                    <a:gd name="connsiteY72" fmla="*/ 328123 h 506266"/>
                    <a:gd name="connsiteX73" fmla="*/ 292926 w 379877"/>
                    <a:gd name="connsiteY73" fmla="*/ 337744 h 506266"/>
                    <a:gd name="connsiteX74" fmla="*/ 276353 w 379877"/>
                    <a:gd name="connsiteY74" fmla="*/ 358223 h 506266"/>
                    <a:gd name="connsiteX75" fmla="*/ 252350 w 379877"/>
                    <a:gd name="connsiteY75" fmla="*/ 371939 h 506266"/>
                    <a:gd name="connsiteX76" fmla="*/ 270828 w 379877"/>
                    <a:gd name="connsiteY76" fmla="*/ 337267 h 506266"/>
                    <a:gd name="connsiteX77" fmla="*/ 284163 w 379877"/>
                    <a:gd name="connsiteY77" fmla="*/ 328123 h 506266"/>
                    <a:gd name="connsiteX78" fmla="*/ 355791 w 379877"/>
                    <a:gd name="connsiteY78" fmla="*/ 98285 h 506266"/>
                    <a:gd name="connsiteX79" fmla="*/ 302166 w 379877"/>
                    <a:gd name="connsiteY79" fmla="*/ 155245 h 506266"/>
                    <a:gd name="connsiteX80" fmla="*/ 297594 w 379877"/>
                    <a:gd name="connsiteY80" fmla="*/ 143434 h 506266"/>
                    <a:gd name="connsiteX81" fmla="*/ 319120 w 379877"/>
                    <a:gd name="connsiteY81" fmla="*/ 106858 h 506266"/>
                    <a:gd name="connsiteX82" fmla="*/ 351124 w 379877"/>
                    <a:gd name="connsiteY82" fmla="*/ 68186 h 506266"/>
                    <a:gd name="connsiteX83" fmla="*/ 355791 w 379877"/>
                    <a:gd name="connsiteY83" fmla="*/ 98285 h 5062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</a:cxnLst>
                  <a:rect l="l" t="t" r="r" b="b"/>
                  <a:pathLst>
                    <a:path w="379877" h="506266">
                      <a:moveTo>
                        <a:pt x="369412" y="46946"/>
                      </a:moveTo>
                      <a:cubicBezTo>
                        <a:pt x="369412" y="46946"/>
                        <a:pt x="345599" y="46660"/>
                        <a:pt x="346266" y="42469"/>
                      </a:cubicBezTo>
                      <a:cubicBezTo>
                        <a:pt x="347219" y="38468"/>
                        <a:pt x="322549" y="54851"/>
                        <a:pt x="308833" y="35706"/>
                      </a:cubicBezTo>
                      <a:cubicBezTo>
                        <a:pt x="308833" y="35706"/>
                        <a:pt x="305214" y="11989"/>
                        <a:pt x="296736" y="4273"/>
                      </a:cubicBezTo>
                      <a:cubicBezTo>
                        <a:pt x="296736" y="4273"/>
                        <a:pt x="275686" y="-10776"/>
                        <a:pt x="263303" y="15608"/>
                      </a:cubicBezTo>
                      <a:cubicBezTo>
                        <a:pt x="263303" y="15608"/>
                        <a:pt x="264447" y="19609"/>
                        <a:pt x="263780" y="24752"/>
                      </a:cubicBezTo>
                      <a:cubicBezTo>
                        <a:pt x="262922" y="29800"/>
                        <a:pt x="283973" y="43898"/>
                        <a:pt x="268257" y="85807"/>
                      </a:cubicBezTo>
                      <a:cubicBezTo>
                        <a:pt x="268257" y="85807"/>
                        <a:pt x="251302" y="100381"/>
                        <a:pt x="229204" y="95904"/>
                      </a:cubicBezTo>
                      <a:cubicBezTo>
                        <a:pt x="229204" y="95904"/>
                        <a:pt x="202534" y="110477"/>
                        <a:pt x="228918" y="119716"/>
                      </a:cubicBezTo>
                      <a:lnTo>
                        <a:pt x="260255" y="127908"/>
                      </a:lnTo>
                      <a:cubicBezTo>
                        <a:pt x="260255" y="127908"/>
                        <a:pt x="270733" y="155721"/>
                        <a:pt x="261970" y="183534"/>
                      </a:cubicBezTo>
                      <a:cubicBezTo>
                        <a:pt x="261970" y="183534"/>
                        <a:pt x="223489" y="230111"/>
                        <a:pt x="185484" y="238017"/>
                      </a:cubicBezTo>
                      <a:cubicBezTo>
                        <a:pt x="185484" y="238017"/>
                        <a:pt x="160148" y="248875"/>
                        <a:pt x="159576" y="195250"/>
                      </a:cubicBezTo>
                      <a:cubicBezTo>
                        <a:pt x="159576" y="195250"/>
                        <a:pt x="156814" y="152197"/>
                        <a:pt x="121000" y="133147"/>
                      </a:cubicBezTo>
                      <a:cubicBezTo>
                        <a:pt x="121000" y="133147"/>
                        <a:pt x="97188" y="133814"/>
                        <a:pt x="93378" y="142005"/>
                      </a:cubicBezTo>
                      <a:cubicBezTo>
                        <a:pt x="93378" y="142005"/>
                        <a:pt x="81376" y="194869"/>
                        <a:pt x="129192" y="299167"/>
                      </a:cubicBezTo>
                      <a:cubicBezTo>
                        <a:pt x="129192" y="299167"/>
                        <a:pt x="163482" y="357365"/>
                        <a:pt x="155480" y="372415"/>
                      </a:cubicBezTo>
                      <a:cubicBezTo>
                        <a:pt x="155480" y="372415"/>
                        <a:pt x="153957" y="391274"/>
                        <a:pt x="132430" y="378701"/>
                      </a:cubicBezTo>
                      <a:cubicBezTo>
                        <a:pt x="132430" y="378701"/>
                        <a:pt x="90044" y="383749"/>
                        <a:pt x="119667" y="397084"/>
                      </a:cubicBezTo>
                      <a:lnTo>
                        <a:pt x="127477" y="399275"/>
                      </a:lnTo>
                      <a:cubicBezTo>
                        <a:pt x="127477" y="399275"/>
                        <a:pt x="158338" y="420516"/>
                        <a:pt x="162815" y="427279"/>
                      </a:cubicBezTo>
                      <a:cubicBezTo>
                        <a:pt x="162815" y="427279"/>
                        <a:pt x="169482" y="429565"/>
                        <a:pt x="175769" y="424612"/>
                      </a:cubicBezTo>
                      <a:cubicBezTo>
                        <a:pt x="182246" y="419849"/>
                        <a:pt x="197581" y="442328"/>
                        <a:pt x="177007" y="449853"/>
                      </a:cubicBezTo>
                      <a:cubicBezTo>
                        <a:pt x="177007" y="449853"/>
                        <a:pt x="55278" y="451853"/>
                        <a:pt x="48991" y="446043"/>
                      </a:cubicBezTo>
                      <a:cubicBezTo>
                        <a:pt x="48991" y="446043"/>
                        <a:pt x="33561" y="431089"/>
                        <a:pt x="37942" y="426326"/>
                      </a:cubicBezTo>
                      <a:cubicBezTo>
                        <a:pt x="37942" y="426326"/>
                        <a:pt x="-9588" y="429565"/>
                        <a:pt x="1747" y="465188"/>
                      </a:cubicBezTo>
                      <a:cubicBezTo>
                        <a:pt x="1747" y="465188"/>
                        <a:pt x="1461" y="479381"/>
                        <a:pt x="48610" y="479571"/>
                      </a:cubicBezTo>
                      <a:lnTo>
                        <a:pt x="149384" y="481762"/>
                      </a:lnTo>
                      <a:cubicBezTo>
                        <a:pt x="149384" y="481762"/>
                        <a:pt x="192723" y="464903"/>
                        <a:pt x="197962" y="470617"/>
                      </a:cubicBezTo>
                      <a:cubicBezTo>
                        <a:pt x="197962" y="470617"/>
                        <a:pt x="216726" y="480905"/>
                        <a:pt x="216917" y="494716"/>
                      </a:cubicBezTo>
                      <a:cubicBezTo>
                        <a:pt x="216917" y="494716"/>
                        <a:pt x="230728" y="509098"/>
                        <a:pt x="240824" y="505765"/>
                      </a:cubicBezTo>
                      <a:cubicBezTo>
                        <a:pt x="240824" y="505765"/>
                        <a:pt x="250540" y="499097"/>
                        <a:pt x="244539" y="477095"/>
                      </a:cubicBezTo>
                      <a:cubicBezTo>
                        <a:pt x="244539" y="477095"/>
                        <a:pt x="283116" y="468522"/>
                        <a:pt x="302642" y="484333"/>
                      </a:cubicBezTo>
                      <a:cubicBezTo>
                        <a:pt x="302642" y="484333"/>
                        <a:pt x="330074" y="486048"/>
                        <a:pt x="373127" y="459092"/>
                      </a:cubicBezTo>
                      <a:cubicBezTo>
                        <a:pt x="373127" y="459092"/>
                        <a:pt x="375032" y="448234"/>
                        <a:pt x="362459" y="450424"/>
                      </a:cubicBezTo>
                      <a:cubicBezTo>
                        <a:pt x="362459" y="450424"/>
                        <a:pt x="300356" y="469760"/>
                        <a:pt x="249778" y="449948"/>
                      </a:cubicBezTo>
                      <a:cubicBezTo>
                        <a:pt x="249778" y="449948"/>
                        <a:pt x="224918" y="438042"/>
                        <a:pt x="261303" y="407276"/>
                      </a:cubicBezTo>
                      <a:cubicBezTo>
                        <a:pt x="261303" y="407276"/>
                        <a:pt x="303309" y="372700"/>
                        <a:pt x="311976" y="331172"/>
                      </a:cubicBezTo>
                      <a:lnTo>
                        <a:pt x="309595" y="323266"/>
                      </a:lnTo>
                      <a:cubicBezTo>
                        <a:pt x="309595" y="323266"/>
                        <a:pt x="293212" y="301644"/>
                        <a:pt x="294831" y="294596"/>
                      </a:cubicBezTo>
                      <a:cubicBezTo>
                        <a:pt x="296546" y="287357"/>
                        <a:pt x="286735" y="282308"/>
                        <a:pt x="282639" y="281451"/>
                      </a:cubicBezTo>
                      <a:cubicBezTo>
                        <a:pt x="278448" y="280689"/>
                        <a:pt x="277210" y="274593"/>
                        <a:pt x="295593" y="265068"/>
                      </a:cubicBezTo>
                      <a:cubicBezTo>
                        <a:pt x="295593" y="265068"/>
                        <a:pt x="313500" y="247447"/>
                        <a:pt x="308262" y="235922"/>
                      </a:cubicBezTo>
                      <a:lnTo>
                        <a:pt x="304642" y="214300"/>
                      </a:lnTo>
                      <a:cubicBezTo>
                        <a:pt x="304642" y="214300"/>
                        <a:pt x="347219" y="172675"/>
                        <a:pt x="353220" y="158579"/>
                      </a:cubicBezTo>
                      <a:lnTo>
                        <a:pt x="350076" y="137433"/>
                      </a:lnTo>
                      <a:lnTo>
                        <a:pt x="358839" y="120383"/>
                      </a:lnTo>
                      <a:cubicBezTo>
                        <a:pt x="358839" y="120383"/>
                        <a:pt x="373127" y="101238"/>
                        <a:pt x="375127" y="99142"/>
                      </a:cubicBezTo>
                      <a:cubicBezTo>
                        <a:pt x="376937" y="97238"/>
                        <a:pt x="387605" y="53518"/>
                        <a:pt x="369412" y="46946"/>
                      </a:cubicBezTo>
                      <a:close/>
                      <a:moveTo>
                        <a:pt x="130525" y="258115"/>
                      </a:moveTo>
                      <a:cubicBezTo>
                        <a:pt x="97473" y="195536"/>
                        <a:pt x="116999" y="180391"/>
                        <a:pt x="116999" y="180391"/>
                      </a:cubicBezTo>
                      <a:cubicBezTo>
                        <a:pt x="124239" y="180391"/>
                        <a:pt x="131954" y="190202"/>
                        <a:pt x="131954" y="190202"/>
                      </a:cubicBezTo>
                      <a:cubicBezTo>
                        <a:pt x="129477" y="194488"/>
                        <a:pt x="135383" y="231254"/>
                        <a:pt x="135383" y="231254"/>
                      </a:cubicBezTo>
                      <a:cubicBezTo>
                        <a:pt x="145003" y="263068"/>
                        <a:pt x="147384" y="289166"/>
                        <a:pt x="147384" y="289166"/>
                      </a:cubicBezTo>
                      <a:cubicBezTo>
                        <a:pt x="140145" y="286214"/>
                        <a:pt x="130525" y="258115"/>
                        <a:pt x="130525" y="258115"/>
                      </a:cubicBezTo>
                      <a:close/>
                      <a:moveTo>
                        <a:pt x="229014" y="308121"/>
                      </a:moveTo>
                      <a:cubicBezTo>
                        <a:pt x="244444" y="334410"/>
                        <a:pt x="235776" y="352603"/>
                        <a:pt x="235776" y="352603"/>
                      </a:cubicBezTo>
                      <a:lnTo>
                        <a:pt x="215297" y="377749"/>
                      </a:lnTo>
                      <a:cubicBezTo>
                        <a:pt x="208535" y="385178"/>
                        <a:pt x="209106" y="393179"/>
                        <a:pt x="213202" y="404800"/>
                      </a:cubicBezTo>
                      <a:cubicBezTo>
                        <a:pt x="217107" y="416325"/>
                        <a:pt x="213583" y="422516"/>
                        <a:pt x="216155" y="427088"/>
                      </a:cubicBezTo>
                      <a:cubicBezTo>
                        <a:pt x="208440" y="433089"/>
                        <a:pt x="205201" y="423088"/>
                        <a:pt x="205201" y="423088"/>
                      </a:cubicBezTo>
                      <a:lnTo>
                        <a:pt x="206820" y="414991"/>
                      </a:lnTo>
                      <a:cubicBezTo>
                        <a:pt x="198248" y="409277"/>
                        <a:pt x="199772" y="396323"/>
                        <a:pt x="199772" y="396323"/>
                      </a:cubicBezTo>
                      <a:cubicBezTo>
                        <a:pt x="185675" y="390036"/>
                        <a:pt x="183579" y="369367"/>
                        <a:pt x="183579" y="369367"/>
                      </a:cubicBezTo>
                      <a:cubicBezTo>
                        <a:pt x="181389" y="354889"/>
                        <a:pt x="187008" y="283928"/>
                        <a:pt x="184722" y="279070"/>
                      </a:cubicBezTo>
                      <a:cubicBezTo>
                        <a:pt x="182722" y="274117"/>
                        <a:pt x="188247" y="272021"/>
                        <a:pt x="188247" y="272021"/>
                      </a:cubicBezTo>
                      <a:lnTo>
                        <a:pt x="227013" y="246113"/>
                      </a:lnTo>
                      <a:lnTo>
                        <a:pt x="232538" y="248114"/>
                      </a:lnTo>
                      <a:cubicBezTo>
                        <a:pt x="244444" y="235731"/>
                        <a:pt x="255303" y="241446"/>
                        <a:pt x="255303" y="241446"/>
                      </a:cubicBezTo>
                      <a:cubicBezTo>
                        <a:pt x="265304" y="248875"/>
                        <a:pt x="229680" y="279927"/>
                        <a:pt x="229680" y="279927"/>
                      </a:cubicBezTo>
                      <a:lnTo>
                        <a:pt x="241491" y="292690"/>
                      </a:lnTo>
                      <a:lnTo>
                        <a:pt x="229014" y="308121"/>
                      </a:lnTo>
                      <a:close/>
                      <a:moveTo>
                        <a:pt x="284163" y="328123"/>
                      </a:moveTo>
                      <a:cubicBezTo>
                        <a:pt x="294069" y="329933"/>
                        <a:pt x="292926" y="337744"/>
                        <a:pt x="292926" y="337744"/>
                      </a:cubicBezTo>
                      <a:lnTo>
                        <a:pt x="276353" y="358223"/>
                      </a:lnTo>
                      <a:cubicBezTo>
                        <a:pt x="270638" y="357461"/>
                        <a:pt x="252350" y="371939"/>
                        <a:pt x="252350" y="371939"/>
                      </a:cubicBezTo>
                      <a:cubicBezTo>
                        <a:pt x="246730" y="355937"/>
                        <a:pt x="270828" y="337267"/>
                        <a:pt x="270828" y="337267"/>
                      </a:cubicBezTo>
                      <a:cubicBezTo>
                        <a:pt x="277686" y="336887"/>
                        <a:pt x="284163" y="328123"/>
                        <a:pt x="284163" y="328123"/>
                      </a:cubicBezTo>
                      <a:close/>
                      <a:moveTo>
                        <a:pt x="355791" y="98285"/>
                      </a:moveTo>
                      <a:cubicBezTo>
                        <a:pt x="347219" y="119526"/>
                        <a:pt x="302166" y="155245"/>
                        <a:pt x="302166" y="155245"/>
                      </a:cubicBezTo>
                      <a:cubicBezTo>
                        <a:pt x="297022" y="154483"/>
                        <a:pt x="297594" y="143434"/>
                        <a:pt x="297594" y="143434"/>
                      </a:cubicBezTo>
                      <a:cubicBezTo>
                        <a:pt x="303975" y="139529"/>
                        <a:pt x="319120" y="106858"/>
                        <a:pt x="319120" y="106858"/>
                      </a:cubicBezTo>
                      <a:cubicBezTo>
                        <a:pt x="324359" y="89332"/>
                        <a:pt x="351124" y="68186"/>
                        <a:pt x="351124" y="68186"/>
                      </a:cubicBezTo>
                      <a:cubicBezTo>
                        <a:pt x="369412" y="68281"/>
                        <a:pt x="355791" y="98285"/>
                        <a:pt x="355791" y="9828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61" name="任意多边形: 形状 60">
                  <a:extLst>
                    <a:ext uri="{FF2B5EF4-FFF2-40B4-BE49-F238E27FC236}">
                      <a16:creationId xmlns:a16="http://schemas.microsoft.com/office/drawing/2014/main" id="{14B70347-0631-4CC3-B867-17050011AF92}"/>
                    </a:ext>
                  </a:extLst>
                </p:cNvPr>
                <p:cNvSpPr/>
                <p:nvPr/>
              </p:nvSpPr>
              <p:spPr>
                <a:xfrm>
                  <a:off x="3141232" y="6964108"/>
                  <a:ext cx="36884" cy="79914"/>
                </a:xfrm>
                <a:custGeom>
                  <a:avLst/>
                  <a:gdLst>
                    <a:gd name="connsiteX0" fmla="*/ 23798 w 36884"/>
                    <a:gd name="connsiteY0" fmla="*/ 79915 h 79914"/>
                    <a:gd name="connsiteX1" fmla="*/ 27417 w 36884"/>
                    <a:gd name="connsiteY1" fmla="*/ 35052 h 79914"/>
                    <a:gd name="connsiteX2" fmla="*/ 7700 w 36884"/>
                    <a:gd name="connsiteY2" fmla="*/ 0 h 79914"/>
                    <a:gd name="connsiteX3" fmla="*/ 23798 w 36884"/>
                    <a:gd name="connsiteY3" fmla="*/ 79915 h 79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6884" h="79914">
                      <a:moveTo>
                        <a:pt x="23798" y="79915"/>
                      </a:moveTo>
                      <a:cubicBezTo>
                        <a:pt x="23798" y="79915"/>
                        <a:pt x="50658" y="73057"/>
                        <a:pt x="27417" y="35052"/>
                      </a:cubicBezTo>
                      <a:cubicBezTo>
                        <a:pt x="27417" y="35052"/>
                        <a:pt x="28656" y="5334"/>
                        <a:pt x="7700" y="0"/>
                      </a:cubicBezTo>
                      <a:cubicBezTo>
                        <a:pt x="7605" y="0"/>
                        <a:pt x="-17636" y="59912"/>
                        <a:pt x="23798" y="799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62" name="任意多边形: 形状 61">
                  <a:extLst>
                    <a:ext uri="{FF2B5EF4-FFF2-40B4-BE49-F238E27FC236}">
                      <a16:creationId xmlns:a16="http://schemas.microsoft.com/office/drawing/2014/main" id="{D32F53D2-287E-4BDE-BB43-FAE59102FA54}"/>
                    </a:ext>
                  </a:extLst>
                </p:cNvPr>
                <p:cNvSpPr/>
                <p:nvPr/>
              </p:nvSpPr>
              <p:spPr>
                <a:xfrm>
                  <a:off x="3052769" y="6803409"/>
                  <a:ext cx="377753" cy="574469"/>
                </a:xfrm>
                <a:custGeom>
                  <a:avLst/>
                  <a:gdLst>
                    <a:gd name="connsiteX0" fmla="*/ 308762 w 377753"/>
                    <a:gd name="connsiteY0" fmla="*/ 101454 h 574469"/>
                    <a:gd name="connsiteX1" fmla="*/ 287712 w 377753"/>
                    <a:gd name="connsiteY1" fmla="*/ 97072 h 574469"/>
                    <a:gd name="connsiteX2" fmla="*/ 298475 w 377753"/>
                    <a:gd name="connsiteY2" fmla="*/ 77927 h 574469"/>
                    <a:gd name="connsiteX3" fmla="*/ 310381 w 377753"/>
                    <a:gd name="connsiteY3" fmla="*/ 44113 h 574469"/>
                    <a:gd name="connsiteX4" fmla="*/ 284854 w 377753"/>
                    <a:gd name="connsiteY4" fmla="*/ 489 h 574469"/>
                    <a:gd name="connsiteX5" fmla="*/ 268948 w 377753"/>
                    <a:gd name="connsiteY5" fmla="*/ 64402 h 574469"/>
                    <a:gd name="connsiteX6" fmla="*/ 245230 w 377753"/>
                    <a:gd name="connsiteY6" fmla="*/ 109645 h 574469"/>
                    <a:gd name="connsiteX7" fmla="*/ 171793 w 377753"/>
                    <a:gd name="connsiteY7" fmla="*/ 124314 h 574469"/>
                    <a:gd name="connsiteX8" fmla="*/ 161982 w 377753"/>
                    <a:gd name="connsiteY8" fmla="*/ 100978 h 574469"/>
                    <a:gd name="connsiteX9" fmla="*/ 148361 w 377753"/>
                    <a:gd name="connsiteY9" fmla="*/ 135935 h 574469"/>
                    <a:gd name="connsiteX10" fmla="*/ 119215 w 377753"/>
                    <a:gd name="connsiteY10" fmla="*/ 151555 h 574469"/>
                    <a:gd name="connsiteX11" fmla="*/ 133883 w 377753"/>
                    <a:gd name="connsiteY11" fmla="*/ 167462 h 574469"/>
                    <a:gd name="connsiteX12" fmla="*/ 141122 w 377753"/>
                    <a:gd name="connsiteY12" fmla="*/ 188608 h 574469"/>
                    <a:gd name="connsiteX13" fmla="*/ 172174 w 377753"/>
                    <a:gd name="connsiteY13" fmla="*/ 178416 h 574469"/>
                    <a:gd name="connsiteX14" fmla="*/ 224371 w 377753"/>
                    <a:gd name="connsiteY14" fmla="*/ 148031 h 574469"/>
                    <a:gd name="connsiteX15" fmla="*/ 222370 w 377753"/>
                    <a:gd name="connsiteY15" fmla="*/ 160033 h 574469"/>
                    <a:gd name="connsiteX16" fmla="*/ 196081 w 377753"/>
                    <a:gd name="connsiteY16" fmla="*/ 178702 h 574469"/>
                    <a:gd name="connsiteX17" fmla="*/ 190366 w 377753"/>
                    <a:gd name="connsiteY17" fmla="*/ 192894 h 574469"/>
                    <a:gd name="connsiteX18" fmla="*/ 193605 w 377753"/>
                    <a:gd name="connsiteY18" fmla="*/ 197752 h 574469"/>
                    <a:gd name="connsiteX19" fmla="*/ 185699 w 377753"/>
                    <a:gd name="connsiteY19" fmla="*/ 227375 h 574469"/>
                    <a:gd name="connsiteX20" fmla="*/ 174364 w 377753"/>
                    <a:gd name="connsiteY20" fmla="*/ 248520 h 574469"/>
                    <a:gd name="connsiteX21" fmla="*/ 147885 w 377753"/>
                    <a:gd name="connsiteY21" fmla="*/ 281667 h 574469"/>
                    <a:gd name="connsiteX22" fmla="*/ 147218 w 377753"/>
                    <a:gd name="connsiteY22" fmla="*/ 284810 h 574469"/>
                    <a:gd name="connsiteX23" fmla="*/ 163315 w 377753"/>
                    <a:gd name="connsiteY23" fmla="*/ 288525 h 574469"/>
                    <a:gd name="connsiteX24" fmla="*/ 182365 w 377753"/>
                    <a:gd name="connsiteY24" fmla="*/ 282143 h 574469"/>
                    <a:gd name="connsiteX25" fmla="*/ 198748 w 377753"/>
                    <a:gd name="connsiteY25" fmla="*/ 279286 h 574469"/>
                    <a:gd name="connsiteX26" fmla="*/ 226657 w 377753"/>
                    <a:gd name="connsiteY26" fmla="*/ 288335 h 574469"/>
                    <a:gd name="connsiteX27" fmla="*/ 205416 w 377753"/>
                    <a:gd name="connsiteY27" fmla="*/ 313100 h 574469"/>
                    <a:gd name="connsiteX28" fmla="*/ 107308 w 377753"/>
                    <a:gd name="connsiteY28" fmla="*/ 391681 h 574469"/>
                    <a:gd name="connsiteX29" fmla="*/ 35680 w 377753"/>
                    <a:gd name="connsiteY29" fmla="*/ 477406 h 574469"/>
                    <a:gd name="connsiteX30" fmla="*/ 14249 w 377753"/>
                    <a:gd name="connsiteY30" fmla="*/ 521506 h 574469"/>
                    <a:gd name="connsiteX31" fmla="*/ 10058 w 377753"/>
                    <a:gd name="connsiteY31" fmla="*/ 545033 h 574469"/>
                    <a:gd name="connsiteX32" fmla="*/ 35204 w 377753"/>
                    <a:gd name="connsiteY32" fmla="*/ 533508 h 574469"/>
                    <a:gd name="connsiteX33" fmla="*/ 155600 w 377753"/>
                    <a:gd name="connsiteY33" fmla="*/ 395967 h 574469"/>
                    <a:gd name="connsiteX34" fmla="*/ 173507 w 377753"/>
                    <a:gd name="connsiteY34" fmla="*/ 385109 h 574469"/>
                    <a:gd name="connsiteX35" fmla="*/ 180079 w 377753"/>
                    <a:gd name="connsiteY35" fmla="*/ 367106 h 574469"/>
                    <a:gd name="connsiteX36" fmla="*/ 213036 w 377753"/>
                    <a:gd name="connsiteY36" fmla="*/ 345389 h 574469"/>
                    <a:gd name="connsiteX37" fmla="*/ 270853 w 377753"/>
                    <a:gd name="connsiteY37" fmla="*/ 348818 h 574469"/>
                    <a:gd name="connsiteX38" fmla="*/ 245707 w 377753"/>
                    <a:gd name="connsiteY38" fmla="*/ 367392 h 574469"/>
                    <a:gd name="connsiteX39" fmla="*/ 237896 w 377753"/>
                    <a:gd name="connsiteY39" fmla="*/ 385299 h 574469"/>
                    <a:gd name="connsiteX40" fmla="*/ 226276 w 377753"/>
                    <a:gd name="connsiteY40" fmla="*/ 386537 h 574469"/>
                    <a:gd name="connsiteX41" fmla="*/ 183413 w 377753"/>
                    <a:gd name="connsiteY41" fmla="*/ 386632 h 574469"/>
                    <a:gd name="connsiteX42" fmla="*/ 134359 w 377753"/>
                    <a:gd name="connsiteY42" fmla="*/ 503314 h 574469"/>
                    <a:gd name="connsiteX43" fmla="*/ 121310 w 377753"/>
                    <a:gd name="connsiteY43" fmla="*/ 519506 h 574469"/>
                    <a:gd name="connsiteX44" fmla="*/ 102070 w 377753"/>
                    <a:gd name="connsiteY44" fmla="*/ 571608 h 574469"/>
                    <a:gd name="connsiteX45" fmla="*/ 150076 w 377753"/>
                    <a:gd name="connsiteY45" fmla="*/ 562940 h 574469"/>
                    <a:gd name="connsiteX46" fmla="*/ 215512 w 377753"/>
                    <a:gd name="connsiteY46" fmla="*/ 511505 h 574469"/>
                    <a:gd name="connsiteX47" fmla="*/ 240563 w 377753"/>
                    <a:gd name="connsiteY47" fmla="*/ 542080 h 574469"/>
                    <a:gd name="connsiteX48" fmla="*/ 297237 w 377753"/>
                    <a:gd name="connsiteY48" fmla="*/ 537604 h 574469"/>
                    <a:gd name="connsiteX49" fmla="*/ 280473 w 377753"/>
                    <a:gd name="connsiteY49" fmla="*/ 507981 h 574469"/>
                    <a:gd name="connsiteX50" fmla="*/ 270948 w 377753"/>
                    <a:gd name="connsiteY50" fmla="*/ 504076 h 574469"/>
                    <a:gd name="connsiteX51" fmla="*/ 264185 w 377753"/>
                    <a:gd name="connsiteY51" fmla="*/ 483692 h 574469"/>
                    <a:gd name="connsiteX52" fmla="*/ 291808 w 377753"/>
                    <a:gd name="connsiteY52" fmla="*/ 473215 h 574469"/>
                    <a:gd name="connsiteX53" fmla="*/ 309143 w 377753"/>
                    <a:gd name="connsiteY53" fmla="*/ 438639 h 574469"/>
                    <a:gd name="connsiteX54" fmla="*/ 282378 w 377753"/>
                    <a:gd name="connsiteY54" fmla="*/ 421303 h 574469"/>
                    <a:gd name="connsiteX55" fmla="*/ 248659 w 377753"/>
                    <a:gd name="connsiteY55" fmla="*/ 419303 h 574469"/>
                    <a:gd name="connsiteX56" fmla="*/ 257327 w 377753"/>
                    <a:gd name="connsiteY56" fmla="*/ 405206 h 574469"/>
                    <a:gd name="connsiteX57" fmla="*/ 263137 w 377753"/>
                    <a:gd name="connsiteY57" fmla="*/ 396443 h 574469"/>
                    <a:gd name="connsiteX58" fmla="*/ 274472 w 377753"/>
                    <a:gd name="connsiteY58" fmla="*/ 381679 h 574469"/>
                    <a:gd name="connsiteX59" fmla="*/ 309238 w 377753"/>
                    <a:gd name="connsiteY59" fmla="*/ 337674 h 574469"/>
                    <a:gd name="connsiteX60" fmla="*/ 282187 w 377753"/>
                    <a:gd name="connsiteY60" fmla="*/ 312052 h 574469"/>
                    <a:gd name="connsiteX61" fmla="*/ 270757 w 377753"/>
                    <a:gd name="connsiteY61" fmla="*/ 315481 h 574469"/>
                    <a:gd name="connsiteX62" fmla="*/ 257708 w 377753"/>
                    <a:gd name="connsiteY62" fmla="*/ 310242 h 574469"/>
                    <a:gd name="connsiteX63" fmla="*/ 250850 w 377753"/>
                    <a:gd name="connsiteY63" fmla="*/ 315767 h 574469"/>
                    <a:gd name="connsiteX64" fmla="*/ 246183 w 377753"/>
                    <a:gd name="connsiteY64" fmla="*/ 299860 h 574469"/>
                    <a:gd name="connsiteX65" fmla="*/ 275044 w 377753"/>
                    <a:gd name="connsiteY65" fmla="*/ 263569 h 574469"/>
                    <a:gd name="connsiteX66" fmla="*/ 251612 w 377753"/>
                    <a:gd name="connsiteY66" fmla="*/ 251663 h 574469"/>
                    <a:gd name="connsiteX67" fmla="*/ 227895 w 377753"/>
                    <a:gd name="connsiteY67" fmla="*/ 256711 h 574469"/>
                    <a:gd name="connsiteX68" fmla="*/ 210655 w 377753"/>
                    <a:gd name="connsiteY68" fmla="*/ 260331 h 574469"/>
                    <a:gd name="connsiteX69" fmla="*/ 196177 w 377753"/>
                    <a:gd name="connsiteY69" fmla="*/ 253854 h 574469"/>
                    <a:gd name="connsiteX70" fmla="*/ 211607 w 377753"/>
                    <a:gd name="connsiteY70" fmla="*/ 241948 h 574469"/>
                    <a:gd name="connsiteX71" fmla="*/ 267233 w 377753"/>
                    <a:gd name="connsiteY71" fmla="*/ 234709 h 574469"/>
                    <a:gd name="connsiteX72" fmla="*/ 331432 w 377753"/>
                    <a:gd name="connsiteY72" fmla="*/ 188036 h 574469"/>
                    <a:gd name="connsiteX73" fmla="*/ 377056 w 377753"/>
                    <a:gd name="connsiteY73" fmla="*/ 92881 h 574469"/>
                    <a:gd name="connsiteX74" fmla="*/ 308762 w 377753"/>
                    <a:gd name="connsiteY74" fmla="*/ 101454 h 574469"/>
                    <a:gd name="connsiteX75" fmla="*/ 95116 w 377753"/>
                    <a:gd name="connsiteY75" fmla="*/ 435115 h 574469"/>
                    <a:gd name="connsiteX76" fmla="*/ 84448 w 377753"/>
                    <a:gd name="connsiteY76" fmla="*/ 452831 h 574469"/>
                    <a:gd name="connsiteX77" fmla="*/ 67589 w 377753"/>
                    <a:gd name="connsiteY77" fmla="*/ 467500 h 574469"/>
                    <a:gd name="connsiteX78" fmla="*/ 54921 w 377753"/>
                    <a:gd name="connsiteY78" fmla="*/ 472738 h 574469"/>
                    <a:gd name="connsiteX79" fmla="*/ 69208 w 377753"/>
                    <a:gd name="connsiteY79" fmla="*/ 444926 h 574469"/>
                    <a:gd name="connsiteX80" fmla="*/ 95212 w 377753"/>
                    <a:gd name="connsiteY80" fmla="*/ 421113 h 574469"/>
                    <a:gd name="connsiteX81" fmla="*/ 95116 w 377753"/>
                    <a:gd name="connsiteY81" fmla="*/ 435115 h 574469"/>
                    <a:gd name="connsiteX82" fmla="*/ 198939 w 377753"/>
                    <a:gd name="connsiteY82" fmla="*/ 452355 h 574469"/>
                    <a:gd name="connsiteX83" fmla="*/ 206654 w 377753"/>
                    <a:gd name="connsiteY83" fmla="*/ 477501 h 574469"/>
                    <a:gd name="connsiteX84" fmla="*/ 187223 w 377753"/>
                    <a:gd name="connsiteY84" fmla="*/ 502647 h 574469"/>
                    <a:gd name="connsiteX85" fmla="*/ 163601 w 377753"/>
                    <a:gd name="connsiteY85" fmla="*/ 490836 h 574469"/>
                    <a:gd name="connsiteX86" fmla="*/ 181508 w 377753"/>
                    <a:gd name="connsiteY86" fmla="*/ 436544 h 574469"/>
                    <a:gd name="connsiteX87" fmla="*/ 189795 w 377753"/>
                    <a:gd name="connsiteY87" fmla="*/ 416160 h 574469"/>
                    <a:gd name="connsiteX88" fmla="*/ 199034 w 377753"/>
                    <a:gd name="connsiteY88" fmla="*/ 405968 h 574469"/>
                    <a:gd name="connsiteX89" fmla="*/ 212560 w 377753"/>
                    <a:gd name="connsiteY89" fmla="*/ 414255 h 574469"/>
                    <a:gd name="connsiteX90" fmla="*/ 222085 w 377753"/>
                    <a:gd name="connsiteY90" fmla="*/ 423780 h 574469"/>
                    <a:gd name="connsiteX91" fmla="*/ 198939 w 377753"/>
                    <a:gd name="connsiteY91" fmla="*/ 452355 h 574469"/>
                    <a:gd name="connsiteX92" fmla="*/ 266662 w 377753"/>
                    <a:gd name="connsiteY92" fmla="*/ 458356 h 574469"/>
                    <a:gd name="connsiteX93" fmla="*/ 237229 w 377753"/>
                    <a:gd name="connsiteY93" fmla="*/ 463785 h 574469"/>
                    <a:gd name="connsiteX94" fmla="*/ 246373 w 377753"/>
                    <a:gd name="connsiteY94" fmla="*/ 445402 h 574469"/>
                    <a:gd name="connsiteX95" fmla="*/ 266662 w 377753"/>
                    <a:gd name="connsiteY95" fmla="*/ 458356 h 574469"/>
                    <a:gd name="connsiteX96" fmla="*/ 322383 w 377753"/>
                    <a:gd name="connsiteY96" fmla="*/ 132220 h 574469"/>
                    <a:gd name="connsiteX97" fmla="*/ 267614 w 377753"/>
                    <a:gd name="connsiteY97" fmla="*/ 195942 h 574469"/>
                    <a:gd name="connsiteX98" fmla="*/ 216846 w 377753"/>
                    <a:gd name="connsiteY98" fmla="*/ 217564 h 574469"/>
                    <a:gd name="connsiteX99" fmla="*/ 219132 w 377753"/>
                    <a:gd name="connsiteY99" fmla="*/ 205086 h 574469"/>
                    <a:gd name="connsiteX100" fmla="*/ 243135 w 377753"/>
                    <a:gd name="connsiteY100" fmla="*/ 187084 h 574469"/>
                    <a:gd name="connsiteX101" fmla="*/ 265995 w 377753"/>
                    <a:gd name="connsiteY101" fmla="*/ 136601 h 574469"/>
                    <a:gd name="connsiteX102" fmla="*/ 330384 w 377753"/>
                    <a:gd name="connsiteY102" fmla="*/ 123743 h 574469"/>
                    <a:gd name="connsiteX103" fmla="*/ 322383 w 377753"/>
                    <a:gd name="connsiteY103" fmla="*/ 132220 h 5744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</a:cxnLst>
                  <a:rect l="l" t="t" r="r" b="b"/>
                  <a:pathLst>
                    <a:path w="377753" h="574469">
                      <a:moveTo>
                        <a:pt x="308762" y="101454"/>
                      </a:moveTo>
                      <a:cubicBezTo>
                        <a:pt x="308762" y="101454"/>
                        <a:pt x="301142" y="112979"/>
                        <a:pt x="287712" y="97072"/>
                      </a:cubicBezTo>
                      <a:cubicBezTo>
                        <a:pt x="287712" y="97072"/>
                        <a:pt x="295808" y="79737"/>
                        <a:pt x="298475" y="77927"/>
                      </a:cubicBezTo>
                      <a:cubicBezTo>
                        <a:pt x="300856" y="76118"/>
                        <a:pt x="314191" y="62020"/>
                        <a:pt x="310381" y="44113"/>
                      </a:cubicBezTo>
                      <a:cubicBezTo>
                        <a:pt x="310381" y="44113"/>
                        <a:pt x="296475" y="-5416"/>
                        <a:pt x="284854" y="489"/>
                      </a:cubicBezTo>
                      <a:cubicBezTo>
                        <a:pt x="284854" y="489"/>
                        <a:pt x="275710" y="49447"/>
                        <a:pt x="268948" y="64402"/>
                      </a:cubicBezTo>
                      <a:cubicBezTo>
                        <a:pt x="268948" y="64402"/>
                        <a:pt x="264947" y="95263"/>
                        <a:pt x="245230" y="109645"/>
                      </a:cubicBezTo>
                      <a:cubicBezTo>
                        <a:pt x="245230" y="109645"/>
                        <a:pt x="186652" y="139840"/>
                        <a:pt x="171793" y="124314"/>
                      </a:cubicBezTo>
                      <a:cubicBezTo>
                        <a:pt x="171793" y="124314"/>
                        <a:pt x="172650" y="99454"/>
                        <a:pt x="161982" y="100978"/>
                      </a:cubicBezTo>
                      <a:cubicBezTo>
                        <a:pt x="161982" y="100978"/>
                        <a:pt x="154933" y="95168"/>
                        <a:pt x="148361" y="135935"/>
                      </a:cubicBezTo>
                      <a:cubicBezTo>
                        <a:pt x="148361" y="135935"/>
                        <a:pt x="121310" y="143650"/>
                        <a:pt x="119215" y="151555"/>
                      </a:cubicBezTo>
                      <a:cubicBezTo>
                        <a:pt x="121120" y="154127"/>
                        <a:pt x="108737" y="161366"/>
                        <a:pt x="133883" y="167462"/>
                      </a:cubicBezTo>
                      <a:cubicBezTo>
                        <a:pt x="133883" y="167462"/>
                        <a:pt x="141503" y="167653"/>
                        <a:pt x="141122" y="188608"/>
                      </a:cubicBezTo>
                      <a:cubicBezTo>
                        <a:pt x="141122" y="188608"/>
                        <a:pt x="155791" y="208610"/>
                        <a:pt x="172174" y="178416"/>
                      </a:cubicBezTo>
                      <a:cubicBezTo>
                        <a:pt x="172174" y="178416"/>
                        <a:pt x="180937" y="142602"/>
                        <a:pt x="224371" y="148031"/>
                      </a:cubicBezTo>
                      <a:cubicBezTo>
                        <a:pt x="224371" y="148031"/>
                        <a:pt x="236658" y="155175"/>
                        <a:pt x="222370" y="160033"/>
                      </a:cubicBezTo>
                      <a:cubicBezTo>
                        <a:pt x="222370" y="160033"/>
                        <a:pt x="211988" y="181654"/>
                        <a:pt x="196081" y="178702"/>
                      </a:cubicBezTo>
                      <a:cubicBezTo>
                        <a:pt x="196081" y="178702"/>
                        <a:pt x="190843" y="188798"/>
                        <a:pt x="190366" y="192894"/>
                      </a:cubicBezTo>
                      <a:cubicBezTo>
                        <a:pt x="189890" y="196799"/>
                        <a:pt x="193605" y="197752"/>
                        <a:pt x="193605" y="197752"/>
                      </a:cubicBezTo>
                      <a:cubicBezTo>
                        <a:pt x="193605" y="197752"/>
                        <a:pt x="196748" y="211849"/>
                        <a:pt x="185699" y="227375"/>
                      </a:cubicBezTo>
                      <a:cubicBezTo>
                        <a:pt x="185699" y="227375"/>
                        <a:pt x="173317" y="242234"/>
                        <a:pt x="174364" y="248520"/>
                      </a:cubicBezTo>
                      <a:cubicBezTo>
                        <a:pt x="174364" y="248520"/>
                        <a:pt x="153314" y="261093"/>
                        <a:pt x="147885" y="281667"/>
                      </a:cubicBezTo>
                      <a:cubicBezTo>
                        <a:pt x="147694" y="282715"/>
                        <a:pt x="147409" y="283762"/>
                        <a:pt x="147218" y="284810"/>
                      </a:cubicBezTo>
                      <a:cubicBezTo>
                        <a:pt x="143408" y="307385"/>
                        <a:pt x="159410" y="292240"/>
                        <a:pt x="163315" y="288525"/>
                      </a:cubicBezTo>
                      <a:cubicBezTo>
                        <a:pt x="163315" y="288525"/>
                        <a:pt x="181603" y="279476"/>
                        <a:pt x="182365" y="282143"/>
                      </a:cubicBezTo>
                      <a:cubicBezTo>
                        <a:pt x="182937" y="284810"/>
                        <a:pt x="191986" y="287096"/>
                        <a:pt x="198748" y="279286"/>
                      </a:cubicBezTo>
                      <a:lnTo>
                        <a:pt x="226657" y="288335"/>
                      </a:lnTo>
                      <a:cubicBezTo>
                        <a:pt x="226657" y="288335"/>
                        <a:pt x="223799" y="299955"/>
                        <a:pt x="205416" y="313100"/>
                      </a:cubicBezTo>
                      <a:cubicBezTo>
                        <a:pt x="205416" y="313100"/>
                        <a:pt x="160553" y="358724"/>
                        <a:pt x="107308" y="391681"/>
                      </a:cubicBezTo>
                      <a:cubicBezTo>
                        <a:pt x="107308" y="391681"/>
                        <a:pt x="56921" y="432257"/>
                        <a:pt x="35680" y="477406"/>
                      </a:cubicBezTo>
                      <a:lnTo>
                        <a:pt x="14249" y="521506"/>
                      </a:lnTo>
                      <a:cubicBezTo>
                        <a:pt x="14249" y="521506"/>
                        <a:pt x="-14802" y="534175"/>
                        <a:pt x="10058" y="545033"/>
                      </a:cubicBezTo>
                      <a:cubicBezTo>
                        <a:pt x="10058" y="545033"/>
                        <a:pt x="21583" y="545605"/>
                        <a:pt x="35204" y="533508"/>
                      </a:cubicBezTo>
                      <a:lnTo>
                        <a:pt x="155600" y="395967"/>
                      </a:lnTo>
                      <a:lnTo>
                        <a:pt x="173507" y="385109"/>
                      </a:lnTo>
                      <a:lnTo>
                        <a:pt x="180079" y="367106"/>
                      </a:lnTo>
                      <a:cubicBezTo>
                        <a:pt x="180079" y="367106"/>
                        <a:pt x="200177" y="353581"/>
                        <a:pt x="213036" y="345389"/>
                      </a:cubicBezTo>
                      <a:cubicBezTo>
                        <a:pt x="213036" y="345389"/>
                        <a:pt x="264471" y="335674"/>
                        <a:pt x="270853" y="348818"/>
                      </a:cubicBezTo>
                      <a:cubicBezTo>
                        <a:pt x="270853" y="348818"/>
                        <a:pt x="246945" y="365678"/>
                        <a:pt x="245707" y="367392"/>
                      </a:cubicBezTo>
                      <a:cubicBezTo>
                        <a:pt x="244373" y="369202"/>
                        <a:pt x="237896" y="385299"/>
                        <a:pt x="237896" y="385299"/>
                      </a:cubicBezTo>
                      <a:cubicBezTo>
                        <a:pt x="237896" y="385299"/>
                        <a:pt x="237039" y="390157"/>
                        <a:pt x="226276" y="386537"/>
                      </a:cubicBezTo>
                      <a:cubicBezTo>
                        <a:pt x="226276" y="386537"/>
                        <a:pt x="191605" y="382346"/>
                        <a:pt x="183413" y="386632"/>
                      </a:cubicBezTo>
                      <a:lnTo>
                        <a:pt x="134359" y="503314"/>
                      </a:lnTo>
                      <a:lnTo>
                        <a:pt x="121310" y="519506"/>
                      </a:lnTo>
                      <a:lnTo>
                        <a:pt x="102070" y="571608"/>
                      </a:lnTo>
                      <a:cubicBezTo>
                        <a:pt x="102070" y="571608"/>
                        <a:pt x="129311" y="582086"/>
                        <a:pt x="150076" y="562940"/>
                      </a:cubicBezTo>
                      <a:cubicBezTo>
                        <a:pt x="150076" y="562940"/>
                        <a:pt x="190652" y="515029"/>
                        <a:pt x="215512" y="511505"/>
                      </a:cubicBezTo>
                      <a:cubicBezTo>
                        <a:pt x="215512" y="511505"/>
                        <a:pt x="241897" y="528745"/>
                        <a:pt x="240563" y="542080"/>
                      </a:cubicBezTo>
                      <a:cubicBezTo>
                        <a:pt x="240563" y="542080"/>
                        <a:pt x="292474" y="556844"/>
                        <a:pt x="297237" y="537604"/>
                      </a:cubicBezTo>
                      <a:cubicBezTo>
                        <a:pt x="297237" y="537604"/>
                        <a:pt x="298475" y="524554"/>
                        <a:pt x="280473" y="507981"/>
                      </a:cubicBezTo>
                      <a:lnTo>
                        <a:pt x="270948" y="504076"/>
                      </a:lnTo>
                      <a:lnTo>
                        <a:pt x="264185" y="483692"/>
                      </a:lnTo>
                      <a:cubicBezTo>
                        <a:pt x="264185" y="483692"/>
                        <a:pt x="283140" y="472643"/>
                        <a:pt x="291808" y="473215"/>
                      </a:cubicBezTo>
                      <a:cubicBezTo>
                        <a:pt x="291808" y="473215"/>
                        <a:pt x="316858" y="461689"/>
                        <a:pt x="309143" y="438639"/>
                      </a:cubicBezTo>
                      <a:cubicBezTo>
                        <a:pt x="309143" y="438639"/>
                        <a:pt x="322859" y="434162"/>
                        <a:pt x="282378" y="421303"/>
                      </a:cubicBezTo>
                      <a:cubicBezTo>
                        <a:pt x="282378" y="421303"/>
                        <a:pt x="267614" y="431590"/>
                        <a:pt x="248659" y="419303"/>
                      </a:cubicBezTo>
                      <a:cubicBezTo>
                        <a:pt x="248659" y="419303"/>
                        <a:pt x="244087" y="414541"/>
                        <a:pt x="257327" y="405206"/>
                      </a:cubicBezTo>
                      <a:lnTo>
                        <a:pt x="263137" y="396443"/>
                      </a:lnTo>
                      <a:cubicBezTo>
                        <a:pt x="263137" y="396443"/>
                        <a:pt x="270948" y="399015"/>
                        <a:pt x="274472" y="381679"/>
                      </a:cubicBezTo>
                      <a:cubicBezTo>
                        <a:pt x="274472" y="381679"/>
                        <a:pt x="296665" y="381870"/>
                        <a:pt x="309238" y="337674"/>
                      </a:cubicBezTo>
                      <a:cubicBezTo>
                        <a:pt x="309238" y="337674"/>
                        <a:pt x="310858" y="320719"/>
                        <a:pt x="282187" y="312052"/>
                      </a:cubicBezTo>
                      <a:lnTo>
                        <a:pt x="270757" y="315481"/>
                      </a:lnTo>
                      <a:lnTo>
                        <a:pt x="257708" y="310242"/>
                      </a:lnTo>
                      <a:cubicBezTo>
                        <a:pt x="254660" y="309004"/>
                        <a:pt x="252850" y="316624"/>
                        <a:pt x="250850" y="315767"/>
                      </a:cubicBezTo>
                      <a:cubicBezTo>
                        <a:pt x="248755" y="315004"/>
                        <a:pt x="226657" y="319291"/>
                        <a:pt x="246183" y="299860"/>
                      </a:cubicBezTo>
                      <a:cubicBezTo>
                        <a:pt x="246183" y="299860"/>
                        <a:pt x="267328" y="287858"/>
                        <a:pt x="275044" y="263569"/>
                      </a:cubicBezTo>
                      <a:cubicBezTo>
                        <a:pt x="275044" y="263569"/>
                        <a:pt x="267519" y="254521"/>
                        <a:pt x="251612" y="251663"/>
                      </a:cubicBezTo>
                      <a:cubicBezTo>
                        <a:pt x="251612" y="251663"/>
                        <a:pt x="236848" y="259188"/>
                        <a:pt x="227895" y="256711"/>
                      </a:cubicBezTo>
                      <a:cubicBezTo>
                        <a:pt x="218846" y="254140"/>
                        <a:pt x="210655" y="260331"/>
                        <a:pt x="210655" y="260331"/>
                      </a:cubicBezTo>
                      <a:cubicBezTo>
                        <a:pt x="210655" y="260331"/>
                        <a:pt x="198177" y="257664"/>
                        <a:pt x="196177" y="253854"/>
                      </a:cubicBezTo>
                      <a:cubicBezTo>
                        <a:pt x="194176" y="250139"/>
                        <a:pt x="195605" y="236519"/>
                        <a:pt x="211607" y="241948"/>
                      </a:cubicBezTo>
                      <a:cubicBezTo>
                        <a:pt x="211607" y="241948"/>
                        <a:pt x="255136" y="244424"/>
                        <a:pt x="267233" y="234709"/>
                      </a:cubicBezTo>
                      <a:cubicBezTo>
                        <a:pt x="267233" y="234709"/>
                        <a:pt x="324097" y="201371"/>
                        <a:pt x="331432" y="188036"/>
                      </a:cubicBezTo>
                      <a:cubicBezTo>
                        <a:pt x="331432" y="188036"/>
                        <a:pt x="384391" y="111074"/>
                        <a:pt x="377056" y="92881"/>
                      </a:cubicBezTo>
                      <a:cubicBezTo>
                        <a:pt x="376675" y="93167"/>
                        <a:pt x="370294" y="69450"/>
                        <a:pt x="308762" y="101454"/>
                      </a:cubicBezTo>
                      <a:close/>
                      <a:moveTo>
                        <a:pt x="95116" y="435115"/>
                      </a:moveTo>
                      <a:cubicBezTo>
                        <a:pt x="91211" y="434734"/>
                        <a:pt x="84448" y="452831"/>
                        <a:pt x="84448" y="452831"/>
                      </a:cubicBezTo>
                      <a:cubicBezTo>
                        <a:pt x="80543" y="449593"/>
                        <a:pt x="67589" y="467500"/>
                        <a:pt x="67589" y="467500"/>
                      </a:cubicBezTo>
                      <a:cubicBezTo>
                        <a:pt x="59398" y="484454"/>
                        <a:pt x="54921" y="472738"/>
                        <a:pt x="54921" y="472738"/>
                      </a:cubicBezTo>
                      <a:cubicBezTo>
                        <a:pt x="59779" y="453974"/>
                        <a:pt x="69208" y="444926"/>
                        <a:pt x="69208" y="444926"/>
                      </a:cubicBezTo>
                      <a:cubicBezTo>
                        <a:pt x="71113" y="441592"/>
                        <a:pt x="95212" y="421113"/>
                        <a:pt x="95212" y="421113"/>
                      </a:cubicBezTo>
                      <a:cubicBezTo>
                        <a:pt x="107308" y="423875"/>
                        <a:pt x="99022" y="435591"/>
                        <a:pt x="95116" y="435115"/>
                      </a:cubicBezTo>
                      <a:close/>
                      <a:moveTo>
                        <a:pt x="198939" y="452355"/>
                      </a:moveTo>
                      <a:lnTo>
                        <a:pt x="206654" y="477501"/>
                      </a:lnTo>
                      <a:cubicBezTo>
                        <a:pt x="210940" y="501313"/>
                        <a:pt x="187223" y="502647"/>
                        <a:pt x="187223" y="502647"/>
                      </a:cubicBezTo>
                      <a:cubicBezTo>
                        <a:pt x="160172" y="519506"/>
                        <a:pt x="163601" y="490836"/>
                        <a:pt x="163601" y="490836"/>
                      </a:cubicBezTo>
                      <a:cubicBezTo>
                        <a:pt x="163601" y="490836"/>
                        <a:pt x="177698" y="450545"/>
                        <a:pt x="181508" y="436544"/>
                      </a:cubicBezTo>
                      <a:cubicBezTo>
                        <a:pt x="185604" y="422351"/>
                        <a:pt x="189795" y="416160"/>
                        <a:pt x="189795" y="416160"/>
                      </a:cubicBezTo>
                      <a:lnTo>
                        <a:pt x="199034" y="405968"/>
                      </a:lnTo>
                      <a:cubicBezTo>
                        <a:pt x="199034" y="405968"/>
                        <a:pt x="213703" y="410064"/>
                        <a:pt x="212560" y="414255"/>
                      </a:cubicBezTo>
                      <a:cubicBezTo>
                        <a:pt x="211417" y="418446"/>
                        <a:pt x="222085" y="423780"/>
                        <a:pt x="222085" y="423780"/>
                      </a:cubicBezTo>
                      <a:lnTo>
                        <a:pt x="198939" y="452355"/>
                      </a:lnTo>
                      <a:close/>
                      <a:moveTo>
                        <a:pt x="266662" y="458356"/>
                      </a:moveTo>
                      <a:cubicBezTo>
                        <a:pt x="266662" y="458356"/>
                        <a:pt x="247516" y="476739"/>
                        <a:pt x="237229" y="463785"/>
                      </a:cubicBezTo>
                      <a:cubicBezTo>
                        <a:pt x="237229" y="463785"/>
                        <a:pt x="227895" y="446640"/>
                        <a:pt x="246373" y="445402"/>
                      </a:cubicBezTo>
                      <a:cubicBezTo>
                        <a:pt x="246373" y="445402"/>
                        <a:pt x="269138" y="448259"/>
                        <a:pt x="266662" y="458356"/>
                      </a:cubicBezTo>
                      <a:close/>
                      <a:moveTo>
                        <a:pt x="322383" y="132220"/>
                      </a:moveTo>
                      <a:cubicBezTo>
                        <a:pt x="322383" y="132220"/>
                        <a:pt x="317811" y="157652"/>
                        <a:pt x="267614" y="195942"/>
                      </a:cubicBezTo>
                      <a:cubicBezTo>
                        <a:pt x="267614" y="195942"/>
                        <a:pt x="238849" y="219088"/>
                        <a:pt x="216846" y="217564"/>
                      </a:cubicBezTo>
                      <a:cubicBezTo>
                        <a:pt x="216846" y="217564"/>
                        <a:pt x="204844" y="211658"/>
                        <a:pt x="219132" y="205086"/>
                      </a:cubicBezTo>
                      <a:cubicBezTo>
                        <a:pt x="219132" y="205086"/>
                        <a:pt x="241516" y="199752"/>
                        <a:pt x="243135" y="187084"/>
                      </a:cubicBezTo>
                      <a:cubicBezTo>
                        <a:pt x="243135" y="187084"/>
                        <a:pt x="243611" y="154794"/>
                        <a:pt x="265995" y="136601"/>
                      </a:cubicBezTo>
                      <a:cubicBezTo>
                        <a:pt x="265995" y="136601"/>
                        <a:pt x="316382" y="115361"/>
                        <a:pt x="330384" y="123743"/>
                      </a:cubicBezTo>
                      <a:cubicBezTo>
                        <a:pt x="330479" y="123838"/>
                        <a:pt x="331432" y="134220"/>
                        <a:pt x="322383" y="13222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63" name="任意多边形: 形状 62">
                  <a:extLst>
                    <a:ext uri="{FF2B5EF4-FFF2-40B4-BE49-F238E27FC236}">
                      <a16:creationId xmlns:a16="http://schemas.microsoft.com/office/drawing/2014/main" id="{386C1219-9C22-4206-8B4B-506824DCD7C5}"/>
                    </a:ext>
                  </a:extLst>
                </p:cNvPr>
                <p:cNvSpPr/>
                <p:nvPr/>
              </p:nvSpPr>
              <p:spPr>
                <a:xfrm>
                  <a:off x="3196177" y="7003678"/>
                  <a:ext cx="20863" cy="20541"/>
                </a:xfrm>
                <a:custGeom>
                  <a:avLst/>
                  <a:gdLst>
                    <a:gd name="connsiteX0" fmla="*/ 19336 w 20863"/>
                    <a:gd name="connsiteY0" fmla="*/ 16342 h 20541"/>
                    <a:gd name="connsiteX1" fmla="*/ 9144 w 20863"/>
                    <a:gd name="connsiteY1" fmla="*/ 435 h 20541"/>
                    <a:gd name="connsiteX2" fmla="*/ 0 w 20863"/>
                    <a:gd name="connsiteY2" fmla="*/ 13103 h 20541"/>
                    <a:gd name="connsiteX3" fmla="*/ 19336 w 20863"/>
                    <a:gd name="connsiteY3" fmla="*/ 16342 h 20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0863" h="20541">
                      <a:moveTo>
                        <a:pt x="19336" y="16342"/>
                      </a:moveTo>
                      <a:cubicBezTo>
                        <a:pt x="25908" y="-1184"/>
                        <a:pt x="9144" y="435"/>
                        <a:pt x="9144" y="435"/>
                      </a:cubicBezTo>
                      <a:cubicBezTo>
                        <a:pt x="2286" y="-2803"/>
                        <a:pt x="0" y="13103"/>
                        <a:pt x="0" y="13103"/>
                      </a:cubicBezTo>
                      <a:cubicBezTo>
                        <a:pt x="9049" y="27677"/>
                        <a:pt x="19336" y="16342"/>
                        <a:pt x="19336" y="1634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64" name="任意多边形: 形状 63">
                  <a:extLst>
                    <a:ext uri="{FF2B5EF4-FFF2-40B4-BE49-F238E27FC236}">
                      <a16:creationId xmlns:a16="http://schemas.microsoft.com/office/drawing/2014/main" id="{762AC9A7-2B42-4953-B2D2-A577E323A6ED}"/>
                    </a:ext>
                  </a:extLst>
                </p:cNvPr>
                <p:cNvSpPr/>
                <p:nvPr/>
              </p:nvSpPr>
              <p:spPr>
                <a:xfrm>
                  <a:off x="3660235" y="6866655"/>
                  <a:ext cx="330803" cy="511528"/>
                </a:xfrm>
                <a:custGeom>
                  <a:avLst/>
                  <a:gdLst>
                    <a:gd name="connsiteX0" fmla="*/ 276987 w 330803"/>
                    <a:gd name="connsiteY0" fmla="*/ 188798 h 511528"/>
                    <a:gd name="connsiteX1" fmla="*/ 278225 w 330803"/>
                    <a:gd name="connsiteY1" fmla="*/ 181464 h 511528"/>
                    <a:gd name="connsiteX2" fmla="*/ 330803 w 330803"/>
                    <a:gd name="connsiteY2" fmla="*/ 165176 h 511528"/>
                    <a:gd name="connsiteX3" fmla="*/ 303467 w 330803"/>
                    <a:gd name="connsiteY3" fmla="*/ 75451 h 511528"/>
                    <a:gd name="connsiteX4" fmla="*/ 297942 w 330803"/>
                    <a:gd name="connsiteY4" fmla="*/ 85928 h 511528"/>
                    <a:gd name="connsiteX5" fmla="*/ 303181 w 330803"/>
                    <a:gd name="connsiteY5" fmla="*/ 131077 h 511528"/>
                    <a:gd name="connsiteX6" fmla="*/ 265652 w 330803"/>
                    <a:gd name="connsiteY6" fmla="*/ 145745 h 511528"/>
                    <a:gd name="connsiteX7" fmla="*/ 257651 w 330803"/>
                    <a:gd name="connsiteY7" fmla="*/ 141840 h 511528"/>
                    <a:gd name="connsiteX8" fmla="*/ 268414 w 330803"/>
                    <a:gd name="connsiteY8" fmla="*/ 96691 h 511528"/>
                    <a:gd name="connsiteX9" fmla="*/ 273749 w 330803"/>
                    <a:gd name="connsiteY9" fmla="*/ 489 h 511528"/>
                    <a:gd name="connsiteX10" fmla="*/ 263652 w 330803"/>
                    <a:gd name="connsiteY10" fmla="*/ 9823 h 511528"/>
                    <a:gd name="connsiteX11" fmla="*/ 244888 w 330803"/>
                    <a:gd name="connsiteY11" fmla="*/ 94691 h 511528"/>
                    <a:gd name="connsiteX12" fmla="*/ 236315 w 330803"/>
                    <a:gd name="connsiteY12" fmla="*/ 111265 h 511528"/>
                    <a:gd name="connsiteX13" fmla="*/ 229076 w 330803"/>
                    <a:gd name="connsiteY13" fmla="*/ 170606 h 511528"/>
                    <a:gd name="connsiteX14" fmla="*/ 219456 w 330803"/>
                    <a:gd name="connsiteY14" fmla="*/ 182512 h 511528"/>
                    <a:gd name="connsiteX15" fmla="*/ 197929 w 330803"/>
                    <a:gd name="connsiteY15" fmla="*/ 194323 h 511528"/>
                    <a:gd name="connsiteX16" fmla="*/ 194500 w 330803"/>
                    <a:gd name="connsiteY16" fmla="*/ 204896 h 511528"/>
                    <a:gd name="connsiteX17" fmla="*/ 152019 w 330803"/>
                    <a:gd name="connsiteY17" fmla="*/ 214421 h 511528"/>
                    <a:gd name="connsiteX18" fmla="*/ 162211 w 330803"/>
                    <a:gd name="connsiteY18" fmla="*/ 189274 h 511528"/>
                    <a:gd name="connsiteX19" fmla="*/ 185547 w 330803"/>
                    <a:gd name="connsiteY19" fmla="*/ 172701 h 511528"/>
                    <a:gd name="connsiteX20" fmla="*/ 177641 w 330803"/>
                    <a:gd name="connsiteY20" fmla="*/ 146317 h 511528"/>
                    <a:gd name="connsiteX21" fmla="*/ 164497 w 330803"/>
                    <a:gd name="connsiteY21" fmla="*/ 120028 h 511528"/>
                    <a:gd name="connsiteX22" fmla="*/ 167830 w 330803"/>
                    <a:gd name="connsiteY22" fmla="*/ 81832 h 511528"/>
                    <a:gd name="connsiteX23" fmla="*/ 154400 w 330803"/>
                    <a:gd name="connsiteY23" fmla="*/ 57830 h 511528"/>
                    <a:gd name="connsiteX24" fmla="*/ 134969 w 330803"/>
                    <a:gd name="connsiteY24" fmla="*/ 131743 h 511528"/>
                    <a:gd name="connsiteX25" fmla="*/ 125158 w 330803"/>
                    <a:gd name="connsiteY25" fmla="*/ 147555 h 511528"/>
                    <a:gd name="connsiteX26" fmla="*/ 112109 w 330803"/>
                    <a:gd name="connsiteY26" fmla="*/ 161461 h 511528"/>
                    <a:gd name="connsiteX27" fmla="*/ 52864 w 330803"/>
                    <a:gd name="connsiteY27" fmla="*/ 169653 h 511528"/>
                    <a:gd name="connsiteX28" fmla="*/ 53150 w 330803"/>
                    <a:gd name="connsiteY28" fmla="*/ 186607 h 511528"/>
                    <a:gd name="connsiteX29" fmla="*/ 107442 w 330803"/>
                    <a:gd name="connsiteY29" fmla="*/ 227184 h 511528"/>
                    <a:gd name="connsiteX30" fmla="*/ 0 w 330803"/>
                    <a:gd name="connsiteY30" fmla="*/ 376441 h 511528"/>
                    <a:gd name="connsiteX31" fmla="*/ 1429 w 330803"/>
                    <a:gd name="connsiteY31" fmla="*/ 436639 h 511528"/>
                    <a:gd name="connsiteX32" fmla="*/ 18574 w 330803"/>
                    <a:gd name="connsiteY32" fmla="*/ 434639 h 511528"/>
                    <a:gd name="connsiteX33" fmla="*/ 58674 w 330803"/>
                    <a:gd name="connsiteY33" fmla="*/ 380441 h 511528"/>
                    <a:gd name="connsiteX34" fmla="*/ 90583 w 330803"/>
                    <a:gd name="connsiteY34" fmla="*/ 390728 h 511528"/>
                    <a:gd name="connsiteX35" fmla="*/ 100679 w 330803"/>
                    <a:gd name="connsiteY35" fmla="*/ 463975 h 511528"/>
                    <a:gd name="connsiteX36" fmla="*/ 113252 w 330803"/>
                    <a:gd name="connsiteY36" fmla="*/ 461308 h 511528"/>
                    <a:gd name="connsiteX37" fmla="*/ 113633 w 330803"/>
                    <a:gd name="connsiteY37" fmla="*/ 448069 h 511528"/>
                    <a:gd name="connsiteX38" fmla="*/ 123730 w 330803"/>
                    <a:gd name="connsiteY38" fmla="*/ 376441 h 511528"/>
                    <a:gd name="connsiteX39" fmla="*/ 162592 w 330803"/>
                    <a:gd name="connsiteY39" fmla="*/ 365011 h 511528"/>
                    <a:gd name="connsiteX40" fmla="*/ 199739 w 330803"/>
                    <a:gd name="connsiteY40" fmla="*/ 322339 h 511528"/>
                    <a:gd name="connsiteX41" fmla="*/ 206216 w 330803"/>
                    <a:gd name="connsiteY41" fmla="*/ 366154 h 511528"/>
                    <a:gd name="connsiteX42" fmla="*/ 199454 w 330803"/>
                    <a:gd name="connsiteY42" fmla="*/ 453307 h 511528"/>
                    <a:gd name="connsiteX43" fmla="*/ 213360 w 330803"/>
                    <a:gd name="connsiteY43" fmla="*/ 507981 h 511528"/>
                    <a:gd name="connsiteX44" fmla="*/ 227838 w 330803"/>
                    <a:gd name="connsiteY44" fmla="*/ 498361 h 511528"/>
                    <a:gd name="connsiteX45" fmla="*/ 224314 w 330803"/>
                    <a:gd name="connsiteY45" fmla="*/ 487502 h 511528"/>
                    <a:gd name="connsiteX46" fmla="*/ 236220 w 330803"/>
                    <a:gd name="connsiteY46" fmla="*/ 294811 h 511528"/>
                    <a:gd name="connsiteX47" fmla="*/ 242888 w 330803"/>
                    <a:gd name="connsiteY47" fmla="*/ 215373 h 511528"/>
                    <a:gd name="connsiteX48" fmla="*/ 257366 w 330803"/>
                    <a:gd name="connsiteY48" fmla="*/ 197180 h 511528"/>
                    <a:gd name="connsiteX49" fmla="*/ 258794 w 330803"/>
                    <a:gd name="connsiteY49" fmla="*/ 196514 h 511528"/>
                    <a:gd name="connsiteX50" fmla="*/ 276987 w 330803"/>
                    <a:gd name="connsiteY50" fmla="*/ 188798 h 511528"/>
                    <a:gd name="connsiteX51" fmla="*/ 215932 w 330803"/>
                    <a:gd name="connsiteY51" fmla="*/ 273380 h 511528"/>
                    <a:gd name="connsiteX52" fmla="*/ 169831 w 330803"/>
                    <a:gd name="connsiteY52" fmla="*/ 314052 h 511528"/>
                    <a:gd name="connsiteX53" fmla="*/ 156782 w 330803"/>
                    <a:gd name="connsiteY53" fmla="*/ 333197 h 511528"/>
                    <a:gd name="connsiteX54" fmla="*/ 136779 w 330803"/>
                    <a:gd name="connsiteY54" fmla="*/ 339198 h 511528"/>
                    <a:gd name="connsiteX55" fmla="*/ 127730 w 330803"/>
                    <a:gd name="connsiteY55" fmla="*/ 309194 h 511528"/>
                    <a:gd name="connsiteX56" fmla="*/ 191357 w 330803"/>
                    <a:gd name="connsiteY56" fmla="*/ 232708 h 511528"/>
                    <a:gd name="connsiteX57" fmla="*/ 215932 w 330803"/>
                    <a:gd name="connsiteY57" fmla="*/ 273380 h 5115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</a:cxnLst>
                  <a:rect l="l" t="t" r="r" b="b"/>
                  <a:pathLst>
                    <a:path w="330803" h="511528">
                      <a:moveTo>
                        <a:pt x="276987" y="188798"/>
                      </a:moveTo>
                      <a:lnTo>
                        <a:pt x="278225" y="181464"/>
                      </a:lnTo>
                      <a:cubicBezTo>
                        <a:pt x="278225" y="181464"/>
                        <a:pt x="329470" y="172225"/>
                        <a:pt x="330803" y="165176"/>
                      </a:cubicBezTo>
                      <a:cubicBezTo>
                        <a:pt x="330803" y="165176"/>
                        <a:pt x="316516" y="66688"/>
                        <a:pt x="303467" y="75451"/>
                      </a:cubicBezTo>
                      <a:cubicBezTo>
                        <a:pt x="303467" y="75451"/>
                        <a:pt x="290798" y="80499"/>
                        <a:pt x="297942" y="85928"/>
                      </a:cubicBezTo>
                      <a:cubicBezTo>
                        <a:pt x="297942" y="85928"/>
                        <a:pt x="310515" y="116313"/>
                        <a:pt x="303181" y="131077"/>
                      </a:cubicBezTo>
                      <a:cubicBezTo>
                        <a:pt x="303181" y="131077"/>
                        <a:pt x="296513" y="151079"/>
                        <a:pt x="265652" y="145745"/>
                      </a:cubicBezTo>
                      <a:lnTo>
                        <a:pt x="257651" y="141840"/>
                      </a:lnTo>
                      <a:cubicBezTo>
                        <a:pt x="257651" y="141840"/>
                        <a:pt x="271082" y="109265"/>
                        <a:pt x="268414" y="96691"/>
                      </a:cubicBezTo>
                      <a:cubicBezTo>
                        <a:pt x="268414" y="96691"/>
                        <a:pt x="279654" y="5156"/>
                        <a:pt x="273749" y="489"/>
                      </a:cubicBezTo>
                      <a:cubicBezTo>
                        <a:pt x="273749" y="489"/>
                        <a:pt x="265747" y="-3226"/>
                        <a:pt x="263652" y="9823"/>
                      </a:cubicBezTo>
                      <a:cubicBezTo>
                        <a:pt x="263652" y="9823"/>
                        <a:pt x="252032" y="87452"/>
                        <a:pt x="244888" y="94691"/>
                      </a:cubicBezTo>
                      <a:cubicBezTo>
                        <a:pt x="244888" y="94691"/>
                        <a:pt x="242316" y="108979"/>
                        <a:pt x="236315" y="111265"/>
                      </a:cubicBezTo>
                      <a:cubicBezTo>
                        <a:pt x="236315" y="111265"/>
                        <a:pt x="224885" y="153175"/>
                        <a:pt x="229076" y="170606"/>
                      </a:cubicBezTo>
                      <a:cubicBezTo>
                        <a:pt x="229076" y="170606"/>
                        <a:pt x="222599" y="174130"/>
                        <a:pt x="219456" y="182512"/>
                      </a:cubicBezTo>
                      <a:cubicBezTo>
                        <a:pt x="217646" y="186226"/>
                        <a:pt x="197929" y="194323"/>
                        <a:pt x="197929" y="194323"/>
                      </a:cubicBezTo>
                      <a:lnTo>
                        <a:pt x="194500" y="204896"/>
                      </a:lnTo>
                      <a:lnTo>
                        <a:pt x="152019" y="214421"/>
                      </a:lnTo>
                      <a:cubicBezTo>
                        <a:pt x="152019" y="214421"/>
                        <a:pt x="137922" y="194418"/>
                        <a:pt x="162211" y="189274"/>
                      </a:cubicBezTo>
                      <a:cubicBezTo>
                        <a:pt x="162211" y="189274"/>
                        <a:pt x="182118" y="174987"/>
                        <a:pt x="185547" y="172701"/>
                      </a:cubicBezTo>
                      <a:cubicBezTo>
                        <a:pt x="188881" y="170415"/>
                        <a:pt x="186023" y="154508"/>
                        <a:pt x="177641" y="146317"/>
                      </a:cubicBezTo>
                      <a:cubicBezTo>
                        <a:pt x="177641" y="146317"/>
                        <a:pt x="166307" y="138792"/>
                        <a:pt x="164497" y="120028"/>
                      </a:cubicBezTo>
                      <a:cubicBezTo>
                        <a:pt x="162592" y="101073"/>
                        <a:pt x="168878" y="84309"/>
                        <a:pt x="167830" y="81832"/>
                      </a:cubicBezTo>
                      <a:cubicBezTo>
                        <a:pt x="166783" y="79261"/>
                        <a:pt x="175546" y="51067"/>
                        <a:pt x="154400" y="57830"/>
                      </a:cubicBezTo>
                      <a:cubicBezTo>
                        <a:pt x="154400" y="57830"/>
                        <a:pt x="144304" y="116027"/>
                        <a:pt x="134969" y="131743"/>
                      </a:cubicBezTo>
                      <a:cubicBezTo>
                        <a:pt x="134969" y="131743"/>
                        <a:pt x="136684" y="144983"/>
                        <a:pt x="125158" y="147555"/>
                      </a:cubicBezTo>
                      <a:cubicBezTo>
                        <a:pt x="113633" y="150032"/>
                        <a:pt x="112109" y="159080"/>
                        <a:pt x="112109" y="161461"/>
                      </a:cubicBezTo>
                      <a:cubicBezTo>
                        <a:pt x="112014" y="163557"/>
                        <a:pt x="75914" y="179464"/>
                        <a:pt x="52864" y="169653"/>
                      </a:cubicBezTo>
                      <a:cubicBezTo>
                        <a:pt x="52864" y="169653"/>
                        <a:pt x="39529" y="176130"/>
                        <a:pt x="53150" y="186607"/>
                      </a:cubicBezTo>
                      <a:lnTo>
                        <a:pt x="107442" y="227184"/>
                      </a:lnTo>
                      <a:cubicBezTo>
                        <a:pt x="107442" y="227184"/>
                        <a:pt x="122587" y="259664"/>
                        <a:pt x="0" y="376441"/>
                      </a:cubicBezTo>
                      <a:lnTo>
                        <a:pt x="1429" y="436639"/>
                      </a:lnTo>
                      <a:lnTo>
                        <a:pt x="18574" y="434639"/>
                      </a:lnTo>
                      <a:lnTo>
                        <a:pt x="58674" y="380441"/>
                      </a:lnTo>
                      <a:cubicBezTo>
                        <a:pt x="58674" y="380441"/>
                        <a:pt x="94202" y="356915"/>
                        <a:pt x="90583" y="390728"/>
                      </a:cubicBezTo>
                      <a:cubicBezTo>
                        <a:pt x="90583" y="390728"/>
                        <a:pt x="88868" y="452546"/>
                        <a:pt x="100679" y="463975"/>
                      </a:cubicBezTo>
                      <a:lnTo>
                        <a:pt x="113252" y="461308"/>
                      </a:lnTo>
                      <a:cubicBezTo>
                        <a:pt x="113252" y="461308"/>
                        <a:pt x="113919" y="459499"/>
                        <a:pt x="113633" y="448069"/>
                      </a:cubicBezTo>
                      <a:cubicBezTo>
                        <a:pt x="113633" y="448069"/>
                        <a:pt x="112776" y="376155"/>
                        <a:pt x="123730" y="376441"/>
                      </a:cubicBezTo>
                      <a:cubicBezTo>
                        <a:pt x="123730" y="376441"/>
                        <a:pt x="159067" y="376631"/>
                        <a:pt x="162592" y="365011"/>
                      </a:cubicBezTo>
                      <a:cubicBezTo>
                        <a:pt x="162592" y="365011"/>
                        <a:pt x="178308" y="310051"/>
                        <a:pt x="199739" y="322339"/>
                      </a:cubicBezTo>
                      <a:cubicBezTo>
                        <a:pt x="199739" y="322339"/>
                        <a:pt x="212693" y="318529"/>
                        <a:pt x="206216" y="366154"/>
                      </a:cubicBezTo>
                      <a:cubicBezTo>
                        <a:pt x="206216" y="366154"/>
                        <a:pt x="205930" y="442163"/>
                        <a:pt x="199454" y="453307"/>
                      </a:cubicBezTo>
                      <a:lnTo>
                        <a:pt x="213360" y="507981"/>
                      </a:lnTo>
                      <a:cubicBezTo>
                        <a:pt x="213360" y="507981"/>
                        <a:pt x="226885" y="520554"/>
                        <a:pt x="227838" y="498361"/>
                      </a:cubicBezTo>
                      <a:lnTo>
                        <a:pt x="224314" y="487502"/>
                      </a:lnTo>
                      <a:lnTo>
                        <a:pt x="236220" y="294811"/>
                      </a:lnTo>
                      <a:cubicBezTo>
                        <a:pt x="236220" y="294811"/>
                        <a:pt x="232886" y="220707"/>
                        <a:pt x="242888" y="215373"/>
                      </a:cubicBezTo>
                      <a:cubicBezTo>
                        <a:pt x="242888" y="215373"/>
                        <a:pt x="246412" y="202800"/>
                        <a:pt x="257366" y="197180"/>
                      </a:cubicBezTo>
                      <a:cubicBezTo>
                        <a:pt x="259461" y="196704"/>
                        <a:pt x="258318" y="196799"/>
                        <a:pt x="258794" y="196514"/>
                      </a:cubicBezTo>
                      <a:cubicBezTo>
                        <a:pt x="271082" y="191275"/>
                        <a:pt x="276987" y="188798"/>
                        <a:pt x="276987" y="188798"/>
                      </a:cubicBezTo>
                      <a:close/>
                      <a:moveTo>
                        <a:pt x="215932" y="273380"/>
                      </a:moveTo>
                      <a:cubicBezTo>
                        <a:pt x="215932" y="273380"/>
                        <a:pt x="178308" y="307194"/>
                        <a:pt x="169831" y="314052"/>
                      </a:cubicBezTo>
                      <a:cubicBezTo>
                        <a:pt x="161258" y="320815"/>
                        <a:pt x="174403" y="317481"/>
                        <a:pt x="156782" y="333197"/>
                      </a:cubicBezTo>
                      <a:cubicBezTo>
                        <a:pt x="139351" y="348818"/>
                        <a:pt x="136779" y="339198"/>
                        <a:pt x="136779" y="339198"/>
                      </a:cubicBezTo>
                      <a:cubicBezTo>
                        <a:pt x="105156" y="341579"/>
                        <a:pt x="127730" y="309194"/>
                        <a:pt x="127730" y="309194"/>
                      </a:cubicBezTo>
                      <a:cubicBezTo>
                        <a:pt x="149733" y="267475"/>
                        <a:pt x="191357" y="232708"/>
                        <a:pt x="191357" y="232708"/>
                      </a:cubicBezTo>
                      <a:cubicBezTo>
                        <a:pt x="235744" y="216230"/>
                        <a:pt x="215932" y="273380"/>
                        <a:pt x="215932" y="2733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65" name="任意多边形: 形状 64">
                  <a:extLst>
                    <a:ext uri="{FF2B5EF4-FFF2-40B4-BE49-F238E27FC236}">
                      <a16:creationId xmlns:a16="http://schemas.microsoft.com/office/drawing/2014/main" id="{51A214DB-1CBC-4C1C-A520-78CD3BC594A2}"/>
                    </a:ext>
                  </a:extLst>
                </p:cNvPr>
                <p:cNvSpPr/>
                <p:nvPr/>
              </p:nvSpPr>
              <p:spPr>
                <a:xfrm>
                  <a:off x="3932305" y="7170800"/>
                  <a:ext cx="102097" cy="51446"/>
                </a:xfrm>
                <a:custGeom>
                  <a:avLst/>
                  <a:gdLst>
                    <a:gd name="connsiteX0" fmla="*/ 85403 w 102097"/>
                    <a:gd name="connsiteY0" fmla="*/ 10763 h 51446"/>
                    <a:gd name="connsiteX1" fmla="*/ 67972 w 102097"/>
                    <a:gd name="connsiteY1" fmla="*/ 14383 h 51446"/>
                    <a:gd name="connsiteX2" fmla="*/ 52542 w 102097"/>
                    <a:gd name="connsiteY2" fmla="*/ 15240 h 51446"/>
                    <a:gd name="connsiteX3" fmla="*/ 5965 w 102097"/>
                    <a:gd name="connsiteY3" fmla="*/ 0 h 51446"/>
                    <a:gd name="connsiteX4" fmla="*/ 4250 w 102097"/>
                    <a:gd name="connsiteY4" fmla="*/ 12859 h 51446"/>
                    <a:gd name="connsiteX5" fmla="*/ 57495 w 102097"/>
                    <a:gd name="connsiteY5" fmla="*/ 51245 h 51446"/>
                    <a:gd name="connsiteX6" fmla="*/ 76450 w 102097"/>
                    <a:gd name="connsiteY6" fmla="*/ 39624 h 51446"/>
                    <a:gd name="connsiteX7" fmla="*/ 101691 w 102097"/>
                    <a:gd name="connsiteY7" fmla="*/ 13526 h 51446"/>
                    <a:gd name="connsiteX8" fmla="*/ 85403 w 102097"/>
                    <a:gd name="connsiteY8" fmla="*/ 10763 h 514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2097" h="51446">
                      <a:moveTo>
                        <a:pt x="85403" y="10763"/>
                      </a:moveTo>
                      <a:cubicBezTo>
                        <a:pt x="85403" y="10763"/>
                        <a:pt x="80164" y="18193"/>
                        <a:pt x="67972" y="14383"/>
                      </a:cubicBezTo>
                      <a:cubicBezTo>
                        <a:pt x="55876" y="10763"/>
                        <a:pt x="52542" y="15240"/>
                        <a:pt x="52542" y="15240"/>
                      </a:cubicBezTo>
                      <a:cubicBezTo>
                        <a:pt x="52542" y="15240"/>
                        <a:pt x="31587" y="14573"/>
                        <a:pt x="5965" y="0"/>
                      </a:cubicBezTo>
                      <a:cubicBezTo>
                        <a:pt x="5965" y="0"/>
                        <a:pt x="-6227" y="8192"/>
                        <a:pt x="4250" y="12859"/>
                      </a:cubicBezTo>
                      <a:cubicBezTo>
                        <a:pt x="14633" y="17717"/>
                        <a:pt x="39493" y="54483"/>
                        <a:pt x="57495" y="51245"/>
                      </a:cubicBezTo>
                      <a:cubicBezTo>
                        <a:pt x="57495" y="51245"/>
                        <a:pt x="68639" y="53245"/>
                        <a:pt x="76450" y="39624"/>
                      </a:cubicBezTo>
                      <a:cubicBezTo>
                        <a:pt x="76450" y="39624"/>
                        <a:pt x="97214" y="10096"/>
                        <a:pt x="101691" y="13526"/>
                      </a:cubicBezTo>
                      <a:cubicBezTo>
                        <a:pt x="101691" y="13621"/>
                        <a:pt x="106168" y="1905"/>
                        <a:pt x="85403" y="1076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66" name="任意多边形: 形状 65">
                  <a:extLst>
                    <a:ext uri="{FF2B5EF4-FFF2-40B4-BE49-F238E27FC236}">
                      <a16:creationId xmlns:a16="http://schemas.microsoft.com/office/drawing/2014/main" id="{55DAD39F-7886-4F26-BCC9-53D4EC587881}"/>
                    </a:ext>
                  </a:extLst>
                </p:cNvPr>
                <p:cNvSpPr/>
                <p:nvPr/>
              </p:nvSpPr>
              <p:spPr>
                <a:xfrm>
                  <a:off x="4264823" y="6951678"/>
                  <a:ext cx="354945" cy="422099"/>
                </a:xfrm>
                <a:custGeom>
                  <a:avLst/>
                  <a:gdLst>
                    <a:gd name="connsiteX0" fmla="*/ 349531 w 354945"/>
                    <a:gd name="connsiteY0" fmla="*/ 176260 h 422099"/>
                    <a:gd name="connsiteX1" fmla="*/ 287618 w 354945"/>
                    <a:gd name="connsiteY1" fmla="*/ 139969 h 422099"/>
                    <a:gd name="connsiteX2" fmla="*/ 294667 w 354945"/>
                    <a:gd name="connsiteY2" fmla="*/ 176450 h 422099"/>
                    <a:gd name="connsiteX3" fmla="*/ 205894 w 354945"/>
                    <a:gd name="connsiteY3" fmla="*/ 226361 h 422099"/>
                    <a:gd name="connsiteX4" fmla="*/ 242470 w 354945"/>
                    <a:gd name="connsiteY4" fmla="*/ 85201 h 422099"/>
                    <a:gd name="connsiteX5" fmla="*/ 227801 w 354945"/>
                    <a:gd name="connsiteY5" fmla="*/ 49672 h 422099"/>
                    <a:gd name="connsiteX6" fmla="*/ 179509 w 354945"/>
                    <a:gd name="connsiteY6" fmla="*/ 6143 h 422099"/>
                    <a:gd name="connsiteX7" fmla="*/ 160269 w 354945"/>
                    <a:gd name="connsiteY7" fmla="*/ 242554 h 422099"/>
                    <a:gd name="connsiteX8" fmla="*/ 72734 w 354945"/>
                    <a:gd name="connsiteY8" fmla="*/ 287417 h 422099"/>
                    <a:gd name="connsiteX9" fmla="*/ 15774 w 354945"/>
                    <a:gd name="connsiteY9" fmla="*/ 293417 h 422099"/>
                    <a:gd name="connsiteX10" fmla="*/ 53779 w 354945"/>
                    <a:gd name="connsiteY10" fmla="*/ 333041 h 422099"/>
                    <a:gd name="connsiteX11" fmla="*/ 125693 w 354945"/>
                    <a:gd name="connsiteY11" fmla="*/ 311419 h 422099"/>
                    <a:gd name="connsiteX12" fmla="*/ 125693 w 354945"/>
                    <a:gd name="connsiteY12" fmla="*/ 321325 h 422099"/>
                    <a:gd name="connsiteX13" fmla="*/ 1011 w 354945"/>
                    <a:gd name="connsiteY13" fmla="*/ 400383 h 422099"/>
                    <a:gd name="connsiteX14" fmla="*/ 34539 w 354945"/>
                    <a:gd name="connsiteY14" fmla="*/ 419909 h 422099"/>
                    <a:gd name="connsiteX15" fmla="*/ 80068 w 354945"/>
                    <a:gd name="connsiteY15" fmla="*/ 422100 h 422099"/>
                    <a:gd name="connsiteX16" fmla="*/ 185129 w 354945"/>
                    <a:gd name="connsiteY16" fmla="*/ 265128 h 422099"/>
                    <a:gd name="connsiteX17" fmla="*/ 335815 w 354945"/>
                    <a:gd name="connsiteY17" fmla="*/ 203406 h 422099"/>
                    <a:gd name="connsiteX18" fmla="*/ 349531 w 354945"/>
                    <a:gd name="connsiteY18" fmla="*/ 176260 h 422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354945" h="422099">
                      <a:moveTo>
                        <a:pt x="349531" y="176260"/>
                      </a:moveTo>
                      <a:cubicBezTo>
                        <a:pt x="349531" y="176260"/>
                        <a:pt x="316860" y="174450"/>
                        <a:pt x="287618" y="139969"/>
                      </a:cubicBezTo>
                      <a:cubicBezTo>
                        <a:pt x="287618" y="139969"/>
                        <a:pt x="269902" y="132445"/>
                        <a:pt x="294667" y="176450"/>
                      </a:cubicBezTo>
                      <a:cubicBezTo>
                        <a:pt x="294667" y="176450"/>
                        <a:pt x="304287" y="197691"/>
                        <a:pt x="205894" y="226361"/>
                      </a:cubicBezTo>
                      <a:cubicBezTo>
                        <a:pt x="205894" y="226361"/>
                        <a:pt x="211990" y="132445"/>
                        <a:pt x="242470" y="85201"/>
                      </a:cubicBezTo>
                      <a:cubicBezTo>
                        <a:pt x="242470" y="85201"/>
                        <a:pt x="251899" y="73009"/>
                        <a:pt x="227801" y="49672"/>
                      </a:cubicBezTo>
                      <a:cubicBezTo>
                        <a:pt x="227801" y="49672"/>
                        <a:pt x="187796" y="-20813"/>
                        <a:pt x="179509" y="6143"/>
                      </a:cubicBezTo>
                      <a:cubicBezTo>
                        <a:pt x="179509" y="6143"/>
                        <a:pt x="226372" y="67960"/>
                        <a:pt x="160269" y="242554"/>
                      </a:cubicBezTo>
                      <a:lnTo>
                        <a:pt x="72734" y="287417"/>
                      </a:lnTo>
                      <a:cubicBezTo>
                        <a:pt x="72734" y="287417"/>
                        <a:pt x="23775" y="287893"/>
                        <a:pt x="15774" y="293417"/>
                      </a:cubicBezTo>
                      <a:cubicBezTo>
                        <a:pt x="15774" y="293417"/>
                        <a:pt x="18537" y="324850"/>
                        <a:pt x="53779" y="333041"/>
                      </a:cubicBezTo>
                      <a:cubicBezTo>
                        <a:pt x="53779" y="333041"/>
                        <a:pt x="112167" y="308848"/>
                        <a:pt x="125693" y="311419"/>
                      </a:cubicBezTo>
                      <a:cubicBezTo>
                        <a:pt x="125693" y="311419"/>
                        <a:pt x="137695" y="313896"/>
                        <a:pt x="125693" y="321325"/>
                      </a:cubicBezTo>
                      <a:cubicBezTo>
                        <a:pt x="125693" y="321325"/>
                        <a:pt x="106072" y="411337"/>
                        <a:pt x="1011" y="400383"/>
                      </a:cubicBezTo>
                      <a:cubicBezTo>
                        <a:pt x="1011" y="400383"/>
                        <a:pt x="-9086" y="411908"/>
                        <a:pt x="34539" y="419909"/>
                      </a:cubicBezTo>
                      <a:lnTo>
                        <a:pt x="80068" y="422100"/>
                      </a:lnTo>
                      <a:cubicBezTo>
                        <a:pt x="80068" y="422100"/>
                        <a:pt x="135123" y="420481"/>
                        <a:pt x="185129" y="265128"/>
                      </a:cubicBezTo>
                      <a:lnTo>
                        <a:pt x="335815" y="203406"/>
                      </a:lnTo>
                      <a:cubicBezTo>
                        <a:pt x="335815" y="203406"/>
                        <a:pt x="367247" y="192262"/>
                        <a:pt x="349531" y="17626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67" name="任意多边形: 形状 66">
                  <a:extLst>
                    <a:ext uri="{FF2B5EF4-FFF2-40B4-BE49-F238E27FC236}">
                      <a16:creationId xmlns:a16="http://schemas.microsoft.com/office/drawing/2014/main" id="{DD5B929A-C420-4D8D-A024-39F854020EE8}"/>
                    </a:ext>
                  </a:extLst>
                </p:cNvPr>
                <p:cNvSpPr/>
                <p:nvPr/>
              </p:nvSpPr>
              <p:spPr>
                <a:xfrm>
                  <a:off x="4504912" y="7262329"/>
                  <a:ext cx="163353" cy="115793"/>
                </a:xfrm>
                <a:custGeom>
                  <a:avLst/>
                  <a:gdLst>
                    <a:gd name="connsiteX0" fmla="*/ 150685 w 163353"/>
                    <a:gd name="connsiteY0" fmla="*/ 44108 h 115793"/>
                    <a:gd name="connsiteX1" fmla="*/ 25717 w 163353"/>
                    <a:gd name="connsiteY1" fmla="*/ 10199 h 115793"/>
                    <a:gd name="connsiteX2" fmla="*/ 0 w 163353"/>
                    <a:gd name="connsiteY2" fmla="*/ 7532 h 115793"/>
                    <a:gd name="connsiteX3" fmla="*/ 46291 w 163353"/>
                    <a:gd name="connsiteY3" fmla="*/ 95162 h 115793"/>
                    <a:gd name="connsiteX4" fmla="*/ 99822 w 163353"/>
                    <a:gd name="connsiteY4" fmla="*/ 106116 h 115793"/>
                    <a:gd name="connsiteX5" fmla="*/ 163354 w 163353"/>
                    <a:gd name="connsiteY5" fmla="*/ 50299 h 115793"/>
                    <a:gd name="connsiteX6" fmla="*/ 150685 w 163353"/>
                    <a:gd name="connsiteY6" fmla="*/ 44108 h 1157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3353" h="115793">
                      <a:moveTo>
                        <a:pt x="150685" y="44108"/>
                      </a:moveTo>
                      <a:cubicBezTo>
                        <a:pt x="150685" y="44108"/>
                        <a:pt x="88868" y="82399"/>
                        <a:pt x="25717" y="10199"/>
                      </a:cubicBezTo>
                      <a:cubicBezTo>
                        <a:pt x="25717" y="10199"/>
                        <a:pt x="11716" y="-10851"/>
                        <a:pt x="0" y="7532"/>
                      </a:cubicBezTo>
                      <a:cubicBezTo>
                        <a:pt x="0" y="7532"/>
                        <a:pt x="24098" y="24677"/>
                        <a:pt x="46291" y="95162"/>
                      </a:cubicBezTo>
                      <a:cubicBezTo>
                        <a:pt x="46291" y="95162"/>
                        <a:pt x="74676" y="133072"/>
                        <a:pt x="99822" y="106116"/>
                      </a:cubicBezTo>
                      <a:lnTo>
                        <a:pt x="163354" y="50299"/>
                      </a:lnTo>
                      <a:cubicBezTo>
                        <a:pt x="163354" y="50204"/>
                        <a:pt x="160972" y="40869"/>
                        <a:pt x="150685" y="4410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68" name="任意多边形: 形状 67">
                  <a:extLst>
                    <a:ext uri="{FF2B5EF4-FFF2-40B4-BE49-F238E27FC236}">
                      <a16:creationId xmlns:a16="http://schemas.microsoft.com/office/drawing/2014/main" id="{98E01595-0EEC-455B-A1E3-75E438D61FF4}"/>
                    </a:ext>
                  </a:extLst>
                </p:cNvPr>
                <p:cNvSpPr/>
                <p:nvPr/>
              </p:nvSpPr>
              <p:spPr>
                <a:xfrm>
                  <a:off x="4966684" y="6947060"/>
                  <a:ext cx="33623" cy="67054"/>
                </a:xfrm>
                <a:custGeom>
                  <a:avLst/>
                  <a:gdLst>
                    <a:gd name="connsiteX0" fmla="*/ 33623 w 33623"/>
                    <a:gd name="connsiteY0" fmla="*/ 35146 h 67054"/>
                    <a:gd name="connsiteX1" fmla="*/ 28575 w 33623"/>
                    <a:gd name="connsiteY1" fmla="*/ 28288 h 67054"/>
                    <a:gd name="connsiteX2" fmla="*/ 0 w 33623"/>
                    <a:gd name="connsiteY2" fmla="*/ 8666 h 67054"/>
                    <a:gd name="connsiteX3" fmla="*/ 9620 w 33623"/>
                    <a:gd name="connsiteY3" fmla="*/ 67054 h 67054"/>
                    <a:gd name="connsiteX4" fmla="*/ 33623 w 33623"/>
                    <a:gd name="connsiteY4" fmla="*/ 35146 h 670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623" h="67054">
                      <a:moveTo>
                        <a:pt x="33623" y="35146"/>
                      </a:moveTo>
                      <a:lnTo>
                        <a:pt x="28575" y="28288"/>
                      </a:lnTo>
                      <a:cubicBezTo>
                        <a:pt x="28575" y="28288"/>
                        <a:pt x="16859" y="-18957"/>
                        <a:pt x="0" y="8666"/>
                      </a:cubicBezTo>
                      <a:cubicBezTo>
                        <a:pt x="0" y="8666"/>
                        <a:pt x="1238" y="61720"/>
                        <a:pt x="9620" y="67054"/>
                      </a:cubicBezTo>
                      <a:cubicBezTo>
                        <a:pt x="9716" y="67054"/>
                        <a:pt x="33528" y="48957"/>
                        <a:pt x="33623" y="3514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69" name="任意多边形: 形状 68">
                  <a:extLst>
                    <a:ext uri="{FF2B5EF4-FFF2-40B4-BE49-F238E27FC236}">
                      <a16:creationId xmlns:a16="http://schemas.microsoft.com/office/drawing/2014/main" id="{69DCF05C-B704-44DC-AC5E-A62BB866834E}"/>
                    </a:ext>
                  </a:extLst>
                </p:cNvPr>
                <p:cNvSpPr/>
                <p:nvPr/>
              </p:nvSpPr>
              <p:spPr>
                <a:xfrm>
                  <a:off x="4898750" y="6783404"/>
                  <a:ext cx="384548" cy="413822"/>
                </a:xfrm>
                <a:custGeom>
                  <a:avLst/>
                  <a:gdLst>
                    <a:gd name="connsiteX0" fmla="*/ 367971 w 384548"/>
                    <a:gd name="connsiteY0" fmla="*/ 239473 h 413822"/>
                    <a:gd name="connsiteX1" fmla="*/ 280532 w 384548"/>
                    <a:gd name="connsiteY1" fmla="*/ 243854 h 413822"/>
                    <a:gd name="connsiteX2" fmla="*/ 298153 w 384548"/>
                    <a:gd name="connsiteY2" fmla="*/ 198134 h 413822"/>
                    <a:gd name="connsiteX3" fmla="*/ 372829 w 384548"/>
                    <a:gd name="connsiteY3" fmla="*/ 100884 h 413822"/>
                    <a:gd name="connsiteX4" fmla="*/ 357780 w 384548"/>
                    <a:gd name="connsiteY4" fmla="*/ 67166 h 413822"/>
                    <a:gd name="connsiteX5" fmla="*/ 322442 w 384548"/>
                    <a:gd name="connsiteY5" fmla="*/ 69166 h 413822"/>
                    <a:gd name="connsiteX6" fmla="*/ 234907 w 384548"/>
                    <a:gd name="connsiteY6" fmla="*/ 100313 h 413822"/>
                    <a:gd name="connsiteX7" fmla="*/ 225763 w 384548"/>
                    <a:gd name="connsiteY7" fmla="*/ 96312 h 413822"/>
                    <a:gd name="connsiteX8" fmla="*/ 245956 w 384548"/>
                    <a:gd name="connsiteY8" fmla="*/ 78786 h 413822"/>
                    <a:gd name="connsiteX9" fmla="*/ 264720 w 384548"/>
                    <a:gd name="connsiteY9" fmla="*/ 48878 h 413822"/>
                    <a:gd name="connsiteX10" fmla="*/ 275484 w 384548"/>
                    <a:gd name="connsiteY10" fmla="*/ 18874 h 413822"/>
                    <a:gd name="connsiteX11" fmla="*/ 270340 w 384548"/>
                    <a:gd name="connsiteY11" fmla="*/ 2872 h 413822"/>
                    <a:gd name="connsiteX12" fmla="*/ 251195 w 384548"/>
                    <a:gd name="connsiteY12" fmla="*/ 586 h 413822"/>
                    <a:gd name="connsiteX13" fmla="*/ 247290 w 384548"/>
                    <a:gd name="connsiteY13" fmla="*/ 10587 h 413822"/>
                    <a:gd name="connsiteX14" fmla="*/ 245290 w 384548"/>
                    <a:gd name="connsiteY14" fmla="*/ 33923 h 413822"/>
                    <a:gd name="connsiteX15" fmla="*/ 219382 w 384548"/>
                    <a:gd name="connsiteY15" fmla="*/ 70404 h 413822"/>
                    <a:gd name="connsiteX16" fmla="*/ 203284 w 384548"/>
                    <a:gd name="connsiteY16" fmla="*/ 89454 h 413822"/>
                    <a:gd name="connsiteX17" fmla="*/ 168518 w 384548"/>
                    <a:gd name="connsiteY17" fmla="*/ 121839 h 413822"/>
                    <a:gd name="connsiteX18" fmla="*/ 175757 w 384548"/>
                    <a:gd name="connsiteY18" fmla="*/ 132317 h 413822"/>
                    <a:gd name="connsiteX19" fmla="*/ 181377 w 384548"/>
                    <a:gd name="connsiteY19" fmla="*/ 154986 h 413822"/>
                    <a:gd name="connsiteX20" fmla="*/ 180996 w 384548"/>
                    <a:gd name="connsiteY20" fmla="*/ 164607 h 413822"/>
                    <a:gd name="connsiteX21" fmla="*/ 168804 w 384548"/>
                    <a:gd name="connsiteY21" fmla="*/ 175179 h 413822"/>
                    <a:gd name="connsiteX22" fmla="*/ 158612 w 384548"/>
                    <a:gd name="connsiteY22" fmla="*/ 172703 h 413822"/>
                    <a:gd name="connsiteX23" fmla="*/ 152326 w 384548"/>
                    <a:gd name="connsiteY23" fmla="*/ 175084 h 413822"/>
                    <a:gd name="connsiteX24" fmla="*/ 147277 w 384548"/>
                    <a:gd name="connsiteY24" fmla="*/ 139651 h 413822"/>
                    <a:gd name="connsiteX25" fmla="*/ 142038 w 384548"/>
                    <a:gd name="connsiteY25" fmla="*/ 117934 h 413822"/>
                    <a:gd name="connsiteX26" fmla="*/ 124417 w 384548"/>
                    <a:gd name="connsiteY26" fmla="*/ 100884 h 413822"/>
                    <a:gd name="connsiteX27" fmla="*/ 107368 w 384548"/>
                    <a:gd name="connsiteY27" fmla="*/ 100503 h 413822"/>
                    <a:gd name="connsiteX28" fmla="*/ 105177 w 384548"/>
                    <a:gd name="connsiteY28" fmla="*/ 118124 h 413822"/>
                    <a:gd name="connsiteX29" fmla="*/ 118321 w 384548"/>
                    <a:gd name="connsiteY29" fmla="*/ 170226 h 413822"/>
                    <a:gd name="connsiteX30" fmla="*/ 117464 w 384548"/>
                    <a:gd name="connsiteY30" fmla="*/ 191086 h 413822"/>
                    <a:gd name="connsiteX31" fmla="*/ 134704 w 384548"/>
                    <a:gd name="connsiteY31" fmla="*/ 201278 h 413822"/>
                    <a:gd name="connsiteX32" fmla="*/ 140324 w 384548"/>
                    <a:gd name="connsiteY32" fmla="*/ 211850 h 413822"/>
                    <a:gd name="connsiteX33" fmla="*/ 128799 w 384548"/>
                    <a:gd name="connsiteY33" fmla="*/ 246331 h 413822"/>
                    <a:gd name="connsiteX34" fmla="*/ 154230 w 384548"/>
                    <a:gd name="connsiteY34" fmla="*/ 228329 h 413822"/>
                    <a:gd name="connsiteX35" fmla="*/ 183377 w 384548"/>
                    <a:gd name="connsiteY35" fmla="*/ 236234 h 413822"/>
                    <a:gd name="connsiteX36" fmla="*/ 183853 w 384548"/>
                    <a:gd name="connsiteY36" fmla="*/ 268334 h 413822"/>
                    <a:gd name="connsiteX37" fmla="*/ 53742 w 384548"/>
                    <a:gd name="connsiteY37" fmla="*/ 340057 h 413822"/>
                    <a:gd name="connsiteX38" fmla="*/ 37168 w 384548"/>
                    <a:gd name="connsiteY38" fmla="*/ 350534 h 413822"/>
                    <a:gd name="connsiteX39" fmla="*/ 72030 w 384548"/>
                    <a:gd name="connsiteY39" fmla="*/ 287098 h 413822"/>
                    <a:gd name="connsiteX40" fmla="*/ 39835 w 384548"/>
                    <a:gd name="connsiteY40" fmla="*/ 308624 h 413822"/>
                    <a:gd name="connsiteX41" fmla="*/ 24214 w 384548"/>
                    <a:gd name="connsiteY41" fmla="*/ 338438 h 413822"/>
                    <a:gd name="connsiteX42" fmla="*/ 3354 w 384548"/>
                    <a:gd name="connsiteY42" fmla="*/ 364632 h 413822"/>
                    <a:gd name="connsiteX43" fmla="*/ 1259 w 384548"/>
                    <a:gd name="connsiteY43" fmla="*/ 384920 h 413822"/>
                    <a:gd name="connsiteX44" fmla="*/ 2974 w 384548"/>
                    <a:gd name="connsiteY44" fmla="*/ 399779 h 413822"/>
                    <a:gd name="connsiteX45" fmla="*/ 592 w 384548"/>
                    <a:gd name="connsiteY45" fmla="*/ 408351 h 413822"/>
                    <a:gd name="connsiteX46" fmla="*/ 35740 w 384548"/>
                    <a:gd name="connsiteY46" fmla="*/ 387396 h 413822"/>
                    <a:gd name="connsiteX47" fmla="*/ 61838 w 384548"/>
                    <a:gd name="connsiteY47" fmla="*/ 357583 h 413822"/>
                    <a:gd name="connsiteX48" fmla="*/ 136895 w 384548"/>
                    <a:gd name="connsiteY48" fmla="*/ 308815 h 413822"/>
                    <a:gd name="connsiteX49" fmla="*/ 202713 w 384548"/>
                    <a:gd name="connsiteY49" fmla="*/ 282812 h 413822"/>
                    <a:gd name="connsiteX50" fmla="*/ 218143 w 384548"/>
                    <a:gd name="connsiteY50" fmla="*/ 290432 h 413822"/>
                    <a:gd name="connsiteX51" fmla="*/ 250243 w 384548"/>
                    <a:gd name="connsiteY51" fmla="*/ 273763 h 413822"/>
                    <a:gd name="connsiteX52" fmla="*/ 322823 w 384548"/>
                    <a:gd name="connsiteY52" fmla="*/ 263571 h 413822"/>
                    <a:gd name="connsiteX53" fmla="*/ 256434 w 384548"/>
                    <a:gd name="connsiteY53" fmla="*/ 296718 h 413822"/>
                    <a:gd name="connsiteX54" fmla="*/ 244337 w 384548"/>
                    <a:gd name="connsiteY54" fmla="*/ 302433 h 413822"/>
                    <a:gd name="connsiteX55" fmla="*/ 215000 w 384548"/>
                    <a:gd name="connsiteY55" fmla="*/ 308243 h 413822"/>
                    <a:gd name="connsiteX56" fmla="*/ 210047 w 384548"/>
                    <a:gd name="connsiteY56" fmla="*/ 318626 h 413822"/>
                    <a:gd name="connsiteX57" fmla="*/ 368734 w 384548"/>
                    <a:gd name="connsiteY57" fmla="*/ 273953 h 413822"/>
                    <a:gd name="connsiteX58" fmla="*/ 367971 w 384548"/>
                    <a:gd name="connsiteY58" fmla="*/ 239473 h 413822"/>
                    <a:gd name="connsiteX59" fmla="*/ 210142 w 384548"/>
                    <a:gd name="connsiteY59" fmla="*/ 172512 h 413822"/>
                    <a:gd name="connsiteX60" fmla="*/ 215381 w 384548"/>
                    <a:gd name="connsiteY60" fmla="*/ 145080 h 413822"/>
                    <a:gd name="connsiteX61" fmla="*/ 246147 w 384548"/>
                    <a:gd name="connsiteY61" fmla="*/ 161940 h 413822"/>
                    <a:gd name="connsiteX62" fmla="*/ 229573 w 384548"/>
                    <a:gd name="connsiteY62" fmla="*/ 177370 h 413822"/>
                    <a:gd name="connsiteX63" fmla="*/ 210142 w 384548"/>
                    <a:gd name="connsiteY63" fmla="*/ 172512 h 413822"/>
                    <a:gd name="connsiteX64" fmla="*/ 235098 w 384548"/>
                    <a:gd name="connsiteY64" fmla="*/ 249093 h 413822"/>
                    <a:gd name="connsiteX65" fmla="*/ 210428 w 384548"/>
                    <a:gd name="connsiteY65" fmla="*/ 222614 h 413822"/>
                    <a:gd name="connsiteX66" fmla="*/ 264625 w 384548"/>
                    <a:gd name="connsiteY66" fmla="*/ 190991 h 413822"/>
                    <a:gd name="connsiteX67" fmla="*/ 269864 w 384548"/>
                    <a:gd name="connsiteY67" fmla="*/ 160320 h 413822"/>
                    <a:gd name="connsiteX68" fmla="*/ 319966 w 384548"/>
                    <a:gd name="connsiteY68" fmla="*/ 92978 h 413822"/>
                    <a:gd name="connsiteX69" fmla="*/ 336920 w 384548"/>
                    <a:gd name="connsiteY69" fmla="*/ 103837 h 413822"/>
                    <a:gd name="connsiteX70" fmla="*/ 286533 w 384548"/>
                    <a:gd name="connsiteY70" fmla="*/ 177656 h 413822"/>
                    <a:gd name="connsiteX71" fmla="*/ 235098 w 384548"/>
                    <a:gd name="connsiteY71" fmla="*/ 249093 h 4138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</a:cxnLst>
                  <a:rect l="l" t="t" r="r" b="b"/>
                  <a:pathLst>
                    <a:path w="384548" h="413822">
                      <a:moveTo>
                        <a:pt x="367971" y="239473"/>
                      </a:moveTo>
                      <a:cubicBezTo>
                        <a:pt x="367971" y="239473"/>
                        <a:pt x="343302" y="227662"/>
                        <a:pt x="280532" y="243854"/>
                      </a:cubicBezTo>
                      <a:cubicBezTo>
                        <a:pt x="280532" y="243854"/>
                        <a:pt x="254243" y="224519"/>
                        <a:pt x="298153" y="198134"/>
                      </a:cubicBezTo>
                      <a:cubicBezTo>
                        <a:pt x="298153" y="198134"/>
                        <a:pt x="353494" y="119744"/>
                        <a:pt x="372829" y="100884"/>
                      </a:cubicBezTo>
                      <a:cubicBezTo>
                        <a:pt x="372829" y="100884"/>
                        <a:pt x="407405" y="54402"/>
                        <a:pt x="357780" y="67166"/>
                      </a:cubicBezTo>
                      <a:cubicBezTo>
                        <a:pt x="357780" y="67166"/>
                        <a:pt x="332348" y="74595"/>
                        <a:pt x="322442" y="69166"/>
                      </a:cubicBezTo>
                      <a:cubicBezTo>
                        <a:pt x="322442" y="69166"/>
                        <a:pt x="252243" y="85358"/>
                        <a:pt x="234907" y="100313"/>
                      </a:cubicBezTo>
                      <a:cubicBezTo>
                        <a:pt x="234907" y="100313"/>
                        <a:pt x="215095" y="115648"/>
                        <a:pt x="225763" y="96312"/>
                      </a:cubicBezTo>
                      <a:cubicBezTo>
                        <a:pt x="225763" y="96312"/>
                        <a:pt x="233669" y="80024"/>
                        <a:pt x="245956" y="78786"/>
                      </a:cubicBezTo>
                      <a:lnTo>
                        <a:pt x="264720" y="48878"/>
                      </a:lnTo>
                      <a:cubicBezTo>
                        <a:pt x="264720" y="48878"/>
                        <a:pt x="285104" y="28113"/>
                        <a:pt x="275484" y="18874"/>
                      </a:cubicBezTo>
                      <a:lnTo>
                        <a:pt x="270340" y="2872"/>
                      </a:lnTo>
                      <a:cubicBezTo>
                        <a:pt x="270340" y="2872"/>
                        <a:pt x="255862" y="3920"/>
                        <a:pt x="251195" y="586"/>
                      </a:cubicBezTo>
                      <a:cubicBezTo>
                        <a:pt x="246623" y="-2939"/>
                        <a:pt x="247290" y="10587"/>
                        <a:pt x="247290" y="10587"/>
                      </a:cubicBezTo>
                      <a:cubicBezTo>
                        <a:pt x="247290" y="10587"/>
                        <a:pt x="241860" y="28018"/>
                        <a:pt x="245290" y="33923"/>
                      </a:cubicBezTo>
                      <a:cubicBezTo>
                        <a:pt x="248528" y="39734"/>
                        <a:pt x="227668" y="74976"/>
                        <a:pt x="219382" y="70404"/>
                      </a:cubicBezTo>
                      <a:cubicBezTo>
                        <a:pt x="219382" y="70404"/>
                        <a:pt x="204713" y="85358"/>
                        <a:pt x="203284" y="89454"/>
                      </a:cubicBezTo>
                      <a:cubicBezTo>
                        <a:pt x="201855" y="93550"/>
                        <a:pt x="164136" y="99741"/>
                        <a:pt x="168518" y="121839"/>
                      </a:cubicBezTo>
                      <a:cubicBezTo>
                        <a:pt x="168518" y="121839"/>
                        <a:pt x="170137" y="129269"/>
                        <a:pt x="175757" y="132317"/>
                      </a:cubicBezTo>
                      <a:cubicBezTo>
                        <a:pt x="181472" y="135460"/>
                        <a:pt x="183377" y="152795"/>
                        <a:pt x="181377" y="154986"/>
                      </a:cubicBezTo>
                      <a:cubicBezTo>
                        <a:pt x="179377" y="157272"/>
                        <a:pt x="189473" y="160987"/>
                        <a:pt x="180996" y="164607"/>
                      </a:cubicBezTo>
                      <a:cubicBezTo>
                        <a:pt x="172519" y="168226"/>
                        <a:pt x="168804" y="175179"/>
                        <a:pt x="168804" y="175179"/>
                      </a:cubicBezTo>
                      <a:lnTo>
                        <a:pt x="158612" y="172703"/>
                      </a:lnTo>
                      <a:lnTo>
                        <a:pt x="152326" y="175084"/>
                      </a:lnTo>
                      <a:cubicBezTo>
                        <a:pt x="152326" y="175084"/>
                        <a:pt x="133657" y="154129"/>
                        <a:pt x="147277" y="139651"/>
                      </a:cubicBezTo>
                      <a:lnTo>
                        <a:pt x="142038" y="117934"/>
                      </a:lnTo>
                      <a:cubicBezTo>
                        <a:pt x="142038" y="117934"/>
                        <a:pt x="124989" y="108599"/>
                        <a:pt x="124417" y="100884"/>
                      </a:cubicBezTo>
                      <a:cubicBezTo>
                        <a:pt x="124417" y="100884"/>
                        <a:pt x="110892" y="86978"/>
                        <a:pt x="107368" y="100503"/>
                      </a:cubicBezTo>
                      <a:cubicBezTo>
                        <a:pt x="107368" y="100503"/>
                        <a:pt x="113559" y="108885"/>
                        <a:pt x="105177" y="118124"/>
                      </a:cubicBezTo>
                      <a:cubicBezTo>
                        <a:pt x="105177" y="118124"/>
                        <a:pt x="127560" y="154891"/>
                        <a:pt x="118321" y="170226"/>
                      </a:cubicBezTo>
                      <a:cubicBezTo>
                        <a:pt x="118321" y="170226"/>
                        <a:pt x="127179" y="188228"/>
                        <a:pt x="117464" y="191086"/>
                      </a:cubicBezTo>
                      <a:cubicBezTo>
                        <a:pt x="117464" y="191086"/>
                        <a:pt x="124036" y="204421"/>
                        <a:pt x="134704" y="201278"/>
                      </a:cubicBezTo>
                      <a:cubicBezTo>
                        <a:pt x="134704" y="201278"/>
                        <a:pt x="156421" y="194324"/>
                        <a:pt x="140324" y="211850"/>
                      </a:cubicBezTo>
                      <a:cubicBezTo>
                        <a:pt x="140324" y="211850"/>
                        <a:pt x="128799" y="235758"/>
                        <a:pt x="128799" y="246331"/>
                      </a:cubicBezTo>
                      <a:cubicBezTo>
                        <a:pt x="128799" y="246331"/>
                        <a:pt x="143372" y="249474"/>
                        <a:pt x="154230" y="228329"/>
                      </a:cubicBezTo>
                      <a:cubicBezTo>
                        <a:pt x="154230" y="228329"/>
                        <a:pt x="177662" y="210993"/>
                        <a:pt x="183377" y="236234"/>
                      </a:cubicBezTo>
                      <a:cubicBezTo>
                        <a:pt x="183377" y="236234"/>
                        <a:pt x="208428" y="260618"/>
                        <a:pt x="183853" y="268334"/>
                      </a:cubicBezTo>
                      <a:cubicBezTo>
                        <a:pt x="183853" y="268334"/>
                        <a:pt x="126418" y="272906"/>
                        <a:pt x="53742" y="340057"/>
                      </a:cubicBezTo>
                      <a:cubicBezTo>
                        <a:pt x="53742" y="340057"/>
                        <a:pt x="48789" y="359393"/>
                        <a:pt x="37168" y="350534"/>
                      </a:cubicBezTo>
                      <a:lnTo>
                        <a:pt x="72030" y="287098"/>
                      </a:lnTo>
                      <a:cubicBezTo>
                        <a:pt x="72030" y="287098"/>
                        <a:pt x="78030" y="247855"/>
                        <a:pt x="39835" y="308624"/>
                      </a:cubicBezTo>
                      <a:lnTo>
                        <a:pt x="24214" y="338438"/>
                      </a:lnTo>
                      <a:cubicBezTo>
                        <a:pt x="24214" y="338438"/>
                        <a:pt x="3926" y="348629"/>
                        <a:pt x="3354" y="364632"/>
                      </a:cubicBezTo>
                      <a:cubicBezTo>
                        <a:pt x="3354" y="364632"/>
                        <a:pt x="5641" y="379776"/>
                        <a:pt x="1259" y="384920"/>
                      </a:cubicBezTo>
                      <a:cubicBezTo>
                        <a:pt x="-3123" y="389777"/>
                        <a:pt x="5545" y="396350"/>
                        <a:pt x="2974" y="399779"/>
                      </a:cubicBezTo>
                      <a:cubicBezTo>
                        <a:pt x="307" y="403208"/>
                        <a:pt x="3354" y="406541"/>
                        <a:pt x="592" y="408351"/>
                      </a:cubicBezTo>
                      <a:cubicBezTo>
                        <a:pt x="-1884" y="410066"/>
                        <a:pt x="16023" y="428163"/>
                        <a:pt x="35740" y="387396"/>
                      </a:cubicBezTo>
                      <a:cubicBezTo>
                        <a:pt x="35740" y="387396"/>
                        <a:pt x="59171" y="371585"/>
                        <a:pt x="61838" y="357583"/>
                      </a:cubicBezTo>
                      <a:cubicBezTo>
                        <a:pt x="64600" y="343581"/>
                        <a:pt x="124608" y="311768"/>
                        <a:pt x="136895" y="308815"/>
                      </a:cubicBezTo>
                      <a:cubicBezTo>
                        <a:pt x="136895" y="308815"/>
                        <a:pt x="176328" y="277287"/>
                        <a:pt x="202713" y="282812"/>
                      </a:cubicBezTo>
                      <a:lnTo>
                        <a:pt x="218143" y="290432"/>
                      </a:lnTo>
                      <a:cubicBezTo>
                        <a:pt x="218143" y="290432"/>
                        <a:pt x="247004" y="282526"/>
                        <a:pt x="250243" y="273763"/>
                      </a:cubicBezTo>
                      <a:cubicBezTo>
                        <a:pt x="250243" y="273763"/>
                        <a:pt x="311965" y="250427"/>
                        <a:pt x="322823" y="263571"/>
                      </a:cubicBezTo>
                      <a:cubicBezTo>
                        <a:pt x="322823" y="263571"/>
                        <a:pt x="345302" y="271953"/>
                        <a:pt x="256434" y="296718"/>
                      </a:cubicBezTo>
                      <a:lnTo>
                        <a:pt x="244337" y="302433"/>
                      </a:lnTo>
                      <a:cubicBezTo>
                        <a:pt x="244337" y="302433"/>
                        <a:pt x="221477" y="297957"/>
                        <a:pt x="215000" y="308243"/>
                      </a:cubicBezTo>
                      <a:cubicBezTo>
                        <a:pt x="215000" y="308243"/>
                        <a:pt x="207475" y="317292"/>
                        <a:pt x="210047" y="318626"/>
                      </a:cubicBezTo>
                      <a:cubicBezTo>
                        <a:pt x="212619" y="320054"/>
                        <a:pt x="293677" y="330246"/>
                        <a:pt x="368734" y="273953"/>
                      </a:cubicBezTo>
                      <a:cubicBezTo>
                        <a:pt x="368638" y="274144"/>
                        <a:pt x="400357" y="245950"/>
                        <a:pt x="367971" y="239473"/>
                      </a:cubicBezTo>
                      <a:close/>
                      <a:moveTo>
                        <a:pt x="210142" y="172512"/>
                      </a:moveTo>
                      <a:cubicBezTo>
                        <a:pt x="223096" y="153557"/>
                        <a:pt x="215381" y="145080"/>
                        <a:pt x="215381" y="145080"/>
                      </a:cubicBezTo>
                      <a:cubicBezTo>
                        <a:pt x="234431" y="143175"/>
                        <a:pt x="246147" y="161940"/>
                        <a:pt x="246147" y="161940"/>
                      </a:cubicBezTo>
                      <a:cubicBezTo>
                        <a:pt x="244337" y="168416"/>
                        <a:pt x="229573" y="177370"/>
                        <a:pt x="229573" y="177370"/>
                      </a:cubicBezTo>
                      <a:cubicBezTo>
                        <a:pt x="209380" y="191657"/>
                        <a:pt x="210142" y="172512"/>
                        <a:pt x="210142" y="172512"/>
                      </a:cubicBezTo>
                      <a:close/>
                      <a:moveTo>
                        <a:pt x="235098" y="249093"/>
                      </a:moveTo>
                      <a:cubicBezTo>
                        <a:pt x="235098" y="249093"/>
                        <a:pt x="205380" y="268905"/>
                        <a:pt x="210428" y="222614"/>
                      </a:cubicBezTo>
                      <a:cubicBezTo>
                        <a:pt x="210428" y="222614"/>
                        <a:pt x="247480" y="192134"/>
                        <a:pt x="264625" y="190991"/>
                      </a:cubicBezTo>
                      <a:cubicBezTo>
                        <a:pt x="264625" y="190991"/>
                        <a:pt x="279199" y="176132"/>
                        <a:pt x="269864" y="160320"/>
                      </a:cubicBezTo>
                      <a:cubicBezTo>
                        <a:pt x="269864" y="160320"/>
                        <a:pt x="245766" y="95550"/>
                        <a:pt x="319966" y="92978"/>
                      </a:cubicBezTo>
                      <a:cubicBezTo>
                        <a:pt x="325490" y="91835"/>
                        <a:pt x="345969" y="81167"/>
                        <a:pt x="336920" y="103837"/>
                      </a:cubicBezTo>
                      <a:cubicBezTo>
                        <a:pt x="336920" y="103837"/>
                        <a:pt x="330348" y="132126"/>
                        <a:pt x="286533" y="177656"/>
                      </a:cubicBezTo>
                      <a:cubicBezTo>
                        <a:pt x="286628" y="177751"/>
                        <a:pt x="257291" y="245855"/>
                        <a:pt x="235098" y="24909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70" name="任意多边形: 形状 69">
                  <a:extLst>
                    <a:ext uri="{FF2B5EF4-FFF2-40B4-BE49-F238E27FC236}">
                      <a16:creationId xmlns:a16="http://schemas.microsoft.com/office/drawing/2014/main" id="{61121FDE-9DC8-42BB-823F-257D90E537F2}"/>
                    </a:ext>
                  </a:extLst>
                </p:cNvPr>
                <p:cNvSpPr/>
                <p:nvPr/>
              </p:nvSpPr>
              <p:spPr>
                <a:xfrm>
                  <a:off x="4950886" y="7113746"/>
                  <a:ext cx="241545" cy="264420"/>
                </a:xfrm>
                <a:custGeom>
                  <a:avLst/>
                  <a:gdLst>
                    <a:gd name="connsiteX0" fmla="*/ 188771 w 241545"/>
                    <a:gd name="connsiteY0" fmla="*/ 58579 h 264420"/>
                    <a:gd name="connsiteX1" fmla="*/ 159625 w 241545"/>
                    <a:gd name="connsiteY1" fmla="*/ 61436 h 264420"/>
                    <a:gd name="connsiteX2" fmla="*/ 179151 w 241545"/>
                    <a:gd name="connsiteY2" fmla="*/ 27241 h 264420"/>
                    <a:gd name="connsiteX3" fmla="*/ 167054 w 241545"/>
                    <a:gd name="connsiteY3" fmla="*/ 0 h 264420"/>
                    <a:gd name="connsiteX4" fmla="*/ 105618 w 241545"/>
                    <a:gd name="connsiteY4" fmla="*/ 21241 h 264420"/>
                    <a:gd name="connsiteX5" fmla="*/ 74948 w 241545"/>
                    <a:gd name="connsiteY5" fmla="*/ 26384 h 264420"/>
                    <a:gd name="connsiteX6" fmla="*/ 73328 w 241545"/>
                    <a:gd name="connsiteY6" fmla="*/ 44291 h 264420"/>
                    <a:gd name="connsiteX7" fmla="*/ 104570 w 241545"/>
                    <a:gd name="connsiteY7" fmla="*/ 48482 h 264420"/>
                    <a:gd name="connsiteX8" fmla="*/ 105809 w 241545"/>
                    <a:gd name="connsiteY8" fmla="*/ 76009 h 264420"/>
                    <a:gd name="connsiteX9" fmla="*/ 91807 w 241545"/>
                    <a:gd name="connsiteY9" fmla="*/ 83725 h 264420"/>
                    <a:gd name="connsiteX10" fmla="*/ 34752 w 241545"/>
                    <a:gd name="connsiteY10" fmla="*/ 90869 h 264420"/>
                    <a:gd name="connsiteX11" fmla="*/ 25513 w 241545"/>
                    <a:gd name="connsiteY11" fmla="*/ 106394 h 264420"/>
                    <a:gd name="connsiteX12" fmla="*/ 85997 w 241545"/>
                    <a:gd name="connsiteY12" fmla="*/ 110966 h 264420"/>
                    <a:gd name="connsiteX13" fmla="*/ 115429 w 241545"/>
                    <a:gd name="connsiteY13" fmla="*/ 103441 h 264420"/>
                    <a:gd name="connsiteX14" fmla="*/ 115334 w 241545"/>
                    <a:gd name="connsiteY14" fmla="*/ 132016 h 264420"/>
                    <a:gd name="connsiteX15" fmla="*/ 116286 w 241545"/>
                    <a:gd name="connsiteY15" fmla="*/ 151257 h 264420"/>
                    <a:gd name="connsiteX16" fmla="*/ 112000 w 241545"/>
                    <a:gd name="connsiteY16" fmla="*/ 169354 h 264420"/>
                    <a:gd name="connsiteX17" fmla="*/ 103046 w 241545"/>
                    <a:gd name="connsiteY17" fmla="*/ 203645 h 264420"/>
                    <a:gd name="connsiteX18" fmla="*/ 9701 w 241545"/>
                    <a:gd name="connsiteY18" fmla="*/ 187642 h 264420"/>
                    <a:gd name="connsiteX19" fmla="*/ 1415 w 241545"/>
                    <a:gd name="connsiteY19" fmla="*/ 202787 h 264420"/>
                    <a:gd name="connsiteX20" fmla="*/ 88759 w 241545"/>
                    <a:gd name="connsiteY20" fmla="*/ 253841 h 264420"/>
                    <a:gd name="connsiteX21" fmla="*/ 123906 w 241545"/>
                    <a:gd name="connsiteY21" fmla="*/ 262509 h 264420"/>
                    <a:gd name="connsiteX22" fmla="*/ 148671 w 241545"/>
                    <a:gd name="connsiteY22" fmla="*/ 244221 h 264420"/>
                    <a:gd name="connsiteX23" fmla="*/ 149528 w 241545"/>
                    <a:gd name="connsiteY23" fmla="*/ 221932 h 264420"/>
                    <a:gd name="connsiteX24" fmla="*/ 147147 w 241545"/>
                    <a:gd name="connsiteY24" fmla="*/ 141256 h 264420"/>
                    <a:gd name="connsiteX25" fmla="*/ 149338 w 241545"/>
                    <a:gd name="connsiteY25" fmla="*/ 96774 h 264420"/>
                    <a:gd name="connsiteX26" fmla="*/ 234492 w 241545"/>
                    <a:gd name="connsiteY26" fmla="*/ 86201 h 264420"/>
                    <a:gd name="connsiteX27" fmla="*/ 241540 w 241545"/>
                    <a:gd name="connsiteY27" fmla="*/ 67246 h 264420"/>
                    <a:gd name="connsiteX28" fmla="*/ 188771 w 241545"/>
                    <a:gd name="connsiteY28" fmla="*/ 58579 h 264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241545" h="264420">
                      <a:moveTo>
                        <a:pt x="188771" y="58579"/>
                      </a:moveTo>
                      <a:cubicBezTo>
                        <a:pt x="168769" y="72866"/>
                        <a:pt x="159625" y="61436"/>
                        <a:pt x="159625" y="61436"/>
                      </a:cubicBezTo>
                      <a:cubicBezTo>
                        <a:pt x="160577" y="44672"/>
                        <a:pt x="179151" y="27241"/>
                        <a:pt x="179151" y="27241"/>
                      </a:cubicBezTo>
                      <a:cubicBezTo>
                        <a:pt x="187438" y="8858"/>
                        <a:pt x="167054" y="0"/>
                        <a:pt x="167054" y="0"/>
                      </a:cubicBezTo>
                      <a:cubicBezTo>
                        <a:pt x="159530" y="12382"/>
                        <a:pt x="120668" y="22003"/>
                        <a:pt x="105618" y="21241"/>
                      </a:cubicBezTo>
                      <a:cubicBezTo>
                        <a:pt x="90569" y="20193"/>
                        <a:pt x="74948" y="26384"/>
                        <a:pt x="74948" y="26384"/>
                      </a:cubicBezTo>
                      <a:cubicBezTo>
                        <a:pt x="65804" y="29528"/>
                        <a:pt x="73328" y="44291"/>
                        <a:pt x="73328" y="44291"/>
                      </a:cubicBezTo>
                      <a:cubicBezTo>
                        <a:pt x="79901" y="54578"/>
                        <a:pt x="104570" y="48482"/>
                        <a:pt x="104570" y="48482"/>
                      </a:cubicBezTo>
                      <a:cubicBezTo>
                        <a:pt x="134765" y="48578"/>
                        <a:pt x="105809" y="76009"/>
                        <a:pt x="105809" y="76009"/>
                      </a:cubicBezTo>
                      <a:lnTo>
                        <a:pt x="91807" y="83725"/>
                      </a:lnTo>
                      <a:cubicBezTo>
                        <a:pt x="73995" y="104394"/>
                        <a:pt x="34752" y="90869"/>
                        <a:pt x="34752" y="90869"/>
                      </a:cubicBezTo>
                      <a:lnTo>
                        <a:pt x="25513" y="106394"/>
                      </a:lnTo>
                      <a:cubicBezTo>
                        <a:pt x="30276" y="149828"/>
                        <a:pt x="85997" y="110966"/>
                        <a:pt x="85997" y="110966"/>
                      </a:cubicBezTo>
                      <a:cubicBezTo>
                        <a:pt x="104856" y="95821"/>
                        <a:pt x="115048" y="99822"/>
                        <a:pt x="115429" y="103441"/>
                      </a:cubicBezTo>
                      <a:cubicBezTo>
                        <a:pt x="116001" y="107061"/>
                        <a:pt x="121906" y="123158"/>
                        <a:pt x="115334" y="132016"/>
                      </a:cubicBezTo>
                      <a:cubicBezTo>
                        <a:pt x="109047" y="140684"/>
                        <a:pt x="114000" y="145161"/>
                        <a:pt x="116286" y="151257"/>
                      </a:cubicBezTo>
                      <a:cubicBezTo>
                        <a:pt x="118572" y="157448"/>
                        <a:pt x="107428" y="166021"/>
                        <a:pt x="112000" y="169354"/>
                      </a:cubicBezTo>
                      <a:cubicBezTo>
                        <a:pt x="116667" y="172688"/>
                        <a:pt x="103046" y="203645"/>
                        <a:pt x="103046" y="203645"/>
                      </a:cubicBezTo>
                      <a:cubicBezTo>
                        <a:pt x="72947" y="225552"/>
                        <a:pt x="24275" y="190690"/>
                        <a:pt x="9701" y="187642"/>
                      </a:cubicBezTo>
                      <a:cubicBezTo>
                        <a:pt x="-5062" y="184499"/>
                        <a:pt x="1415" y="202787"/>
                        <a:pt x="1415" y="202787"/>
                      </a:cubicBezTo>
                      <a:lnTo>
                        <a:pt x="88759" y="253841"/>
                      </a:lnTo>
                      <a:cubicBezTo>
                        <a:pt x="101427" y="264986"/>
                        <a:pt x="123906" y="262509"/>
                        <a:pt x="123906" y="262509"/>
                      </a:cubicBezTo>
                      <a:cubicBezTo>
                        <a:pt x="142194" y="270986"/>
                        <a:pt x="151052" y="248793"/>
                        <a:pt x="148671" y="244221"/>
                      </a:cubicBezTo>
                      <a:cubicBezTo>
                        <a:pt x="146290" y="239649"/>
                        <a:pt x="149528" y="221932"/>
                        <a:pt x="149528" y="221932"/>
                      </a:cubicBezTo>
                      <a:cubicBezTo>
                        <a:pt x="155053" y="202882"/>
                        <a:pt x="147147" y="141256"/>
                        <a:pt x="147147" y="141256"/>
                      </a:cubicBezTo>
                      <a:cubicBezTo>
                        <a:pt x="140480" y="90869"/>
                        <a:pt x="149338" y="96774"/>
                        <a:pt x="149338" y="96774"/>
                      </a:cubicBezTo>
                      <a:lnTo>
                        <a:pt x="234492" y="86201"/>
                      </a:lnTo>
                      <a:cubicBezTo>
                        <a:pt x="242016" y="77248"/>
                        <a:pt x="241540" y="67246"/>
                        <a:pt x="241540" y="67246"/>
                      </a:cubicBezTo>
                      <a:cubicBezTo>
                        <a:pt x="226110" y="35719"/>
                        <a:pt x="188771" y="58579"/>
                        <a:pt x="188771" y="5857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</p:grpSp>
          <p:grpSp>
            <p:nvGrpSpPr>
              <p:cNvPr id="15" name="图形 7">
                <a:extLst>
                  <a:ext uri="{FF2B5EF4-FFF2-40B4-BE49-F238E27FC236}">
                    <a16:creationId xmlns:a16="http://schemas.microsoft.com/office/drawing/2014/main" id="{8564CE06-0978-4189-9ADF-B5826DE81172}"/>
                  </a:ext>
                </a:extLst>
              </p:cNvPr>
              <p:cNvGrpSpPr/>
              <p:nvPr/>
            </p:nvGrpSpPr>
            <p:grpSpPr>
              <a:xfrm>
                <a:off x="1848485" y="7538180"/>
                <a:ext cx="3473005" cy="102684"/>
                <a:chOff x="1848485" y="7538180"/>
                <a:chExt cx="3473005" cy="102684"/>
              </a:xfrm>
              <a:grpFill/>
            </p:grpSpPr>
            <p:sp>
              <p:nvSpPr>
                <p:cNvPr id="16" name="任意多边形: 形状 15">
                  <a:extLst>
                    <a:ext uri="{FF2B5EF4-FFF2-40B4-BE49-F238E27FC236}">
                      <a16:creationId xmlns:a16="http://schemas.microsoft.com/office/drawing/2014/main" id="{BFFCF26E-F909-43C9-990D-634E1670460B}"/>
                    </a:ext>
                  </a:extLst>
                </p:cNvPr>
                <p:cNvSpPr/>
                <p:nvPr/>
              </p:nvSpPr>
              <p:spPr>
                <a:xfrm>
                  <a:off x="1848485" y="7540275"/>
                  <a:ext cx="64007" cy="99441"/>
                </a:xfrm>
                <a:custGeom>
                  <a:avLst/>
                  <a:gdLst>
                    <a:gd name="connsiteX0" fmla="*/ 0 w 64007"/>
                    <a:gd name="connsiteY0" fmla="*/ 99441 h 99441"/>
                    <a:gd name="connsiteX1" fmla="*/ 0 w 64007"/>
                    <a:gd name="connsiteY1" fmla="*/ 0 h 99441"/>
                    <a:gd name="connsiteX2" fmla="*/ 64008 w 64007"/>
                    <a:gd name="connsiteY2" fmla="*/ 0 h 99441"/>
                    <a:gd name="connsiteX3" fmla="*/ 64008 w 64007"/>
                    <a:gd name="connsiteY3" fmla="*/ 16669 h 99441"/>
                    <a:gd name="connsiteX4" fmla="*/ 20955 w 64007"/>
                    <a:gd name="connsiteY4" fmla="*/ 16669 h 99441"/>
                    <a:gd name="connsiteX5" fmla="*/ 20955 w 64007"/>
                    <a:gd name="connsiteY5" fmla="*/ 40291 h 99441"/>
                    <a:gd name="connsiteX6" fmla="*/ 61246 w 64007"/>
                    <a:gd name="connsiteY6" fmla="*/ 40291 h 99441"/>
                    <a:gd name="connsiteX7" fmla="*/ 61246 w 64007"/>
                    <a:gd name="connsiteY7" fmla="*/ 56959 h 99441"/>
                    <a:gd name="connsiteX8" fmla="*/ 20955 w 64007"/>
                    <a:gd name="connsiteY8" fmla="*/ 56959 h 99441"/>
                    <a:gd name="connsiteX9" fmla="*/ 20955 w 64007"/>
                    <a:gd name="connsiteY9" fmla="*/ 99441 h 99441"/>
                    <a:gd name="connsiteX10" fmla="*/ 0 w 64007"/>
                    <a:gd name="connsiteY10" fmla="*/ 99441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4007" h="99441">
                      <a:moveTo>
                        <a:pt x="0" y="99441"/>
                      </a:moveTo>
                      <a:lnTo>
                        <a:pt x="0" y="0"/>
                      </a:lnTo>
                      <a:lnTo>
                        <a:pt x="64008" y="0"/>
                      </a:lnTo>
                      <a:lnTo>
                        <a:pt x="64008" y="16669"/>
                      </a:lnTo>
                      <a:lnTo>
                        <a:pt x="20955" y="16669"/>
                      </a:lnTo>
                      <a:lnTo>
                        <a:pt x="20955" y="40291"/>
                      </a:lnTo>
                      <a:lnTo>
                        <a:pt x="61246" y="40291"/>
                      </a:lnTo>
                      <a:lnTo>
                        <a:pt x="61246" y="56959"/>
                      </a:lnTo>
                      <a:lnTo>
                        <a:pt x="20955" y="56959"/>
                      </a:lnTo>
                      <a:lnTo>
                        <a:pt x="20955" y="99441"/>
                      </a:lnTo>
                      <a:lnTo>
                        <a:pt x="0" y="9944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7" name="任意多边形: 形状 16">
                  <a:extLst>
                    <a:ext uri="{FF2B5EF4-FFF2-40B4-BE49-F238E27FC236}">
                      <a16:creationId xmlns:a16="http://schemas.microsoft.com/office/drawing/2014/main" id="{0881F19A-9CD8-43EE-95B2-2BA1E9EF5DE6}"/>
                    </a:ext>
                  </a:extLst>
                </p:cNvPr>
                <p:cNvSpPr/>
                <p:nvPr/>
              </p:nvSpPr>
              <p:spPr>
                <a:xfrm>
                  <a:off x="1925446" y="7540371"/>
                  <a:ext cx="86486" cy="100488"/>
                </a:xfrm>
                <a:custGeom>
                  <a:avLst/>
                  <a:gdLst>
                    <a:gd name="connsiteX0" fmla="*/ 86487 w 86486"/>
                    <a:gd name="connsiteY0" fmla="*/ 0 h 100488"/>
                    <a:gd name="connsiteX1" fmla="*/ 86487 w 86486"/>
                    <a:gd name="connsiteY1" fmla="*/ 62293 h 100488"/>
                    <a:gd name="connsiteX2" fmla="*/ 43529 w 86486"/>
                    <a:gd name="connsiteY2" fmla="*/ 100489 h 100488"/>
                    <a:gd name="connsiteX3" fmla="*/ 0 w 86486"/>
                    <a:gd name="connsiteY3" fmla="*/ 62293 h 100488"/>
                    <a:gd name="connsiteX4" fmla="*/ 0 w 86486"/>
                    <a:gd name="connsiteY4" fmla="*/ 0 h 100488"/>
                    <a:gd name="connsiteX5" fmla="*/ 21527 w 86486"/>
                    <a:gd name="connsiteY5" fmla="*/ 0 h 100488"/>
                    <a:gd name="connsiteX6" fmla="*/ 21527 w 86486"/>
                    <a:gd name="connsiteY6" fmla="*/ 54292 h 100488"/>
                    <a:gd name="connsiteX7" fmla="*/ 25813 w 86486"/>
                    <a:gd name="connsiteY7" fmla="*/ 78486 h 100488"/>
                    <a:gd name="connsiteX8" fmla="*/ 43529 w 86486"/>
                    <a:gd name="connsiteY8" fmla="*/ 86011 h 100488"/>
                    <a:gd name="connsiteX9" fmla="*/ 60674 w 86486"/>
                    <a:gd name="connsiteY9" fmla="*/ 78486 h 100488"/>
                    <a:gd name="connsiteX10" fmla="*/ 64960 w 86486"/>
                    <a:gd name="connsiteY10" fmla="*/ 54292 h 100488"/>
                    <a:gd name="connsiteX11" fmla="*/ 64960 w 86486"/>
                    <a:gd name="connsiteY11" fmla="*/ 0 h 100488"/>
                    <a:gd name="connsiteX12" fmla="*/ 86487 w 86486"/>
                    <a:gd name="connsiteY12" fmla="*/ 0 h 1004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6486" h="100488">
                      <a:moveTo>
                        <a:pt x="86487" y="0"/>
                      </a:moveTo>
                      <a:lnTo>
                        <a:pt x="86487" y="62293"/>
                      </a:lnTo>
                      <a:cubicBezTo>
                        <a:pt x="85439" y="87058"/>
                        <a:pt x="71057" y="99822"/>
                        <a:pt x="43529" y="100489"/>
                      </a:cubicBezTo>
                      <a:cubicBezTo>
                        <a:pt x="15240" y="99822"/>
                        <a:pt x="762" y="87058"/>
                        <a:pt x="0" y="62293"/>
                      </a:cubicBezTo>
                      <a:lnTo>
                        <a:pt x="0" y="0"/>
                      </a:lnTo>
                      <a:lnTo>
                        <a:pt x="21527" y="0"/>
                      </a:lnTo>
                      <a:lnTo>
                        <a:pt x="21527" y="54292"/>
                      </a:lnTo>
                      <a:cubicBezTo>
                        <a:pt x="21146" y="66103"/>
                        <a:pt x="22574" y="74200"/>
                        <a:pt x="25813" y="78486"/>
                      </a:cubicBezTo>
                      <a:cubicBezTo>
                        <a:pt x="29432" y="83534"/>
                        <a:pt x="35338" y="86011"/>
                        <a:pt x="43529" y="86011"/>
                      </a:cubicBezTo>
                      <a:cubicBezTo>
                        <a:pt x="51721" y="86011"/>
                        <a:pt x="57531" y="83534"/>
                        <a:pt x="60674" y="78486"/>
                      </a:cubicBezTo>
                      <a:cubicBezTo>
                        <a:pt x="63913" y="74200"/>
                        <a:pt x="65342" y="66199"/>
                        <a:pt x="64960" y="54292"/>
                      </a:cubicBezTo>
                      <a:lnTo>
                        <a:pt x="64960" y="0"/>
                      </a:lnTo>
                      <a:lnTo>
                        <a:pt x="86487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8" name="任意多边形: 形状 17">
                  <a:extLst>
                    <a:ext uri="{FF2B5EF4-FFF2-40B4-BE49-F238E27FC236}">
                      <a16:creationId xmlns:a16="http://schemas.microsoft.com/office/drawing/2014/main" id="{36CEB456-C58C-4769-8D1B-431BFCCE4FB6}"/>
                    </a:ext>
                  </a:extLst>
                </p:cNvPr>
                <p:cNvSpPr/>
                <p:nvPr/>
              </p:nvSpPr>
              <p:spPr>
                <a:xfrm>
                  <a:off x="2023173" y="7540275"/>
                  <a:ext cx="66675" cy="100589"/>
                </a:xfrm>
                <a:custGeom>
                  <a:avLst/>
                  <a:gdLst>
                    <a:gd name="connsiteX0" fmla="*/ 66675 w 66675"/>
                    <a:gd name="connsiteY0" fmla="*/ 95 h 100589"/>
                    <a:gd name="connsiteX1" fmla="*/ 66675 w 66675"/>
                    <a:gd name="connsiteY1" fmla="*/ 66675 h 100589"/>
                    <a:gd name="connsiteX2" fmla="*/ 33338 w 66675"/>
                    <a:gd name="connsiteY2" fmla="*/ 100584 h 100589"/>
                    <a:gd name="connsiteX3" fmla="*/ 0 w 66675"/>
                    <a:gd name="connsiteY3" fmla="*/ 67723 h 100589"/>
                    <a:gd name="connsiteX4" fmla="*/ 21527 w 66675"/>
                    <a:gd name="connsiteY4" fmla="*/ 67723 h 100589"/>
                    <a:gd name="connsiteX5" fmla="*/ 33338 w 66675"/>
                    <a:gd name="connsiteY5" fmla="*/ 86011 h 100589"/>
                    <a:gd name="connsiteX6" fmla="*/ 45720 w 66675"/>
                    <a:gd name="connsiteY6" fmla="*/ 67723 h 100589"/>
                    <a:gd name="connsiteX7" fmla="*/ 45720 w 66675"/>
                    <a:gd name="connsiteY7" fmla="*/ 66104 h 100589"/>
                    <a:gd name="connsiteX8" fmla="*/ 45720 w 66675"/>
                    <a:gd name="connsiteY8" fmla="*/ 0 h 100589"/>
                    <a:gd name="connsiteX9" fmla="*/ 66675 w 66675"/>
                    <a:gd name="connsiteY9" fmla="*/ 0 h 1005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6675" h="100589">
                      <a:moveTo>
                        <a:pt x="66675" y="95"/>
                      </a:moveTo>
                      <a:lnTo>
                        <a:pt x="66675" y="66675"/>
                      </a:lnTo>
                      <a:cubicBezTo>
                        <a:pt x="66294" y="88582"/>
                        <a:pt x="55150" y="99917"/>
                        <a:pt x="33338" y="100584"/>
                      </a:cubicBezTo>
                      <a:cubicBezTo>
                        <a:pt x="12192" y="100870"/>
                        <a:pt x="1048" y="90011"/>
                        <a:pt x="0" y="67723"/>
                      </a:cubicBezTo>
                      <a:lnTo>
                        <a:pt x="21527" y="67723"/>
                      </a:lnTo>
                      <a:cubicBezTo>
                        <a:pt x="21527" y="79915"/>
                        <a:pt x="25527" y="86011"/>
                        <a:pt x="33338" y="86011"/>
                      </a:cubicBezTo>
                      <a:cubicBezTo>
                        <a:pt x="40577" y="86011"/>
                        <a:pt x="44672" y="79915"/>
                        <a:pt x="45720" y="67723"/>
                      </a:cubicBezTo>
                      <a:cubicBezTo>
                        <a:pt x="45720" y="67056"/>
                        <a:pt x="45720" y="66484"/>
                        <a:pt x="45720" y="66104"/>
                      </a:cubicBezTo>
                      <a:lnTo>
                        <a:pt x="45720" y="0"/>
                      </a:lnTo>
                      <a:lnTo>
                        <a:pt x="66675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9" name="任意多边形: 形状 18">
                  <a:extLst>
                    <a:ext uri="{FF2B5EF4-FFF2-40B4-BE49-F238E27FC236}">
                      <a16:creationId xmlns:a16="http://schemas.microsoft.com/office/drawing/2014/main" id="{506F5BF2-2C74-4D46-8A13-2E299B204A1A}"/>
                    </a:ext>
                  </a:extLst>
                </p:cNvPr>
                <p:cNvSpPr/>
                <p:nvPr/>
              </p:nvSpPr>
              <p:spPr>
                <a:xfrm>
                  <a:off x="2106993" y="7540275"/>
                  <a:ext cx="21526" cy="99441"/>
                </a:xfrm>
                <a:custGeom>
                  <a:avLst/>
                  <a:gdLst>
                    <a:gd name="connsiteX0" fmla="*/ 21526 w 21526"/>
                    <a:gd name="connsiteY0" fmla="*/ 99441 h 99441"/>
                    <a:gd name="connsiteX1" fmla="*/ 0 w 21526"/>
                    <a:gd name="connsiteY1" fmla="*/ 99441 h 99441"/>
                    <a:gd name="connsiteX2" fmla="*/ 0 w 21526"/>
                    <a:gd name="connsiteY2" fmla="*/ 0 h 99441"/>
                    <a:gd name="connsiteX3" fmla="*/ 21526 w 21526"/>
                    <a:gd name="connsiteY3" fmla="*/ 0 h 99441"/>
                    <a:gd name="connsiteX4" fmla="*/ 21526 w 21526"/>
                    <a:gd name="connsiteY4" fmla="*/ 99441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526" h="99441">
                      <a:moveTo>
                        <a:pt x="21526" y="99441"/>
                      </a:move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21526" y="0"/>
                      </a:lnTo>
                      <a:lnTo>
                        <a:pt x="21526" y="9944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20" name="任意多边形: 形状 19">
                  <a:extLst>
                    <a:ext uri="{FF2B5EF4-FFF2-40B4-BE49-F238E27FC236}">
                      <a16:creationId xmlns:a16="http://schemas.microsoft.com/office/drawing/2014/main" id="{54CEBB06-F9F3-4A15-A099-F6EB9895DB64}"/>
                    </a:ext>
                  </a:extLst>
                </p:cNvPr>
                <p:cNvSpPr/>
                <p:nvPr/>
              </p:nvSpPr>
              <p:spPr>
                <a:xfrm>
                  <a:off x="2138140" y="7540275"/>
                  <a:ext cx="96202" cy="99441"/>
                </a:xfrm>
                <a:custGeom>
                  <a:avLst/>
                  <a:gdLst>
                    <a:gd name="connsiteX0" fmla="*/ 0 w 96202"/>
                    <a:gd name="connsiteY0" fmla="*/ 99441 h 99441"/>
                    <a:gd name="connsiteX1" fmla="*/ 36004 w 96202"/>
                    <a:gd name="connsiteY1" fmla="*/ 0 h 99441"/>
                    <a:gd name="connsiteX2" fmla="*/ 61246 w 96202"/>
                    <a:gd name="connsiteY2" fmla="*/ 0 h 99441"/>
                    <a:gd name="connsiteX3" fmla="*/ 96202 w 96202"/>
                    <a:gd name="connsiteY3" fmla="*/ 99441 h 99441"/>
                    <a:gd name="connsiteX4" fmla="*/ 74676 w 96202"/>
                    <a:gd name="connsiteY4" fmla="*/ 99441 h 99441"/>
                    <a:gd name="connsiteX5" fmla="*/ 67151 w 96202"/>
                    <a:gd name="connsiteY5" fmla="*/ 78486 h 99441"/>
                    <a:gd name="connsiteX6" fmla="*/ 27908 w 96202"/>
                    <a:gd name="connsiteY6" fmla="*/ 78486 h 99441"/>
                    <a:gd name="connsiteX7" fmla="*/ 20383 w 96202"/>
                    <a:gd name="connsiteY7" fmla="*/ 99441 h 99441"/>
                    <a:gd name="connsiteX8" fmla="*/ 0 w 96202"/>
                    <a:gd name="connsiteY8" fmla="*/ 99441 h 99441"/>
                    <a:gd name="connsiteX9" fmla="*/ 61913 w 96202"/>
                    <a:gd name="connsiteY9" fmla="*/ 61913 h 99441"/>
                    <a:gd name="connsiteX10" fmla="*/ 48482 w 96202"/>
                    <a:gd name="connsiteY10" fmla="*/ 19431 h 99441"/>
                    <a:gd name="connsiteX11" fmla="*/ 47911 w 96202"/>
                    <a:gd name="connsiteY11" fmla="*/ 19431 h 99441"/>
                    <a:gd name="connsiteX12" fmla="*/ 33433 w 96202"/>
                    <a:gd name="connsiteY12" fmla="*/ 61913 h 99441"/>
                    <a:gd name="connsiteX13" fmla="*/ 61913 w 96202"/>
                    <a:gd name="connsiteY13" fmla="*/ 61913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96202" h="99441">
                      <a:moveTo>
                        <a:pt x="0" y="99441"/>
                      </a:moveTo>
                      <a:lnTo>
                        <a:pt x="36004" y="0"/>
                      </a:lnTo>
                      <a:lnTo>
                        <a:pt x="61246" y="0"/>
                      </a:lnTo>
                      <a:lnTo>
                        <a:pt x="96202" y="99441"/>
                      </a:lnTo>
                      <a:lnTo>
                        <a:pt x="74676" y="99441"/>
                      </a:lnTo>
                      <a:lnTo>
                        <a:pt x="67151" y="78486"/>
                      </a:lnTo>
                      <a:lnTo>
                        <a:pt x="27908" y="78486"/>
                      </a:lnTo>
                      <a:lnTo>
                        <a:pt x="20383" y="99441"/>
                      </a:lnTo>
                      <a:lnTo>
                        <a:pt x="0" y="99441"/>
                      </a:lnTo>
                      <a:close/>
                      <a:moveTo>
                        <a:pt x="61913" y="61913"/>
                      </a:moveTo>
                      <a:lnTo>
                        <a:pt x="48482" y="19431"/>
                      </a:lnTo>
                      <a:lnTo>
                        <a:pt x="47911" y="19431"/>
                      </a:lnTo>
                      <a:lnTo>
                        <a:pt x="33433" y="61913"/>
                      </a:lnTo>
                      <a:lnTo>
                        <a:pt x="61913" y="61913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21" name="任意多边形: 形状 20">
                  <a:extLst>
                    <a:ext uri="{FF2B5EF4-FFF2-40B4-BE49-F238E27FC236}">
                      <a16:creationId xmlns:a16="http://schemas.microsoft.com/office/drawing/2014/main" id="{2B1903D2-9E51-4737-88F6-183A0052A370}"/>
                    </a:ext>
                  </a:extLst>
                </p:cNvPr>
                <p:cNvSpPr/>
                <p:nvPr/>
              </p:nvSpPr>
              <p:spPr>
                <a:xfrm>
                  <a:off x="2244629" y="7540275"/>
                  <a:ext cx="89725" cy="99441"/>
                </a:xfrm>
                <a:custGeom>
                  <a:avLst/>
                  <a:gdLst>
                    <a:gd name="connsiteX0" fmla="*/ 59055 w 89725"/>
                    <a:gd name="connsiteY0" fmla="*/ 99441 h 99441"/>
                    <a:gd name="connsiteX1" fmla="*/ 20383 w 89725"/>
                    <a:gd name="connsiteY1" fmla="*/ 16669 h 99441"/>
                    <a:gd name="connsiteX2" fmla="*/ 19812 w 89725"/>
                    <a:gd name="connsiteY2" fmla="*/ 17240 h 99441"/>
                    <a:gd name="connsiteX3" fmla="*/ 19812 w 89725"/>
                    <a:gd name="connsiteY3" fmla="*/ 99441 h 99441"/>
                    <a:gd name="connsiteX4" fmla="*/ 0 w 89725"/>
                    <a:gd name="connsiteY4" fmla="*/ 99441 h 99441"/>
                    <a:gd name="connsiteX5" fmla="*/ 0 w 89725"/>
                    <a:gd name="connsiteY5" fmla="*/ 0 h 99441"/>
                    <a:gd name="connsiteX6" fmla="*/ 31718 w 89725"/>
                    <a:gd name="connsiteY6" fmla="*/ 0 h 99441"/>
                    <a:gd name="connsiteX7" fmla="*/ 69342 w 89725"/>
                    <a:gd name="connsiteY7" fmla="*/ 78391 h 99441"/>
                    <a:gd name="connsiteX8" fmla="*/ 69818 w 89725"/>
                    <a:gd name="connsiteY8" fmla="*/ 77914 h 99441"/>
                    <a:gd name="connsiteX9" fmla="*/ 69818 w 89725"/>
                    <a:gd name="connsiteY9" fmla="*/ 0 h 99441"/>
                    <a:gd name="connsiteX10" fmla="*/ 89725 w 89725"/>
                    <a:gd name="connsiteY10" fmla="*/ 0 h 99441"/>
                    <a:gd name="connsiteX11" fmla="*/ 89725 w 89725"/>
                    <a:gd name="connsiteY11" fmla="*/ 99441 h 99441"/>
                    <a:gd name="connsiteX12" fmla="*/ 59055 w 89725"/>
                    <a:gd name="connsiteY12" fmla="*/ 99441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9725" h="99441">
                      <a:moveTo>
                        <a:pt x="59055" y="99441"/>
                      </a:moveTo>
                      <a:lnTo>
                        <a:pt x="20383" y="16669"/>
                      </a:lnTo>
                      <a:lnTo>
                        <a:pt x="19812" y="17240"/>
                      </a:lnTo>
                      <a:lnTo>
                        <a:pt x="19812" y="99441"/>
                      </a:ln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31718" y="0"/>
                      </a:lnTo>
                      <a:lnTo>
                        <a:pt x="69342" y="78391"/>
                      </a:lnTo>
                      <a:lnTo>
                        <a:pt x="69818" y="77914"/>
                      </a:lnTo>
                      <a:lnTo>
                        <a:pt x="69818" y="0"/>
                      </a:lnTo>
                      <a:lnTo>
                        <a:pt x="89725" y="0"/>
                      </a:lnTo>
                      <a:lnTo>
                        <a:pt x="89725" y="99441"/>
                      </a:lnTo>
                      <a:lnTo>
                        <a:pt x="59055" y="9944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22" name="任意多边形: 形状 21">
                  <a:extLst>
                    <a:ext uri="{FF2B5EF4-FFF2-40B4-BE49-F238E27FC236}">
                      <a16:creationId xmlns:a16="http://schemas.microsoft.com/office/drawing/2014/main" id="{29A7A80A-8503-43F1-8587-AB6C6E95EFF6}"/>
                    </a:ext>
                  </a:extLst>
                </p:cNvPr>
                <p:cNvSpPr/>
                <p:nvPr/>
              </p:nvSpPr>
              <p:spPr>
                <a:xfrm>
                  <a:off x="2382170" y="7540275"/>
                  <a:ext cx="96202" cy="99441"/>
                </a:xfrm>
                <a:custGeom>
                  <a:avLst/>
                  <a:gdLst>
                    <a:gd name="connsiteX0" fmla="*/ 0 w 96202"/>
                    <a:gd name="connsiteY0" fmla="*/ 99441 h 99441"/>
                    <a:gd name="connsiteX1" fmla="*/ 36004 w 96202"/>
                    <a:gd name="connsiteY1" fmla="*/ 0 h 99441"/>
                    <a:gd name="connsiteX2" fmla="*/ 61246 w 96202"/>
                    <a:gd name="connsiteY2" fmla="*/ 0 h 99441"/>
                    <a:gd name="connsiteX3" fmla="*/ 96202 w 96202"/>
                    <a:gd name="connsiteY3" fmla="*/ 99441 h 99441"/>
                    <a:gd name="connsiteX4" fmla="*/ 74676 w 96202"/>
                    <a:gd name="connsiteY4" fmla="*/ 99441 h 99441"/>
                    <a:gd name="connsiteX5" fmla="*/ 67151 w 96202"/>
                    <a:gd name="connsiteY5" fmla="*/ 78486 h 99441"/>
                    <a:gd name="connsiteX6" fmla="*/ 27908 w 96202"/>
                    <a:gd name="connsiteY6" fmla="*/ 78486 h 99441"/>
                    <a:gd name="connsiteX7" fmla="*/ 20383 w 96202"/>
                    <a:gd name="connsiteY7" fmla="*/ 99441 h 99441"/>
                    <a:gd name="connsiteX8" fmla="*/ 0 w 96202"/>
                    <a:gd name="connsiteY8" fmla="*/ 99441 h 99441"/>
                    <a:gd name="connsiteX9" fmla="*/ 61817 w 96202"/>
                    <a:gd name="connsiteY9" fmla="*/ 61913 h 99441"/>
                    <a:gd name="connsiteX10" fmla="*/ 48387 w 96202"/>
                    <a:gd name="connsiteY10" fmla="*/ 19431 h 99441"/>
                    <a:gd name="connsiteX11" fmla="*/ 47911 w 96202"/>
                    <a:gd name="connsiteY11" fmla="*/ 19431 h 99441"/>
                    <a:gd name="connsiteX12" fmla="*/ 33433 w 96202"/>
                    <a:gd name="connsiteY12" fmla="*/ 61913 h 99441"/>
                    <a:gd name="connsiteX13" fmla="*/ 61817 w 96202"/>
                    <a:gd name="connsiteY13" fmla="*/ 61913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96202" h="99441">
                      <a:moveTo>
                        <a:pt x="0" y="99441"/>
                      </a:moveTo>
                      <a:lnTo>
                        <a:pt x="36004" y="0"/>
                      </a:lnTo>
                      <a:lnTo>
                        <a:pt x="61246" y="0"/>
                      </a:lnTo>
                      <a:lnTo>
                        <a:pt x="96202" y="99441"/>
                      </a:lnTo>
                      <a:lnTo>
                        <a:pt x="74676" y="99441"/>
                      </a:lnTo>
                      <a:lnTo>
                        <a:pt x="67151" y="78486"/>
                      </a:lnTo>
                      <a:lnTo>
                        <a:pt x="27908" y="78486"/>
                      </a:lnTo>
                      <a:lnTo>
                        <a:pt x="20383" y="99441"/>
                      </a:lnTo>
                      <a:lnTo>
                        <a:pt x="0" y="99441"/>
                      </a:lnTo>
                      <a:close/>
                      <a:moveTo>
                        <a:pt x="61817" y="61913"/>
                      </a:moveTo>
                      <a:lnTo>
                        <a:pt x="48387" y="19431"/>
                      </a:lnTo>
                      <a:lnTo>
                        <a:pt x="47911" y="19431"/>
                      </a:lnTo>
                      <a:lnTo>
                        <a:pt x="33433" y="61913"/>
                      </a:lnTo>
                      <a:lnTo>
                        <a:pt x="61817" y="61913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23" name="任意多边形: 形状 22">
                  <a:extLst>
                    <a:ext uri="{FF2B5EF4-FFF2-40B4-BE49-F238E27FC236}">
                      <a16:creationId xmlns:a16="http://schemas.microsoft.com/office/drawing/2014/main" id="{3DC2D01C-9D43-4077-839C-A208EA2D8B68}"/>
                    </a:ext>
                  </a:extLst>
                </p:cNvPr>
                <p:cNvSpPr/>
                <p:nvPr/>
              </p:nvSpPr>
              <p:spPr>
                <a:xfrm>
                  <a:off x="2484850" y="7538180"/>
                  <a:ext cx="92970" cy="102584"/>
                </a:xfrm>
                <a:custGeom>
                  <a:avLst/>
                  <a:gdLst>
                    <a:gd name="connsiteX0" fmla="*/ 51054 w 92970"/>
                    <a:gd name="connsiteY0" fmla="*/ 65056 h 102584"/>
                    <a:gd name="connsiteX1" fmla="*/ 51054 w 92970"/>
                    <a:gd name="connsiteY1" fmla="*/ 48387 h 102584"/>
                    <a:gd name="connsiteX2" fmla="*/ 91345 w 92970"/>
                    <a:gd name="connsiteY2" fmla="*/ 48387 h 102584"/>
                    <a:gd name="connsiteX3" fmla="*/ 91345 w 92970"/>
                    <a:gd name="connsiteY3" fmla="*/ 98393 h 102584"/>
                    <a:gd name="connsiteX4" fmla="*/ 69342 w 92970"/>
                    <a:gd name="connsiteY4" fmla="*/ 101537 h 102584"/>
                    <a:gd name="connsiteX5" fmla="*/ 46768 w 92970"/>
                    <a:gd name="connsiteY5" fmla="*/ 102584 h 102584"/>
                    <a:gd name="connsiteX6" fmla="*/ 0 w 92970"/>
                    <a:gd name="connsiteY6" fmla="*/ 52102 h 102584"/>
                    <a:gd name="connsiteX7" fmla="*/ 46768 w 92970"/>
                    <a:gd name="connsiteY7" fmla="*/ 0 h 102584"/>
                    <a:gd name="connsiteX8" fmla="*/ 92964 w 92970"/>
                    <a:gd name="connsiteY8" fmla="*/ 32290 h 102584"/>
                    <a:gd name="connsiteX9" fmla="*/ 70390 w 92970"/>
                    <a:gd name="connsiteY9" fmla="*/ 32290 h 102584"/>
                    <a:gd name="connsiteX10" fmla="*/ 50483 w 92970"/>
                    <a:gd name="connsiteY10" fmla="*/ 15621 h 102584"/>
                    <a:gd name="connsiteX11" fmla="*/ 22574 w 92970"/>
                    <a:gd name="connsiteY11" fmla="*/ 52102 h 102584"/>
                    <a:gd name="connsiteX12" fmla="*/ 50483 w 92970"/>
                    <a:gd name="connsiteY12" fmla="*/ 88106 h 102584"/>
                    <a:gd name="connsiteX13" fmla="*/ 69342 w 92970"/>
                    <a:gd name="connsiteY13" fmla="*/ 86011 h 102584"/>
                    <a:gd name="connsiteX14" fmla="*/ 70390 w 92970"/>
                    <a:gd name="connsiteY14" fmla="*/ 86011 h 102584"/>
                    <a:gd name="connsiteX15" fmla="*/ 70390 w 92970"/>
                    <a:gd name="connsiteY15" fmla="*/ 65056 h 102584"/>
                    <a:gd name="connsiteX16" fmla="*/ 51054 w 92970"/>
                    <a:gd name="connsiteY16" fmla="*/ 65056 h 102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92970" h="102584">
                      <a:moveTo>
                        <a:pt x="51054" y="65056"/>
                      </a:moveTo>
                      <a:lnTo>
                        <a:pt x="51054" y="48387"/>
                      </a:lnTo>
                      <a:lnTo>
                        <a:pt x="91345" y="48387"/>
                      </a:lnTo>
                      <a:lnTo>
                        <a:pt x="91345" y="98393"/>
                      </a:lnTo>
                      <a:cubicBezTo>
                        <a:pt x="84201" y="100489"/>
                        <a:pt x="76867" y="101537"/>
                        <a:pt x="69342" y="101537"/>
                      </a:cubicBezTo>
                      <a:cubicBezTo>
                        <a:pt x="63627" y="102298"/>
                        <a:pt x="56102" y="102584"/>
                        <a:pt x="46768" y="102584"/>
                      </a:cubicBezTo>
                      <a:cubicBezTo>
                        <a:pt x="16288" y="100870"/>
                        <a:pt x="762" y="84011"/>
                        <a:pt x="0" y="52102"/>
                      </a:cubicBezTo>
                      <a:cubicBezTo>
                        <a:pt x="667" y="19526"/>
                        <a:pt x="16288" y="2096"/>
                        <a:pt x="46768" y="0"/>
                      </a:cubicBezTo>
                      <a:cubicBezTo>
                        <a:pt x="77915" y="0"/>
                        <a:pt x="93345" y="10763"/>
                        <a:pt x="92964" y="32290"/>
                      </a:cubicBezTo>
                      <a:lnTo>
                        <a:pt x="70390" y="32290"/>
                      </a:lnTo>
                      <a:cubicBezTo>
                        <a:pt x="70390" y="21146"/>
                        <a:pt x="63722" y="15621"/>
                        <a:pt x="50483" y="15621"/>
                      </a:cubicBezTo>
                      <a:cubicBezTo>
                        <a:pt x="32194" y="16002"/>
                        <a:pt x="22955" y="28194"/>
                        <a:pt x="22574" y="52102"/>
                      </a:cubicBezTo>
                      <a:cubicBezTo>
                        <a:pt x="22860" y="75724"/>
                        <a:pt x="32194" y="87821"/>
                        <a:pt x="50483" y="88106"/>
                      </a:cubicBezTo>
                      <a:cubicBezTo>
                        <a:pt x="55912" y="88106"/>
                        <a:pt x="62103" y="87344"/>
                        <a:pt x="69342" y="86011"/>
                      </a:cubicBezTo>
                      <a:cubicBezTo>
                        <a:pt x="68961" y="86296"/>
                        <a:pt x="69342" y="86296"/>
                        <a:pt x="70390" y="86011"/>
                      </a:cubicBezTo>
                      <a:lnTo>
                        <a:pt x="70390" y="65056"/>
                      </a:lnTo>
                      <a:lnTo>
                        <a:pt x="51054" y="65056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24" name="任意多边形: 形状 23">
                  <a:extLst>
                    <a:ext uri="{FF2B5EF4-FFF2-40B4-BE49-F238E27FC236}">
                      <a16:creationId xmlns:a16="http://schemas.microsoft.com/office/drawing/2014/main" id="{F6C334CA-6696-415F-A82A-805BD286575F}"/>
                    </a:ext>
                  </a:extLst>
                </p:cNvPr>
                <p:cNvSpPr/>
                <p:nvPr/>
              </p:nvSpPr>
              <p:spPr>
                <a:xfrm>
                  <a:off x="2594483" y="7540275"/>
                  <a:ext cx="80010" cy="99441"/>
                </a:xfrm>
                <a:custGeom>
                  <a:avLst/>
                  <a:gdLst>
                    <a:gd name="connsiteX0" fmla="*/ 21527 w 80010"/>
                    <a:gd name="connsiteY0" fmla="*/ 99441 h 99441"/>
                    <a:gd name="connsiteX1" fmla="*/ 0 w 80010"/>
                    <a:gd name="connsiteY1" fmla="*/ 99441 h 99441"/>
                    <a:gd name="connsiteX2" fmla="*/ 0 w 80010"/>
                    <a:gd name="connsiteY2" fmla="*/ 0 h 99441"/>
                    <a:gd name="connsiteX3" fmla="*/ 42481 w 80010"/>
                    <a:gd name="connsiteY3" fmla="*/ 0 h 99441"/>
                    <a:gd name="connsiteX4" fmla="*/ 76867 w 80010"/>
                    <a:gd name="connsiteY4" fmla="*/ 25813 h 99441"/>
                    <a:gd name="connsiteX5" fmla="*/ 56483 w 80010"/>
                    <a:gd name="connsiteY5" fmla="*/ 50006 h 99441"/>
                    <a:gd name="connsiteX6" fmla="*/ 56483 w 80010"/>
                    <a:gd name="connsiteY6" fmla="*/ 50578 h 99441"/>
                    <a:gd name="connsiteX7" fmla="*/ 74200 w 80010"/>
                    <a:gd name="connsiteY7" fmla="*/ 72580 h 99441"/>
                    <a:gd name="connsiteX8" fmla="*/ 74676 w 80010"/>
                    <a:gd name="connsiteY8" fmla="*/ 75819 h 99441"/>
                    <a:gd name="connsiteX9" fmla="*/ 80010 w 80010"/>
                    <a:gd name="connsiteY9" fmla="*/ 99441 h 99441"/>
                    <a:gd name="connsiteX10" fmla="*/ 56959 w 80010"/>
                    <a:gd name="connsiteY10" fmla="*/ 99441 h 99441"/>
                    <a:gd name="connsiteX11" fmla="*/ 53150 w 80010"/>
                    <a:gd name="connsiteY11" fmla="*/ 72580 h 99441"/>
                    <a:gd name="connsiteX12" fmla="*/ 44005 w 80010"/>
                    <a:gd name="connsiteY12" fmla="*/ 59722 h 99441"/>
                    <a:gd name="connsiteX13" fmla="*/ 21431 w 80010"/>
                    <a:gd name="connsiteY13" fmla="*/ 59722 h 99441"/>
                    <a:gd name="connsiteX14" fmla="*/ 21431 w 80010"/>
                    <a:gd name="connsiteY14" fmla="*/ 99441 h 99441"/>
                    <a:gd name="connsiteX15" fmla="*/ 21527 w 80010"/>
                    <a:gd name="connsiteY15" fmla="*/ 43053 h 99441"/>
                    <a:gd name="connsiteX16" fmla="*/ 39243 w 80010"/>
                    <a:gd name="connsiteY16" fmla="*/ 43053 h 99441"/>
                    <a:gd name="connsiteX17" fmla="*/ 54292 w 80010"/>
                    <a:gd name="connsiteY17" fmla="*/ 29146 h 99441"/>
                    <a:gd name="connsiteX18" fmla="*/ 39243 w 80010"/>
                    <a:gd name="connsiteY18" fmla="*/ 16764 h 99441"/>
                    <a:gd name="connsiteX19" fmla="*/ 21527 w 80010"/>
                    <a:gd name="connsiteY19" fmla="*/ 16764 h 99441"/>
                    <a:gd name="connsiteX20" fmla="*/ 21527 w 80010"/>
                    <a:gd name="connsiteY20" fmla="*/ 43053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0010" h="99441">
                      <a:moveTo>
                        <a:pt x="21527" y="99441"/>
                      </a:move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42481" y="0"/>
                      </a:lnTo>
                      <a:cubicBezTo>
                        <a:pt x="65056" y="381"/>
                        <a:pt x="76486" y="8954"/>
                        <a:pt x="76867" y="25813"/>
                      </a:cubicBezTo>
                      <a:cubicBezTo>
                        <a:pt x="76486" y="38671"/>
                        <a:pt x="69723" y="46768"/>
                        <a:pt x="56483" y="50006"/>
                      </a:cubicBezTo>
                      <a:lnTo>
                        <a:pt x="56483" y="50578"/>
                      </a:lnTo>
                      <a:cubicBezTo>
                        <a:pt x="67627" y="50959"/>
                        <a:pt x="73438" y="58293"/>
                        <a:pt x="74200" y="72580"/>
                      </a:cubicBezTo>
                      <a:cubicBezTo>
                        <a:pt x="74581" y="74009"/>
                        <a:pt x="74676" y="75152"/>
                        <a:pt x="74676" y="75819"/>
                      </a:cubicBezTo>
                      <a:cubicBezTo>
                        <a:pt x="75724" y="87630"/>
                        <a:pt x="77533" y="95536"/>
                        <a:pt x="80010" y="99441"/>
                      </a:cubicBezTo>
                      <a:lnTo>
                        <a:pt x="56959" y="99441"/>
                      </a:lnTo>
                      <a:cubicBezTo>
                        <a:pt x="54769" y="90869"/>
                        <a:pt x="53530" y="81915"/>
                        <a:pt x="53150" y="72580"/>
                      </a:cubicBezTo>
                      <a:cubicBezTo>
                        <a:pt x="52388" y="63913"/>
                        <a:pt x="49340" y="59722"/>
                        <a:pt x="44005" y="59722"/>
                      </a:cubicBezTo>
                      <a:lnTo>
                        <a:pt x="21431" y="59722"/>
                      </a:lnTo>
                      <a:lnTo>
                        <a:pt x="21431" y="99441"/>
                      </a:lnTo>
                      <a:close/>
                      <a:moveTo>
                        <a:pt x="21527" y="43053"/>
                      </a:moveTo>
                      <a:lnTo>
                        <a:pt x="39243" y="43053"/>
                      </a:lnTo>
                      <a:cubicBezTo>
                        <a:pt x="49244" y="43053"/>
                        <a:pt x="54292" y="38481"/>
                        <a:pt x="54292" y="29146"/>
                      </a:cubicBezTo>
                      <a:cubicBezTo>
                        <a:pt x="54292" y="20574"/>
                        <a:pt x="49244" y="16478"/>
                        <a:pt x="39243" y="16764"/>
                      </a:cubicBezTo>
                      <a:lnTo>
                        <a:pt x="21527" y="16764"/>
                      </a:lnTo>
                      <a:lnTo>
                        <a:pt x="21527" y="43053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25" name="任意多边形: 形状 24">
                  <a:extLst>
                    <a:ext uri="{FF2B5EF4-FFF2-40B4-BE49-F238E27FC236}">
                      <a16:creationId xmlns:a16="http://schemas.microsoft.com/office/drawing/2014/main" id="{B92546C7-6554-4345-941A-DFA1EB20748C}"/>
                    </a:ext>
                  </a:extLst>
                </p:cNvPr>
                <p:cNvSpPr/>
                <p:nvPr/>
              </p:nvSpPr>
              <p:spPr>
                <a:xfrm>
                  <a:off x="2686399" y="7540275"/>
                  <a:ext cx="21431" cy="99441"/>
                </a:xfrm>
                <a:custGeom>
                  <a:avLst/>
                  <a:gdLst>
                    <a:gd name="connsiteX0" fmla="*/ 21431 w 21431"/>
                    <a:gd name="connsiteY0" fmla="*/ 99441 h 99441"/>
                    <a:gd name="connsiteX1" fmla="*/ 0 w 21431"/>
                    <a:gd name="connsiteY1" fmla="*/ 99441 h 99441"/>
                    <a:gd name="connsiteX2" fmla="*/ 0 w 21431"/>
                    <a:gd name="connsiteY2" fmla="*/ 0 h 99441"/>
                    <a:gd name="connsiteX3" fmla="*/ 21431 w 21431"/>
                    <a:gd name="connsiteY3" fmla="*/ 0 h 99441"/>
                    <a:gd name="connsiteX4" fmla="*/ 21431 w 21431"/>
                    <a:gd name="connsiteY4" fmla="*/ 99441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431" h="99441">
                      <a:moveTo>
                        <a:pt x="21431" y="99441"/>
                      </a:move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21431" y="0"/>
                      </a:lnTo>
                      <a:lnTo>
                        <a:pt x="21431" y="9944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26" name="任意多边形: 形状 25">
                  <a:extLst>
                    <a:ext uri="{FF2B5EF4-FFF2-40B4-BE49-F238E27FC236}">
                      <a16:creationId xmlns:a16="http://schemas.microsoft.com/office/drawing/2014/main" id="{A1BBB648-D409-426C-8362-17F81F35DB03}"/>
                    </a:ext>
                  </a:extLst>
                </p:cNvPr>
                <p:cNvSpPr/>
                <p:nvPr/>
              </p:nvSpPr>
              <p:spPr>
                <a:xfrm>
                  <a:off x="2720784" y="7538180"/>
                  <a:ext cx="83248" cy="102584"/>
                </a:xfrm>
                <a:custGeom>
                  <a:avLst/>
                  <a:gdLst>
                    <a:gd name="connsiteX0" fmla="*/ 60674 w 83248"/>
                    <a:gd name="connsiteY0" fmla="*/ 34385 h 102584"/>
                    <a:gd name="connsiteX1" fmla="*/ 41338 w 83248"/>
                    <a:gd name="connsiteY1" fmla="*/ 15621 h 102584"/>
                    <a:gd name="connsiteX2" fmla="*/ 22479 w 83248"/>
                    <a:gd name="connsiteY2" fmla="*/ 52102 h 102584"/>
                    <a:gd name="connsiteX3" fmla="*/ 41338 w 83248"/>
                    <a:gd name="connsiteY3" fmla="*/ 88106 h 102584"/>
                    <a:gd name="connsiteX4" fmla="*/ 60674 w 83248"/>
                    <a:gd name="connsiteY4" fmla="*/ 69247 h 102584"/>
                    <a:gd name="connsiteX5" fmla="*/ 83248 w 83248"/>
                    <a:gd name="connsiteY5" fmla="*/ 69247 h 102584"/>
                    <a:gd name="connsiteX6" fmla="*/ 41338 w 83248"/>
                    <a:gd name="connsiteY6" fmla="*/ 102584 h 102584"/>
                    <a:gd name="connsiteX7" fmla="*/ 0 w 83248"/>
                    <a:gd name="connsiteY7" fmla="*/ 52102 h 102584"/>
                    <a:gd name="connsiteX8" fmla="*/ 41338 w 83248"/>
                    <a:gd name="connsiteY8" fmla="*/ 0 h 102584"/>
                    <a:gd name="connsiteX9" fmla="*/ 83248 w 83248"/>
                    <a:gd name="connsiteY9" fmla="*/ 34385 h 102584"/>
                    <a:gd name="connsiteX10" fmla="*/ 60674 w 83248"/>
                    <a:gd name="connsiteY10" fmla="*/ 34385 h 102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83248" h="102584">
                      <a:moveTo>
                        <a:pt x="60674" y="34385"/>
                      </a:moveTo>
                      <a:cubicBezTo>
                        <a:pt x="60007" y="22288"/>
                        <a:pt x="53530" y="16002"/>
                        <a:pt x="41338" y="15621"/>
                      </a:cubicBezTo>
                      <a:cubicBezTo>
                        <a:pt x="29527" y="16383"/>
                        <a:pt x="23241" y="28480"/>
                        <a:pt x="22479" y="52102"/>
                      </a:cubicBezTo>
                      <a:cubicBezTo>
                        <a:pt x="23146" y="75438"/>
                        <a:pt x="29432" y="87344"/>
                        <a:pt x="41338" y="88106"/>
                      </a:cubicBezTo>
                      <a:cubicBezTo>
                        <a:pt x="53911" y="87821"/>
                        <a:pt x="60293" y="81534"/>
                        <a:pt x="60674" y="69247"/>
                      </a:cubicBezTo>
                      <a:lnTo>
                        <a:pt x="83248" y="69247"/>
                      </a:lnTo>
                      <a:cubicBezTo>
                        <a:pt x="82201" y="91154"/>
                        <a:pt x="68199" y="102203"/>
                        <a:pt x="41338" y="102584"/>
                      </a:cubicBezTo>
                      <a:cubicBezTo>
                        <a:pt x="14478" y="101917"/>
                        <a:pt x="667" y="84963"/>
                        <a:pt x="0" y="52102"/>
                      </a:cubicBezTo>
                      <a:cubicBezTo>
                        <a:pt x="1048" y="18479"/>
                        <a:pt x="14859" y="1048"/>
                        <a:pt x="41338" y="0"/>
                      </a:cubicBezTo>
                      <a:cubicBezTo>
                        <a:pt x="67913" y="381"/>
                        <a:pt x="81820" y="11811"/>
                        <a:pt x="83248" y="34385"/>
                      </a:cubicBezTo>
                      <a:lnTo>
                        <a:pt x="60674" y="34385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27" name="任意多边形: 形状 26">
                  <a:extLst>
                    <a:ext uri="{FF2B5EF4-FFF2-40B4-BE49-F238E27FC236}">
                      <a16:creationId xmlns:a16="http://schemas.microsoft.com/office/drawing/2014/main" id="{763BF35E-3980-48D5-A55A-80D35D075E67}"/>
                    </a:ext>
                  </a:extLst>
                </p:cNvPr>
                <p:cNvSpPr/>
                <p:nvPr/>
              </p:nvSpPr>
              <p:spPr>
                <a:xfrm>
                  <a:off x="2817463" y="7540371"/>
                  <a:ext cx="86582" cy="100488"/>
                </a:xfrm>
                <a:custGeom>
                  <a:avLst/>
                  <a:gdLst>
                    <a:gd name="connsiteX0" fmla="*/ 86582 w 86582"/>
                    <a:gd name="connsiteY0" fmla="*/ 0 h 100488"/>
                    <a:gd name="connsiteX1" fmla="*/ 86582 w 86582"/>
                    <a:gd name="connsiteY1" fmla="*/ 62293 h 100488"/>
                    <a:gd name="connsiteX2" fmla="*/ 43529 w 86582"/>
                    <a:gd name="connsiteY2" fmla="*/ 100489 h 100488"/>
                    <a:gd name="connsiteX3" fmla="*/ 0 w 86582"/>
                    <a:gd name="connsiteY3" fmla="*/ 62293 h 100488"/>
                    <a:gd name="connsiteX4" fmla="*/ 0 w 86582"/>
                    <a:gd name="connsiteY4" fmla="*/ 0 h 100488"/>
                    <a:gd name="connsiteX5" fmla="*/ 21527 w 86582"/>
                    <a:gd name="connsiteY5" fmla="*/ 0 h 100488"/>
                    <a:gd name="connsiteX6" fmla="*/ 21527 w 86582"/>
                    <a:gd name="connsiteY6" fmla="*/ 54292 h 100488"/>
                    <a:gd name="connsiteX7" fmla="*/ 25813 w 86582"/>
                    <a:gd name="connsiteY7" fmla="*/ 78486 h 100488"/>
                    <a:gd name="connsiteX8" fmla="*/ 43529 w 86582"/>
                    <a:gd name="connsiteY8" fmla="*/ 86011 h 100488"/>
                    <a:gd name="connsiteX9" fmla="*/ 60770 w 86582"/>
                    <a:gd name="connsiteY9" fmla="*/ 78486 h 100488"/>
                    <a:gd name="connsiteX10" fmla="*/ 65056 w 86582"/>
                    <a:gd name="connsiteY10" fmla="*/ 54292 h 100488"/>
                    <a:gd name="connsiteX11" fmla="*/ 65056 w 86582"/>
                    <a:gd name="connsiteY11" fmla="*/ 0 h 100488"/>
                    <a:gd name="connsiteX12" fmla="*/ 86582 w 86582"/>
                    <a:gd name="connsiteY12" fmla="*/ 0 h 1004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6582" h="100488">
                      <a:moveTo>
                        <a:pt x="86582" y="0"/>
                      </a:moveTo>
                      <a:lnTo>
                        <a:pt x="86582" y="62293"/>
                      </a:lnTo>
                      <a:cubicBezTo>
                        <a:pt x="85535" y="87058"/>
                        <a:pt x="71152" y="99822"/>
                        <a:pt x="43529" y="100489"/>
                      </a:cubicBezTo>
                      <a:cubicBezTo>
                        <a:pt x="15240" y="99822"/>
                        <a:pt x="762" y="87058"/>
                        <a:pt x="0" y="62293"/>
                      </a:cubicBezTo>
                      <a:lnTo>
                        <a:pt x="0" y="0"/>
                      </a:lnTo>
                      <a:lnTo>
                        <a:pt x="21527" y="0"/>
                      </a:lnTo>
                      <a:lnTo>
                        <a:pt x="21527" y="54292"/>
                      </a:lnTo>
                      <a:cubicBezTo>
                        <a:pt x="21146" y="66103"/>
                        <a:pt x="22574" y="74200"/>
                        <a:pt x="25813" y="78486"/>
                      </a:cubicBezTo>
                      <a:cubicBezTo>
                        <a:pt x="29432" y="83534"/>
                        <a:pt x="35338" y="86011"/>
                        <a:pt x="43529" y="86011"/>
                      </a:cubicBezTo>
                      <a:cubicBezTo>
                        <a:pt x="51816" y="86011"/>
                        <a:pt x="57531" y="83534"/>
                        <a:pt x="60770" y="78486"/>
                      </a:cubicBezTo>
                      <a:cubicBezTo>
                        <a:pt x="64008" y="74200"/>
                        <a:pt x="65437" y="66199"/>
                        <a:pt x="65056" y="54292"/>
                      </a:cubicBezTo>
                      <a:lnTo>
                        <a:pt x="65056" y="0"/>
                      </a:lnTo>
                      <a:lnTo>
                        <a:pt x="86582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28" name="任意多边形: 形状 27">
                  <a:extLst>
                    <a:ext uri="{FF2B5EF4-FFF2-40B4-BE49-F238E27FC236}">
                      <a16:creationId xmlns:a16="http://schemas.microsoft.com/office/drawing/2014/main" id="{1AC68046-8CA4-4691-8A63-C7DB601EB62D}"/>
                    </a:ext>
                  </a:extLst>
                </p:cNvPr>
                <p:cNvSpPr/>
                <p:nvPr/>
              </p:nvSpPr>
              <p:spPr>
                <a:xfrm>
                  <a:off x="2923952" y="7540275"/>
                  <a:ext cx="63912" cy="99441"/>
                </a:xfrm>
                <a:custGeom>
                  <a:avLst/>
                  <a:gdLst>
                    <a:gd name="connsiteX0" fmla="*/ 0 w 63912"/>
                    <a:gd name="connsiteY0" fmla="*/ 99441 h 99441"/>
                    <a:gd name="connsiteX1" fmla="*/ 0 w 63912"/>
                    <a:gd name="connsiteY1" fmla="*/ 0 h 99441"/>
                    <a:gd name="connsiteX2" fmla="*/ 20955 w 63912"/>
                    <a:gd name="connsiteY2" fmla="*/ 0 h 99441"/>
                    <a:gd name="connsiteX3" fmla="*/ 20955 w 63912"/>
                    <a:gd name="connsiteY3" fmla="*/ 82772 h 99441"/>
                    <a:gd name="connsiteX4" fmla="*/ 63913 w 63912"/>
                    <a:gd name="connsiteY4" fmla="*/ 82772 h 99441"/>
                    <a:gd name="connsiteX5" fmla="*/ 63913 w 63912"/>
                    <a:gd name="connsiteY5" fmla="*/ 99441 h 99441"/>
                    <a:gd name="connsiteX6" fmla="*/ 0 w 63912"/>
                    <a:gd name="connsiteY6" fmla="*/ 99441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3912" h="99441">
                      <a:moveTo>
                        <a:pt x="0" y="99441"/>
                      </a:moveTo>
                      <a:lnTo>
                        <a:pt x="0" y="0"/>
                      </a:lnTo>
                      <a:lnTo>
                        <a:pt x="20955" y="0"/>
                      </a:lnTo>
                      <a:lnTo>
                        <a:pt x="20955" y="82772"/>
                      </a:lnTo>
                      <a:lnTo>
                        <a:pt x="63913" y="82772"/>
                      </a:lnTo>
                      <a:lnTo>
                        <a:pt x="63913" y="99441"/>
                      </a:lnTo>
                      <a:lnTo>
                        <a:pt x="0" y="9944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29" name="任意多边形: 形状 28">
                  <a:extLst>
                    <a:ext uri="{FF2B5EF4-FFF2-40B4-BE49-F238E27FC236}">
                      <a16:creationId xmlns:a16="http://schemas.microsoft.com/office/drawing/2014/main" id="{2E9CBA48-6152-48BE-85B1-20803F65A199}"/>
                    </a:ext>
                  </a:extLst>
                </p:cNvPr>
                <p:cNvSpPr/>
                <p:nvPr/>
              </p:nvSpPr>
              <p:spPr>
                <a:xfrm>
                  <a:off x="2992151" y="7540371"/>
                  <a:ext cx="80581" cy="99440"/>
                </a:xfrm>
                <a:custGeom>
                  <a:avLst/>
                  <a:gdLst>
                    <a:gd name="connsiteX0" fmla="*/ 0 w 80581"/>
                    <a:gd name="connsiteY0" fmla="*/ 0 h 99440"/>
                    <a:gd name="connsiteX1" fmla="*/ 80581 w 80581"/>
                    <a:gd name="connsiteY1" fmla="*/ 0 h 99440"/>
                    <a:gd name="connsiteX2" fmla="*/ 80581 w 80581"/>
                    <a:gd name="connsiteY2" fmla="*/ 16669 h 99440"/>
                    <a:gd name="connsiteX3" fmla="*/ 51054 w 80581"/>
                    <a:gd name="connsiteY3" fmla="*/ 16669 h 99440"/>
                    <a:gd name="connsiteX4" fmla="*/ 51054 w 80581"/>
                    <a:gd name="connsiteY4" fmla="*/ 99441 h 99440"/>
                    <a:gd name="connsiteX5" fmla="*/ 29527 w 80581"/>
                    <a:gd name="connsiteY5" fmla="*/ 99441 h 99440"/>
                    <a:gd name="connsiteX6" fmla="*/ 29527 w 80581"/>
                    <a:gd name="connsiteY6" fmla="*/ 16669 h 99440"/>
                    <a:gd name="connsiteX7" fmla="*/ 0 w 80581"/>
                    <a:gd name="connsiteY7" fmla="*/ 16669 h 99440"/>
                    <a:gd name="connsiteX8" fmla="*/ 0 w 80581"/>
                    <a:gd name="connsiteY8" fmla="*/ 0 h 99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0581" h="99440">
                      <a:moveTo>
                        <a:pt x="0" y="0"/>
                      </a:moveTo>
                      <a:lnTo>
                        <a:pt x="80581" y="0"/>
                      </a:lnTo>
                      <a:lnTo>
                        <a:pt x="80581" y="16669"/>
                      </a:lnTo>
                      <a:lnTo>
                        <a:pt x="51054" y="16669"/>
                      </a:lnTo>
                      <a:lnTo>
                        <a:pt x="51054" y="99441"/>
                      </a:lnTo>
                      <a:lnTo>
                        <a:pt x="29527" y="99441"/>
                      </a:lnTo>
                      <a:lnTo>
                        <a:pt x="29527" y="16669"/>
                      </a:lnTo>
                      <a:lnTo>
                        <a:pt x="0" y="1666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30" name="任意多边形: 形状 29">
                  <a:extLst>
                    <a:ext uri="{FF2B5EF4-FFF2-40B4-BE49-F238E27FC236}">
                      <a16:creationId xmlns:a16="http://schemas.microsoft.com/office/drawing/2014/main" id="{17578C44-FF89-4C14-8412-3EC2CA422A21}"/>
                    </a:ext>
                  </a:extLst>
                </p:cNvPr>
                <p:cNvSpPr/>
                <p:nvPr/>
              </p:nvSpPr>
              <p:spPr>
                <a:xfrm>
                  <a:off x="3084639" y="7540371"/>
                  <a:ext cx="86487" cy="100488"/>
                </a:xfrm>
                <a:custGeom>
                  <a:avLst/>
                  <a:gdLst>
                    <a:gd name="connsiteX0" fmla="*/ 86487 w 86487"/>
                    <a:gd name="connsiteY0" fmla="*/ 0 h 100488"/>
                    <a:gd name="connsiteX1" fmla="*/ 86487 w 86487"/>
                    <a:gd name="connsiteY1" fmla="*/ 62293 h 100488"/>
                    <a:gd name="connsiteX2" fmla="*/ 43529 w 86487"/>
                    <a:gd name="connsiteY2" fmla="*/ 100489 h 100488"/>
                    <a:gd name="connsiteX3" fmla="*/ 0 w 86487"/>
                    <a:gd name="connsiteY3" fmla="*/ 62293 h 100488"/>
                    <a:gd name="connsiteX4" fmla="*/ 0 w 86487"/>
                    <a:gd name="connsiteY4" fmla="*/ 0 h 100488"/>
                    <a:gd name="connsiteX5" fmla="*/ 21527 w 86487"/>
                    <a:gd name="connsiteY5" fmla="*/ 0 h 100488"/>
                    <a:gd name="connsiteX6" fmla="*/ 21527 w 86487"/>
                    <a:gd name="connsiteY6" fmla="*/ 54292 h 100488"/>
                    <a:gd name="connsiteX7" fmla="*/ 25813 w 86487"/>
                    <a:gd name="connsiteY7" fmla="*/ 78486 h 100488"/>
                    <a:gd name="connsiteX8" fmla="*/ 43529 w 86487"/>
                    <a:gd name="connsiteY8" fmla="*/ 86011 h 100488"/>
                    <a:gd name="connsiteX9" fmla="*/ 60674 w 86487"/>
                    <a:gd name="connsiteY9" fmla="*/ 78486 h 100488"/>
                    <a:gd name="connsiteX10" fmla="*/ 64961 w 86487"/>
                    <a:gd name="connsiteY10" fmla="*/ 54292 h 100488"/>
                    <a:gd name="connsiteX11" fmla="*/ 64961 w 86487"/>
                    <a:gd name="connsiteY11" fmla="*/ 0 h 100488"/>
                    <a:gd name="connsiteX12" fmla="*/ 86487 w 86487"/>
                    <a:gd name="connsiteY12" fmla="*/ 0 h 1004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6487" h="100488">
                      <a:moveTo>
                        <a:pt x="86487" y="0"/>
                      </a:moveTo>
                      <a:lnTo>
                        <a:pt x="86487" y="62293"/>
                      </a:lnTo>
                      <a:cubicBezTo>
                        <a:pt x="85439" y="87058"/>
                        <a:pt x="71057" y="99822"/>
                        <a:pt x="43529" y="100489"/>
                      </a:cubicBezTo>
                      <a:cubicBezTo>
                        <a:pt x="15240" y="99822"/>
                        <a:pt x="762" y="87058"/>
                        <a:pt x="0" y="62293"/>
                      </a:cubicBezTo>
                      <a:lnTo>
                        <a:pt x="0" y="0"/>
                      </a:lnTo>
                      <a:lnTo>
                        <a:pt x="21527" y="0"/>
                      </a:lnTo>
                      <a:lnTo>
                        <a:pt x="21527" y="54292"/>
                      </a:lnTo>
                      <a:cubicBezTo>
                        <a:pt x="21146" y="66103"/>
                        <a:pt x="22574" y="74200"/>
                        <a:pt x="25813" y="78486"/>
                      </a:cubicBezTo>
                      <a:cubicBezTo>
                        <a:pt x="29432" y="83534"/>
                        <a:pt x="35338" y="86011"/>
                        <a:pt x="43529" y="86011"/>
                      </a:cubicBezTo>
                      <a:cubicBezTo>
                        <a:pt x="51721" y="86011"/>
                        <a:pt x="57436" y="83534"/>
                        <a:pt x="60674" y="78486"/>
                      </a:cubicBezTo>
                      <a:cubicBezTo>
                        <a:pt x="63913" y="74200"/>
                        <a:pt x="65342" y="66199"/>
                        <a:pt x="64961" y="54292"/>
                      </a:cubicBezTo>
                      <a:lnTo>
                        <a:pt x="64961" y="0"/>
                      </a:lnTo>
                      <a:lnTo>
                        <a:pt x="86487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31" name="任意多边形: 形状 30">
                  <a:extLst>
                    <a:ext uri="{FF2B5EF4-FFF2-40B4-BE49-F238E27FC236}">
                      <a16:creationId xmlns:a16="http://schemas.microsoft.com/office/drawing/2014/main" id="{8F006722-E368-429F-8AC7-A9FEFC4E2C44}"/>
                    </a:ext>
                  </a:extLst>
                </p:cNvPr>
                <p:cNvSpPr/>
                <p:nvPr/>
              </p:nvSpPr>
              <p:spPr>
                <a:xfrm>
                  <a:off x="3189319" y="7540275"/>
                  <a:ext cx="80105" cy="99441"/>
                </a:xfrm>
                <a:custGeom>
                  <a:avLst/>
                  <a:gdLst>
                    <a:gd name="connsiteX0" fmla="*/ 21526 w 80105"/>
                    <a:gd name="connsiteY0" fmla="*/ 99441 h 99441"/>
                    <a:gd name="connsiteX1" fmla="*/ 0 w 80105"/>
                    <a:gd name="connsiteY1" fmla="*/ 99441 h 99441"/>
                    <a:gd name="connsiteX2" fmla="*/ 0 w 80105"/>
                    <a:gd name="connsiteY2" fmla="*/ 0 h 99441"/>
                    <a:gd name="connsiteX3" fmla="*/ 42482 w 80105"/>
                    <a:gd name="connsiteY3" fmla="*/ 0 h 99441"/>
                    <a:gd name="connsiteX4" fmla="*/ 76867 w 80105"/>
                    <a:gd name="connsiteY4" fmla="*/ 25813 h 99441"/>
                    <a:gd name="connsiteX5" fmla="*/ 56483 w 80105"/>
                    <a:gd name="connsiteY5" fmla="*/ 50006 h 99441"/>
                    <a:gd name="connsiteX6" fmla="*/ 56483 w 80105"/>
                    <a:gd name="connsiteY6" fmla="*/ 50578 h 99441"/>
                    <a:gd name="connsiteX7" fmla="*/ 74200 w 80105"/>
                    <a:gd name="connsiteY7" fmla="*/ 72580 h 99441"/>
                    <a:gd name="connsiteX8" fmla="*/ 74771 w 80105"/>
                    <a:gd name="connsiteY8" fmla="*/ 75819 h 99441"/>
                    <a:gd name="connsiteX9" fmla="*/ 80105 w 80105"/>
                    <a:gd name="connsiteY9" fmla="*/ 99441 h 99441"/>
                    <a:gd name="connsiteX10" fmla="*/ 57055 w 80105"/>
                    <a:gd name="connsiteY10" fmla="*/ 99441 h 99441"/>
                    <a:gd name="connsiteX11" fmla="*/ 53340 w 80105"/>
                    <a:gd name="connsiteY11" fmla="*/ 72580 h 99441"/>
                    <a:gd name="connsiteX12" fmla="*/ 44196 w 80105"/>
                    <a:gd name="connsiteY12" fmla="*/ 59722 h 99441"/>
                    <a:gd name="connsiteX13" fmla="*/ 21622 w 80105"/>
                    <a:gd name="connsiteY13" fmla="*/ 59722 h 99441"/>
                    <a:gd name="connsiteX14" fmla="*/ 21622 w 80105"/>
                    <a:gd name="connsiteY14" fmla="*/ 99441 h 99441"/>
                    <a:gd name="connsiteX15" fmla="*/ 21526 w 80105"/>
                    <a:gd name="connsiteY15" fmla="*/ 43053 h 99441"/>
                    <a:gd name="connsiteX16" fmla="*/ 39243 w 80105"/>
                    <a:gd name="connsiteY16" fmla="*/ 43053 h 99441"/>
                    <a:gd name="connsiteX17" fmla="*/ 54292 w 80105"/>
                    <a:gd name="connsiteY17" fmla="*/ 29146 h 99441"/>
                    <a:gd name="connsiteX18" fmla="*/ 39243 w 80105"/>
                    <a:gd name="connsiteY18" fmla="*/ 16764 h 99441"/>
                    <a:gd name="connsiteX19" fmla="*/ 21526 w 80105"/>
                    <a:gd name="connsiteY19" fmla="*/ 16764 h 99441"/>
                    <a:gd name="connsiteX20" fmla="*/ 21526 w 80105"/>
                    <a:gd name="connsiteY20" fmla="*/ 43053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0105" h="99441">
                      <a:moveTo>
                        <a:pt x="21526" y="99441"/>
                      </a:move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42482" y="0"/>
                      </a:lnTo>
                      <a:cubicBezTo>
                        <a:pt x="65056" y="381"/>
                        <a:pt x="76486" y="8954"/>
                        <a:pt x="76867" y="25813"/>
                      </a:cubicBezTo>
                      <a:cubicBezTo>
                        <a:pt x="76486" y="38671"/>
                        <a:pt x="69723" y="46768"/>
                        <a:pt x="56483" y="50006"/>
                      </a:cubicBezTo>
                      <a:lnTo>
                        <a:pt x="56483" y="50578"/>
                      </a:lnTo>
                      <a:cubicBezTo>
                        <a:pt x="67628" y="50959"/>
                        <a:pt x="73533" y="58293"/>
                        <a:pt x="74200" y="72580"/>
                      </a:cubicBezTo>
                      <a:cubicBezTo>
                        <a:pt x="74581" y="74009"/>
                        <a:pt x="74771" y="75152"/>
                        <a:pt x="74771" y="75819"/>
                      </a:cubicBezTo>
                      <a:cubicBezTo>
                        <a:pt x="75914" y="87630"/>
                        <a:pt x="77629" y="95536"/>
                        <a:pt x="80105" y="99441"/>
                      </a:cubicBezTo>
                      <a:lnTo>
                        <a:pt x="57055" y="99441"/>
                      </a:lnTo>
                      <a:cubicBezTo>
                        <a:pt x="54864" y="90869"/>
                        <a:pt x="53626" y="81915"/>
                        <a:pt x="53340" y="72580"/>
                      </a:cubicBezTo>
                      <a:cubicBezTo>
                        <a:pt x="52578" y="63913"/>
                        <a:pt x="49530" y="59722"/>
                        <a:pt x="44196" y="59722"/>
                      </a:cubicBezTo>
                      <a:lnTo>
                        <a:pt x="21622" y="59722"/>
                      </a:lnTo>
                      <a:lnTo>
                        <a:pt x="21622" y="99441"/>
                      </a:lnTo>
                      <a:close/>
                      <a:moveTo>
                        <a:pt x="21526" y="43053"/>
                      </a:moveTo>
                      <a:lnTo>
                        <a:pt x="39243" y="43053"/>
                      </a:lnTo>
                      <a:cubicBezTo>
                        <a:pt x="49340" y="43053"/>
                        <a:pt x="54292" y="38481"/>
                        <a:pt x="54292" y="29146"/>
                      </a:cubicBezTo>
                      <a:cubicBezTo>
                        <a:pt x="54292" y="20574"/>
                        <a:pt x="49244" y="16478"/>
                        <a:pt x="39243" y="16764"/>
                      </a:cubicBezTo>
                      <a:lnTo>
                        <a:pt x="21526" y="16764"/>
                      </a:lnTo>
                      <a:lnTo>
                        <a:pt x="21526" y="43053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32" name="任意多边形: 形状 31">
                  <a:extLst>
                    <a:ext uri="{FF2B5EF4-FFF2-40B4-BE49-F238E27FC236}">
                      <a16:creationId xmlns:a16="http://schemas.microsoft.com/office/drawing/2014/main" id="{A66C250C-9409-4A48-8FAE-3498CE6F9549}"/>
                    </a:ext>
                  </a:extLst>
                </p:cNvPr>
                <p:cNvSpPr/>
                <p:nvPr/>
              </p:nvSpPr>
              <p:spPr>
                <a:xfrm>
                  <a:off x="3280663" y="7540371"/>
                  <a:ext cx="68294" cy="99345"/>
                </a:xfrm>
                <a:custGeom>
                  <a:avLst/>
                  <a:gdLst>
                    <a:gd name="connsiteX0" fmla="*/ 95 w 68294"/>
                    <a:gd name="connsiteY0" fmla="*/ 0 h 99345"/>
                    <a:gd name="connsiteX1" fmla="*/ 66675 w 68294"/>
                    <a:gd name="connsiteY1" fmla="*/ 0 h 99345"/>
                    <a:gd name="connsiteX2" fmla="*/ 66675 w 68294"/>
                    <a:gd name="connsiteY2" fmla="*/ 16669 h 99345"/>
                    <a:gd name="connsiteX3" fmla="*/ 21527 w 68294"/>
                    <a:gd name="connsiteY3" fmla="*/ 16669 h 99345"/>
                    <a:gd name="connsiteX4" fmla="*/ 21527 w 68294"/>
                    <a:gd name="connsiteY4" fmla="*/ 39719 h 99345"/>
                    <a:gd name="connsiteX5" fmla="*/ 63437 w 68294"/>
                    <a:gd name="connsiteY5" fmla="*/ 39719 h 99345"/>
                    <a:gd name="connsiteX6" fmla="*/ 63437 w 68294"/>
                    <a:gd name="connsiteY6" fmla="*/ 56388 h 99345"/>
                    <a:gd name="connsiteX7" fmla="*/ 21527 w 68294"/>
                    <a:gd name="connsiteY7" fmla="*/ 56388 h 99345"/>
                    <a:gd name="connsiteX8" fmla="*/ 21527 w 68294"/>
                    <a:gd name="connsiteY8" fmla="*/ 82677 h 99345"/>
                    <a:gd name="connsiteX9" fmla="*/ 68294 w 68294"/>
                    <a:gd name="connsiteY9" fmla="*/ 82677 h 99345"/>
                    <a:gd name="connsiteX10" fmla="*/ 68294 w 68294"/>
                    <a:gd name="connsiteY10" fmla="*/ 99346 h 99345"/>
                    <a:gd name="connsiteX11" fmla="*/ 0 w 68294"/>
                    <a:gd name="connsiteY11" fmla="*/ 99346 h 99345"/>
                    <a:gd name="connsiteX12" fmla="*/ 0 w 68294"/>
                    <a:gd name="connsiteY12" fmla="*/ 0 h 993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68294" h="99345">
                      <a:moveTo>
                        <a:pt x="95" y="0"/>
                      </a:moveTo>
                      <a:lnTo>
                        <a:pt x="66675" y="0"/>
                      </a:lnTo>
                      <a:lnTo>
                        <a:pt x="66675" y="16669"/>
                      </a:lnTo>
                      <a:lnTo>
                        <a:pt x="21527" y="16669"/>
                      </a:lnTo>
                      <a:lnTo>
                        <a:pt x="21527" y="39719"/>
                      </a:lnTo>
                      <a:lnTo>
                        <a:pt x="63437" y="39719"/>
                      </a:lnTo>
                      <a:lnTo>
                        <a:pt x="63437" y="56388"/>
                      </a:lnTo>
                      <a:lnTo>
                        <a:pt x="21527" y="56388"/>
                      </a:lnTo>
                      <a:lnTo>
                        <a:pt x="21527" y="82677"/>
                      </a:lnTo>
                      <a:lnTo>
                        <a:pt x="68294" y="82677"/>
                      </a:lnTo>
                      <a:lnTo>
                        <a:pt x="68294" y="99346"/>
                      </a:lnTo>
                      <a:lnTo>
                        <a:pt x="0" y="9934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33" name="任意多边形: 形状 32">
                  <a:extLst>
                    <a:ext uri="{FF2B5EF4-FFF2-40B4-BE49-F238E27FC236}">
                      <a16:creationId xmlns:a16="http://schemas.microsoft.com/office/drawing/2014/main" id="{FB17815B-3779-4912-B89A-A4D99CD88F2C}"/>
                    </a:ext>
                  </a:extLst>
                </p:cNvPr>
                <p:cNvSpPr/>
                <p:nvPr/>
              </p:nvSpPr>
              <p:spPr>
                <a:xfrm>
                  <a:off x="3396297" y="7540275"/>
                  <a:ext cx="96202" cy="99441"/>
                </a:xfrm>
                <a:custGeom>
                  <a:avLst/>
                  <a:gdLst>
                    <a:gd name="connsiteX0" fmla="*/ 0 w 96202"/>
                    <a:gd name="connsiteY0" fmla="*/ 99441 h 99441"/>
                    <a:gd name="connsiteX1" fmla="*/ 36004 w 96202"/>
                    <a:gd name="connsiteY1" fmla="*/ 0 h 99441"/>
                    <a:gd name="connsiteX2" fmla="*/ 61246 w 96202"/>
                    <a:gd name="connsiteY2" fmla="*/ 0 h 99441"/>
                    <a:gd name="connsiteX3" fmla="*/ 96203 w 96202"/>
                    <a:gd name="connsiteY3" fmla="*/ 99441 h 99441"/>
                    <a:gd name="connsiteX4" fmla="*/ 74771 w 96202"/>
                    <a:gd name="connsiteY4" fmla="*/ 99441 h 99441"/>
                    <a:gd name="connsiteX5" fmla="*/ 67247 w 96202"/>
                    <a:gd name="connsiteY5" fmla="*/ 78486 h 99441"/>
                    <a:gd name="connsiteX6" fmla="*/ 28004 w 96202"/>
                    <a:gd name="connsiteY6" fmla="*/ 78486 h 99441"/>
                    <a:gd name="connsiteX7" fmla="*/ 20479 w 96202"/>
                    <a:gd name="connsiteY7" fmla="*/ 99441 h 99441"/>
                    <a:gd name="connsiteX8" fmla="*/ 0 w 96202"/>
                    <a:gd name="connsiteY8" fmla="*/ 99441 h 99441"/>
                    <a:gd name="connsiteX9" fmla="*/ 61817 w 96202"/>
                    <a:gd name="connsiteY9" fmla="*/ 61913 h 99441"/>
                    <a:gd name="connsiteX10" fmla="*/ 48387 w 96202"/>
                    <a:gd name="connsiteY10" fmla="*/ 19431 h 99441"/>
                    <a:gd name="connsiteX11" fmla="*/ 47816 w 96202"/>
                    <a:gd name="connsiteY11" fmla="*/ 19431 h 99441"/>
                    <a:gd name="connsiteX12" fmla="*/ 33338 w 96202"/>
                    <a:gd name="connsiteY12" fmla="*/ 61913 h 99441"/>
                    <a:gd name="connsiteX13" fmla="*/ 61817 w 96202"/>
                    <a:gd name="connsiteY13" fmla="*/ 61913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96202" h="99441">
                      <a:moveTo>
                        <a:pt x="0" y="99441"/>
                      </a:moveTo>
                      <a:lnTo>
                        <a:pt x="36004" y="0"/>
                      </a:lnTo>
                      <a:lnTo>
                        <a:pt x="61246" y="0"/>
                      </a:lnTo>
                      <a:lnTo>
                        <a:pt x="96203" y="99441"/>
                      </a:lnTo>
                      <a:lnTo>
                        <a:pt x="74771" y="99441"/>
                      </a:lnTo>
                      <a:lnTo>
                        <a:pt x="67247" y="78486"/>
                      </a:lnTo>
                      <a:lnTo>
                        <a:pt x="28004" y="78486"/>
                      </a:lnTo>
                      <a:lnTo>
                        <a:pt x="20479" y="99441"/>
                      </a:lnTo>
                      <a:lnTo>
                        <a:pt x="0" y="99441"/>
                      </a:lnTo>
                      <a:close/>
                      <a:moveTo>
                        <a:pt x="61817" y="61913"/>
                      </a:moveTo>
                      <a:lnTo>
                        <a:pt x="48387" y="19431"/>
                      </a:lnTo>
                      <a:lnTo>
                        <a:pt x="47816" y="19431"/>
                      </a:lnTo>
                      <a:lnTo>
                        <a:pt x="33338" y="61913"/>
                      </a:lnTo>
                      <a:lnTo>
                        <a:pt x="61817" y="61913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34" name="任意多边形: 形状 33">
                  <a:extLst>
                    <a:ext uri="{FF2B5EF4-FFF2-40B4-BE49-F238E27FC236}">
                      <a16:creationId xmlns:a16="http://schemas.microsoft.com/office/drawing/2014/main" id="{A2603364-D6D2-45D9-942C-446AF9DE13CA}"/>
                    </a:ext>
                  </a:extLst>
                </p:cNvPr>
                <p:cNvSpPr/>
                <p:nvPr/>
              </p:nvSpPr>
              <p:spPr>
                <a:xfrm>
                  <a:off x="3502787" y="7540275"/>
                  <a:ext cx="89725" cy="99441"/>
                </a:xfrm>
                <a:custGeom>
                  <a:avLst/>
                  <a:gdLst>
                    <a:gd name="connsiteX0" fmla="*/ 59055 w 89725"/>
                    <a:gd name="connsiteY0" fmla="*/ 99441 h 99441"/>
                    <a:gd name="connsiteX1" fmla="*/ 20383 w 89725"/>
                    <a:gd name="connsiteY1" fmla="*/ 16669 h 99441"/>
                    <a:gd name="connsiteX2" fmla="*/ 19907 w 89725"/>
                    <a:gd name="connsiteY2" fmla="*/ 17240 h 99441"/>
                    <a:gd name="connsiteX3" fmla="*/ 19907 w 89725"/>
                    <a:gd name="connsiteY3" fmla="*/ 99441 h 99441"/>
                    <a:gd name="connsiteX4" fmla="*/ 0 w 89725"/>
                    <a:gd name="connsiteY4" fmla="*/ 99441 h 99441"/>
                    <a:gd name="connsiteX5" fmla="*/ 0 w 89725"/>
                    <a:gd name="connsiteY5" fmla="*/ 0 h 99441"/>
                    <a:gd name="connsiteX6" fmla="*/ 31718 w 89725"/>
                    <a:gd name="connsiteY6" fmla="*/ 0 h 99441"/>
                    <a:gd name="connsiteX7" fmla="*/ 69342 w 89725"/>
                    <a:gd name="connsiteY7" fmla="*/ 78391 h 99441"/>
                    <a:gd name="connsiteX8" fmla="*/ 69818 w 89725"/>
                    <a:gd name="connsiteY8" fmla="*/ 77914 h 99441"/>
                    <a:gd name="connsiteX9" fmla="*/ 69818 w 89725"/>
                    <a:gd name="connsiteY9" fmla="*/ 0 h 99441"/>
                    <a:gd name="connsiteX10" fmla="*/ 89725 w 89725"/>
                    <a:gd name="connsiteY10" fmla="*/ 0 h 99441"/>
                    <a:gd name="connsiteX11" fmla="*/ 89725 w 89725"/>
                    <a:gd name="connsiteY11" fmla="*/ 99441 h 99441"/>
                    <a:gd name="connsiteX12" fmla="*/ 59055 w 89725"/>
                    <a:gd name="connsiteY12" fmla="*/ 99441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9725" h="99441">
                      <a:moveTo>
                        <a:pt x="59055" y="99441"/>
                      </a:moveTo>
                      <a:lnTo>
                        <a:pt x="20383" y="16669"/>
                      </a:lnTo>
                      <a:lnTo>
                        <a:pt x="19907" y="17240"/>
                      </a:lnTo>
                      <a:lnTo>
                        <a:pt x="19907" y="99441"/>
                      </a:ln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31718" y="0"/>
                      </a:lnTo>
                      <a:lnTo>
                        <a:pt x="69342" y="78391"/>
                      </a:lnTo>
                      <a:lnTo>
                        <a:pt x="69818" y="77914"/>
                      </a:lnTo>
                      <a:lnTo>
                        <a:pt x="69818" y="0"/>
                      </a:lnTo>
                      <a:lnTo>
                        <a:pt x="89725" y="0"/>
                      </a:lnTo>
                      <a:lnTo>
                        <a:pt x="89725" y="99441"/>
                      </a:lnTo>
                      <a:lnTo>
                        <a:pt x="59055" y="9944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35" name="任意多边形: 形状 34">
                  <a:extLst>
                    <a:ext uri="{FF2B5EF4-FFF2-40B4-BE49-F238E27FC236}">
                      <a16:creationId xmlns:a16="http://schemas.microsoft.com/office/drawing/2014/main" id="{83C61A7D-3001-4FE0-9AA8-A7AADE14B846}"/>
                    </a:ext>
                  </a:extLst>
                </p:cNvPr>
                <p:cNvSpPr/>
                <p:nvPr/>
              </p:nvSpPr>
              <p:spPr>
                <a:xfrm>
                  <a:off x="3609657" y="7540371"/>
                  <a:ext cx="83820" cy="99440"/>
                </a:xfrm>
                <a:custGeom>
                  <a:avLst/>
                  <a:gdLst>
                    <a:gd name="connsiteX0" fmla="*/ 0 w 83820"/>
                    <a:gd name="connsiteY0" fmla="*/ 0 h 99440"/>
                    <a:gd name="connsiteX1" fmla="*/ 33814 w 83820"/>
                    <a:gd name="connsiteY1" fmla="*/ 0 h 99440"/>
                    <a:gd name="connsiteX2" fmla="*/ 83820 w 83820"/>
                    <a:gd name="connsiteY2" fmla="*/ 50006 h 99440"/>
                    <a:gd name="connsiteX3" fmla="*/ 33814 w 83820"/>
                    <a:gd name="connsiteY3" fmla="*/ 99441 h 99440"/>
                    <a:gd name="connsiteX4" fmla="*/ 0 w 83820"/>
                    <a:gd name="connsiteY4" fmla="*/ 99441 h 99440"/>
                    <a:gd name="connsiteX5" fmla="*/ 0 w 83820"/>
                    <a:gd name="connsiteY5" fmla="*/ 0 h 99440"/>
                    <a:gd name="connsiteX6" fmla="*/ 20955 w 83820"/>
                    <a:gd name="connsiteY6" fmla="*/ 82772 h 99440"/>
                    <a:gd name="connsiteX7" fmla="*/ 32290 w 83820"/>
                    <a:gd name="connsiteY7" fmla="*/ 82772 h 99440"/>
                    <a:gd name="connsiteX8" fmla="*/ 61341 w 83820"/>
                    <a:gd name="connsiteY8" fmla="*/ 49911 h 99440"/>
                    <a:gd name="connsiteX9" fmla="*/ 32290 w 83820"/>
                    <a:gd name="connsiteY9" fmla="*/ 16573 h 99440"/>
                    <a:gd name="connsiteX10" fmla="*/ 20955 w 83820"/>
                    <a:gd name="connsiteY10" fmla="*/ 16573 h 99440"/>
                    <a:gd name="connsiteX11" fmla="*/ 20955 w 83820"/>
                    <a:gd name="connsiteY11" fmla="*/ 82772 h 99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83820" h="99440">
                      <a:moveTo>
                        <a:pt x="0" y="0"/>
                      </a:moveTo>
                      <a:lnTo>
                        <a:pt x="33814" y="0"/>
                      </a:lnTo>
                      <a:cubicBezTo>
                        <a:pt x="66770" y="381"/>
                        <a:pt x="83439" y="17050"/>
                        <a:pt x="83820" y="50006"/>
                      </a:cubicBezTo>
                      <a:cubicBezTo>
                        <a:pt x="83439" y="82582"/>
                        <a:pt x="66770" y="99155"/>
                        <a:pt x="33814" y="99441"/>
                      </a:cubicBezTo>
                      <a:lnTo>
                        <a:pt x="0" y="99441"/>
                      </a:lnTo>
                      <a:lnTo>
                        <a:pt x="0" y="0"/>
                      </a:lnTo>
                      <a:close/>
                      <a:moveTo>
                        <a:pt x="20955" y="82772"/>
                      </a:moveTo>
                      <a:lnTo>
                        <a:pt x="32290" y="82772"/>
                      </a:lnTo>
                      <a:cubicBezTo>
                        <a:pt x="52006" y="83439"/>
                        <a:pt x="61627" y="72580"/>
                        <a:pt x="61341" y="49911"/>
                      </a:cubicBezTo>
                      <a:cubicBezTo>
                        <a:pt x="61627" y="27051"/>
                        <a:pt x="52006" y="15907"/>
                        <a:pt x="32290" y="16573"/>
                      </a:cubicBezTo>
                      <a:lnTo>
                        <a:pt x="20955" y="16573"/>
                      </a:lnTo>
                      <a:lnTo>
                        <a:pt x="20955" y="82772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36" name="任意多边形: 形状 35">
                  <a:extLst>
                    <a:ext uri="{FF2B5EF4-FFF2-40B4-BE49-F238E27FC236}">
                      <a16:creationId xmlns:a16="http://schemas.microsoft.com/office/drawing/2014/main" id="{8609A29D-58FB-45E9-885F-F834D3945D12}"/>
                    </a:ext>
                  </a:extLst>
                </p:cNvPr>
                <p:cNvSpPr/>
                <p:nvPr/>
              </p:nvSpPr>
              <p:spPr>
                <a:xfrm>
                  <a:off x="3747293" y="7540275"/>
                  <a:ext cx="63912" cy="99441"/>
                </a:xfrm>
                <a:custGeom>
                  <a:avLst/>
                  <a:gdLst>
                    <a:gd name="connsiteX0" fmla="*/ 0 w 63912"/>
                    <a:gd name="connsiteY0" fmla="*/ 99441 h 99441"/>
                    <a:gd name="connsiteX1" fmla="*/ 0 w 63912"/>
                    <a:gd name="connsiteY1" fmla="*/ 0 h 99441"/>
                    <a:gd name="connsiteX2" fmla="*/ 63913 w 63912"/>
                    <a:gd name="connsiteY2" fmla="*/ 0 h 99441"/>
                    <a:gd name="connsiteX3" fmla="*/ 63913 w 63912"/>
                    <a:gd name="connsiteY3" fmla="*/ 16669 h 99441"/>
                    <a:gd name="connsiteX4" fmla="*/ 20955 w 63912"/>
                    <a:gd name="connsiteY4" fmla="*/ 16669 h 99441"/>
                    <a:gd name="connsiteX5" fmla="*/ 20955 w 63912"/>
                    <a:gd name="connsiteY5" fmla="*/ 40291 h 99441"/>
                    <a:gd name="connsiteX6" fmla="*/ 61246 w 63912"/>
                    <a:gd name="connsiteY6" fmla="*/ 40291 h 99441"/>
                    <a:gd name="connsiteX7" fmla="*/ 61246 w 63912"/>
                    <a:gd name="connsiteY7" fmla="*/ 56959 h 99441"/>
                    <a:gd name="connsiteX8" fmla="*/ 20955 w 63912"/>
                    <a:gd name="connsiteY8" fmla="*/ 56959 h 99441"/>
                    <a:gd name="connsiteX9" fmla="*/ 20955 w 63912"/>
                    <a:gd name="connsiteY9" fmla="*/ 99441 h 99441"/>
                    <a:gd name="connsiteX10" fmla="*/ 0 w 63912"/>
                    <a:gd name="connsiteY10" fmla="*/ 99441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3912" h="99441">
                      <a:moveTo>
                        <a:pt x="0" y="99441"/>
                      </a:moveTo>
                      <a:lnTo>
                        <a:pt x="0" y="0"/>
                      </a:lnTo>
                      <a:lnTo>
                        <a:pt x="63913" y="0"/>
                      </a:lnTo>
                      <a:lnTo>
                        <a:pt x="63913" y="16669"/>
                      </a:lnTo>
                      <a:lnTo>
                        <a:pt x="20955" y="16669"/>
                      </a:lnTo>
                      <a:lnTo>
                        <a:pt x="20955" y="40291"/>
                      </a:lnTo>
                      <a:lnTo>
                        <a:pt x="61246" y="40291"/>
                      </a:lnTo>
                      <a:lnTo>
                        <a:pt x="61246" y="56959"/>
                      </a:lnTo>
                      <a:lnTo>
                        <a:pt x="20955" y="56959"/>
                      </a:lnTo>
                      <a:lnTo>
                        <a:pt x="20955" y="99441"/>
                      </a:lnTo>
                      <a:lnTo>
                        <a:pt x="0" y="9944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37" name="任意多边形: 形状 36">
                  <a:extLst>
                    <a:ext uri="{FF2B5EF4-FFF2-40B4-BE49-F238E27FC236}">
                      <a16:creationId xmlns:a16="http://schemas.microsoft.com/office/drawing/2014/main" id="{5BE65DCE-70EC-441B-A39F-837D097839C0}"/>
                    </a:ext>
                  </a:extLst>
                </p:cNvPr>
                <p:cNvSpPr/>
                <p:nvPr/>
              </p:nvSpPr>
              <p:spPr>
                <a:xfrm>
                  <a:off x="3819779" y="7538180"/>
                  <a:ext cx="95059" cy="102584"/>
                </a:xfrm>
                <a:custGeom>
                  <a:avLst/>
                  <a:gdLst>
                    <a:gd name="connsiteX0" fmla="*/ 0 w 95059"/>
                    <a:gd name="connsiteY0" fmla="*/ 52102 h 102584"/>
                    <a:gd name="connsiteX1" fmla="*/ 47816 w 95059"/>
                    <a:gd name="connsiteY1" fmla="*/ 0 h 102584"/>
                    <a:gd name="connsiteX2" fmla="*/ 95059 w 95059"/>
                    <a:gd name="connsiteY2" fmla="*/ 52102 h 102584"/>
                    <a:gd name="connsiteX3" fmla="*/ 47816 w 95059"/>
                    <a:gd name="connsiteY3" fmla="*/ 102584 h 102584"/>
                    <a:gd name="connsiteX4" fmla="*/ 0 w 95059"/>
                    <a:gd name="connsiteY4" fmla="*/ 52102 h 102584"/>
                    <a:gd name="connsiteX5" fmla="*/ 22574 w 95059"/>
                    <a:gd name="connsiteY5" fmla="*/ 52102 h 102584"/>
                    <a:gd name="connsiteX6" fmla="*/ 47816 w 95059"/>
                    <a:gd name="connsiteY6" fmla="*/ 88106 h 102584"/>
                    <a:gd name="connsiteX7" fmla="*/ 72485 w 95059"/>
                    <a:gd name="connsiteY7" fmla="*/ 52102 h 102584"/>
                    <a:gd name="connsiteX8" fmla="*/ 47816 w 95059"/>
                    <a:gd name="connsiteY8" fmla="*/ 15621 h 102584"/>
                    <a:gd name="connsiteX9" fmla="*/ 22574 w 95059"/>
                    <a:gd name="connsiteY9" fmla="*/ 52102 h 102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5059" h="102584">
                      <a:moveTo>
                        <a:pt x="0" y="52102"/>
                      </a:moveTo>
                      <a:cubicBezTo>
                        <a:pt x="1143" y="18097"/>
                        <a:pt x="17050" y="667"/>
                        <a:pt x="47816" y="0"/>
                      </a:cubicBezTo>
                      <a:cubicBezTo>
                        <a:pt x="78200" y="762"/>
                        <a:pt x="94012" y="18097"/>
                        <a:pt x="95059" y="52102"/>
                      </a:cubicBezTo>
                      <a:cubicBezTo>
                        <a:pt x="94012" y="85058"/>
                        <a:pt x="78200" y="101917"/>
                        <a:pt x="47816" y="102584"/>
                      </a:cubicBezTo>
                      <a:cubicBezTo>
                        <a:pt x="16669" y="102013"/>
                        <a:pt x="762" y="85058"/>
                        <a:pt x="0" y="52102"/>
                      </a:cubicBezTo>
                      <a:close/>
                      <a:moveTo>
                        <a:pt x="22574" y="52102"/>
                      </a:moveTo>
                      <a:cubicBezTo>
                        <a:pt x="22574" y="76105"/>
                        <a:pt x="30956" y="88106"/>
                        <a:pt x="47816" y="88106"/>
                      </a:cubicBezTo>
                      <a:cubicBezTo>
                        <a:pt x="64294" y="88106"/>
                        <a:pt x="72485" y="76105"/>
                        <a:pt x="72485" y="52102"/>
                      </a:cubicBezTo>
                      <a:cubicBezTo>
                        <a:pt x="72485" y="27718"/>
                        <a:pt x="64294" y="15621"/>
                        <a:pt x="47816" y="15621"/>
                      </a:cubicBezTo>
                      <a:cubicBezTo>
                        <a:pt x="30956" y="15621"/>
                        <a:pt x="22574" y="27718"/>
                        <a:pt x="22574" y="5210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38" name="任意多边形: 形状 37">
                  <a:extLst>
                    <a:ext uri="{FF2B5EF4-FFF2-40B4-BE49-F238E27FC236}">
                      <a16:creationId xmlns:a16="http://schemas.microsoft.com/office/drawing/2014/main" id="{01C0D1A8-737C-4D27-A2A4-45565B1C03FD}"/>
                    </a:ext>
                  </a:extLst>
                </p:cNvPr>
                <p:cNvSpPr/>
                <p:nvPr/>
              </p:nvSpPr>
              <p:spPr>
                <a:xfrm>
                  <a:off x="3928840" y="7540275"/>
                  <a:ext cx="79914" cy="99441"/>
                </a:xfrm>
                <a:custGeom>
                  <a:avLst/>
                  <a:gdLst>
                    <a:gd name="connsiteX0" fmla="*/ 21527 w 79914"/>
                    <a:gd name="connsiteY0" fmla="*/ 99441 h 99441"/>
                    <a:gd name="connsiteX1" fmla="*/ 0 w 79914"/>
                    <a:gd name="connsiteY1" fmla="*/ 99441 h 99441"/>
                    <a:gd name="connsiteX2" fmla="*/ 0 w 79914"/>
                    <a:gd name="connsiteY2" fmla="*/ 0 h 99441"/>
                    <a:gd name="connsiteX3" fmla="*/ 42482 w 79914"/>
                    <a:gd name="connsiteY3" fmla="*/ 0 h 99441"/>
                    <a:gd name="connsiteX4" fmla="*/ 76867 w 79914"/>
                    <a:gd name="connsiteY4" fmla="*/ 25813 h 99441"/>
                    <a:gd name="connsiteX5" fmla="*/ 56388 w 79914"/>
                    <a:gd name="connsiteY5" fmla="*/ 50006 h 99441"/>
                    <a:gd name="connsiteX6" fmla="*/ 56388 w 79914"/>
                    <a:gd name="connsiteY6" fmla="*/ 50578 h 99441"/>
                    <a:gd name="connsiteX7" fmla="*/ 74104 w 79914"/>
                    <a:gd name="connsiteY7" fmla="*/ 72580 h 99441"/>
                    <a:gd name="connsiteX8" fmla="*/ 74581 w 79914"/>
                    <a:gd name="connsiteY8" fmla="*/ 75819 h 99441"/>
                    <a:gd name="connsiteX9" fmla="*/ 79915 w 79914"/>
                    <a:gd name="connsiteY9" fmla="*/ 99441 h 99441"/>
                    <a:gd name="connsiteX10" fmla="*/ 56864 w 79914"/>
                    <a:gd name="connsiteY10" fmla="*/ 99441 h 99441"/>
                    <a:gd name="connsiteX11" fmla="*/ 53054 w 79914"/>
                    <a:gd name="connsiteY11" fmla="*/ 72580 h 99441"/>
                    <a:gd name="connsiteX12" fmla="*/ 43910 w 79914"/>
                    <a:gd name="connsiteY12" fmla="*/ 59722 h 99441"/>
                    <a:gd name="connsiteX13" fmla="*/ 21336 w 79914"/>
                    <a:gd name="connsiteY13" fmla="*/ 59722 h 99441"/>
                    <a:gd name="connsiteX14" fmla="*/ 21336 w 79914"/>
                    <a:gd name="connsiteY14" fmla="*/ 99441 h 99441"/>
                    <a:gd name="connsiteX15" fmla="*/ 21527 w 79914"/>
                    <a:gd name="connsiteY15" fmla="*/ 43053 h 99441"/>
                    <a:gd name="connsiteX16" fmla="*/ 39243 w 79914"/>
                    <a:gd name="connsiteY16" fmla="*/ 43053 h 99441"/>
                    <a:gd name="connsiteX17" fmla="*/ 54292 w 79914"/>
                    <a:gd name="connsiteY17" fmla="*/ 29146 h 99441"/>
                    <a:gd name="connsiteX18" fmla="*/ 39243 w 79914"/>
                    <a:gd name="connsiteY18" fmla="*/ 16764 h 99441"/>
                    <a:gd name="connsiteX19" fmla="*/ 21527 w 79914"/>
                    <a:gd name="connsiteY19" fmla="*/ 16764 h 99441"/>
                    <a:gd name="connsiteX20" fmla="*/ 21527 w 79914"/>
                    <a:gd name="connsiteY20" fmla="*/ 43053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79914" h="99441">
                      <a:moveTo>
                        <a:pt x="21527" y="99441"/>
                      </a:move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42482" y="0"/>
                      </a:lnTo>
                      <a:cubicBezTo>
                        <a:pt x="65056" y="381"/>
                        <a:pt x="76486" y="8954"/>
                        <a:pt x="76867" y="25813"/>
                      </a:cubicBezTo>
                      <a:cubicBezTo>
                        <a:pt x="76486" y="38671"/>
                        <a:pt x="69723" y="46768"/>
                        <a:pt x="56388" y="50006"/>
                      </a:cubicBezTo>
                      <a:lnTo>
                        <a:pt x="56388" y="50578"/>
                      </a:lnTo>
                      <a:cubicBezTo>
                        <a:pt x="67532" y="50959"/>
                        <a:pt x="73438" y="58293"/>
                        <a:pt x="74104" y="72580"/>
                      </a:cubicBezTo>
                      <a:cubicBezTo>
                        <a:pt x="74486" y="74009"/>
                        <a:pt x="74581" y="75152"/>
                        <a:pt x="74581" y="75819"/>
                      </a:cubicBezTo>
                      <a:cubicBezTo>
                        <a:pt x="75724" y="87630"/>
                        <a:pt x="77438" y="95536"/>
                        <a:pt x="79915" y="99441"/>
                      </a:cubicBezTo>
                      <a:lnTo>
                        <a:pt x="56864" y="99441"/>
                      </a:lnTo>
                      <a:cubicBezTo>
                        <a:pt x="54674" y="90869"/>
                        <a:pt x="53435" y="81915"/>
                        <a:pt x="53054" y="72580"/>
                      </a:cubicBezTo>
                      <a:cubicBezTo>
                        <a:pt x="52292" y="63913"/>
                        <a:pt x="49244" y="59722"/>
                        <a:pt x="43910" y="59722"/>
                      </a:cubicBezTo>
                      <a:lnTo>
                        <a:pt x="21336" y="59722"/>
                      </a:lnTo>
                      <a:lnTo>
                        <a:pt x="21336" y="99441"/>
                      </a:lnTo>
                      <a:close/>
                      <a:moveTo>
                        <a:pt x="21527" y="43053"/>
                      </a:moveTo>
                      <a:lnTo>
                        <a:pt x="39243" y="43053"/>
                      </a:lnTo>
                      <a:cubicBezTo>
                        <a:pt x="49244" y="43053"/>
                        <a:pt x="54292" y="38481"/>
                        <a:pt x="54292" y="29146"/>
                      </a:cubicBezTo>
                      <a:cubicBezTo>
                        <a:pt x="54292" y="20574"/>
                        <a:pt x="49244" y="16478"/>
                        <a:pt x="39243" y="16764"/>
                      </a:cubicBezTo>
                      <a:lnTo>
                        <a:pt x="21527" y="16764"/>
                      </a:lnTo>
                      <a:lnTo>
                        <a:pt x="21527" y="43053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39" name="任意多边形: 形状 38">
                  <a:extLst>
                    <a:ext uri="{FF2B5EF4-FFF2-40B4-BE49-F238E27FC236}">
                      <a16:creationId xmlns:a16="http://schemas.microsoft.com/office/drawing/2014/main" id="{76C1A0F1-98E1-4373-B2B3-038171604360}"/>
                    </a:ext>
                  </a:extLst>
                </p:cNvPr>
                <p:cNvSpPr/>
                <p:nvPr/>
              </p:nvSpPr>
              <p:spPr>
                <a:xfrm>
                  <a:off x="4020184" y="7540371"/>
                  <a:ext cx="68294" cy="99345"/>
                </a:xfrm>
                <a:custGeom>
                  <a:avLst/>
                  <a:gdLst>
                    <a:gd name="connsiteX0" fmla="*/ 0 w 68294"/>
                    <a:gd name="connsiteY0" fmla="*/ 0 h 99345"/>
                    <a:gd name="connsiteX1" fmla="*/ 66675 w 68294"/>
                    <a:gd name="connsiteY1" fmla="*/ 0 h 99345"/>
                    <a:gd name="connsiteX2" fmla="*/ 66675 w 68294"/>
                    <a:gd name="connsiteY2" fmla="*/ 16669 h 99345"/>
                    <a:gd name="connsiteX3" fmla="*/ 21527 w 68294"/>
                    <a:gd name="connsiteY3" fmla="*/ 16669 h 99345"/>
                    <a:gd name="connsiteX4" fmla="*/ 21527 w 68294"/>
                    <a:gd name="connsiteY4" fmla="*/ 39719 h 99345"/>
                    <a:gd name="connsiteX5" fmla="*/ 63437 w 68294"/>
                    <a:gd name="connsiteY5" fmla="*/ 39719 h 99345"/>
                    <a:gd name="connsiteX6" fmla="*/ 63437 w 68294"/>
                    <a:gd name="connsiteY6" fmla="*/ 56388 h 99345"/>
                    <a:gd name="connsiteX7" fmla="*/ 21527 w 68294"/>
                    <a:gd name="connsiteY7" fmla="*/ 56388 h 99345"/>
                    <a:gd name="connsiteX8" fmla="*/ 21527 w 68294"/>
                    <a:gd name="connsiteY8" fmla="*/ 82677 h 99345"/>
                    <a:gd name="connsiteX9" fmla="*/ 68294 w 68294"/>
                    <a:gd name="connsiteY9" fmla="*/ 82677 h 99345"/>
                    <a:gd name="connsiteX10" fmla="*/ 68294 w 68294"/>
                    <a:gd name="connsiteY10" fmla="*/ 99346 h 99345"/>
                    <a:gd name="connsiteX11" fmla="*/ 95 w 68294"/>
                    <a:gd name="connsiteY11" fmla="*/ 99346 h 99345"/>
                    <a:gd name="connsiteX12" fmla="*/ 95 w 68294"/>
                    <a:gd name="connsiteY12" fmla="*/ 0 h 993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68294" h="99345">
                      <a:moveTo>
                        <a:pt x="0" y="0"/>
                      </a:moveTo>
                      <a:lnTo>
                        <a:pt x="66675" y="0"/>
                      </a:lnTo>
                      <a:lnTo>
                        <a:pt x="66675" y="16669"/>
                      </a:lnTo>
                      <a:lnTo>
                        <a:pt x="21527" y="16669"/>
                      </a:lnTo>
                      <a:lnTo>
                        <a:pt x="21527" y="39719"/>
                      </a:lnTo>
                      <a:lnTo>
                        <a:pt x="63437" y="39719"/>
                      </a:lnTo>
                      <a:lnTo>
                        <a:pt x="63437" y="56388"/>
                      </a:lnTo>
                      <a:lnTo>
                        <a:pt x="21527" y="56388"/>
                      </a:lnTo>
                      <a:lnTo>
                        <a:pt x="21527" y="82677"/>
                      </a:lnTo>
                      <a:lnTo>
                        <a:pt x="68294" y="82677"/>
                      </a:lnTo>
                      <a:lnTo>
                        <a:pt x="68294" y="99346"/>
                      </a:lnTo>
                      <a:lnTo>
                        <a:pt x="95" y="99346"/>
                      </a:lnTo>
                      <a:lnTo>
                        <a:pt x="95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0" name="任意多边形: 形状 39">
                  <a:extLst>
                    <a:ext uri="{FF2B5EF4-FFF2-40B4-BE49-F238E27FC236}">
                      <a16:creationId xmlns:a16="http://schemas.microsoft.com/office/drawing/2014/main" id="{01E0D949-7D26-4CFA-B374-3044DED23055}"/>
                    </a:ext>
                  </a:extLst>
                </p:cNvPr>
                <p:cNvSpPr/>
                <p:nvPr/>
              </p:nvSpPr>
              <p:spPr>
                <a:xfrm>
                  <a:off x="4100948" y="7538180"/>
                  <a:ext cx="80598" cy="102679"/>
                </a:xfrm>
                <a:custGeom>
                  <a:avLst/>
                  <a:gdLst>
                    <a:gd name="connsiteX0" fmla="*/ 57444 w 80598"/>
                    <a:gd name="connsiteY0" fmla="*/ 30671 h 102679"/>
                    <a:gd name="connsiteX1" fmla="*/ 41347 w 80598"/>
                    <a:gd name="connsiteY1" fmla="*/ 15621 h 102679"/>
                    <a:gd name="connsiteX2" fmla="*/ 25250 w 80598"/>
                    <a:gd name="connsiteY2" fmla="*/ 28480 h 102679"/>
                    <a:gd name="connsiteX3" fmla="*/ 43538 w 80598"/>
                    <a:gd name="connsiteY3" fmla="*/ 42481 h 102679"/>
                    <a:gd name="connsiteX4" fmla="*/ 46205 w 80598"/>
                    <a:gd name="connsiteY4" fmla="*/ 42958 h 102679"/>
                    <a:gd name="connsiteX5" fmla="*/ 80590 w 80598"/>
                    <a:gd name="connsiteY5" fmla="*/ 70390 h 102679"/>
                    <a:gd name="connsiteX6" fmla="*/ 38108 w 80598"/>
                    <a:gd name="connsiteY6" fmla="*/ 102679 h 102679"/>
                    <a:gd name="connsiteX7" fmla="*/ 8 w 80598"/>
                    <a:gd name="connsiteY7" fmla="*/ 69818 h 102679"/>
                    <a:gd name="connsiteX8" fmla="*/ 21440 w 80598"/>
                    <a:gd name="connsiteY8" fmla="*/ 69818 h 102679"/>
                    <a:gd name="connsiteX9" fmla="*/ 38108 w 80598"/>
                    <a:gd name="connsiteY9" fmla="*/ 88106 h 102679"/>
                    <a:gd name="connsiteX10" fmla="*/ 58016 w 80598"/>
                    <a:gd name="connsiteY10" fmla="*/ 75247 h 102679"/>
                    <a:gd name="connsiteX11" fmla="*/ 39156 w 80598"/>
                    <a:gd name="connsiteY11" fmla="*/ 61246 h 102679"/>
                    <a:gd name="connsiteX12" fmla="*/ 35441 w 80598"/>
                    <a:gd name="connsiteY12" fmla="*/ 60198 h 102679"/>
                    <a:gd name="connsiteX13" fmla="*/ 2675 w 80598"/>
                    <a:gd name="connsiteY13" fmla="*/ 32766 h 102679"/>
                    <a:gd name="connsiteX14" fmla="*/ 44014 w 80598"/>
                    <a:gd name="connsiteY14" fmla="*/ 0 h 102679"/>
                    <a:gd name="connsiteX15" fmla="*/ 77923 w 80598"/>
                    <a:gd name="connsiteY15" fmla="*/ 30671 h 102679"/>
                    <a:gd name="connsiteX16" fmla="*/ 57444 w 80598"/>
                    <a:gd name="connsiteY16" fmla="*/ 30671 h 1026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80598" h="102679">
                      <a:moveTo>
                        <a:pt x="57444" y="30671"/>
                      </a:moveTo>
                      <a:cubicBezTo>
                        <a:pt x="57063" y="20669"/>
                        <a:pt x="51729" y="15621"/>
                        <a:pt x="41347" y="15621"/>
                      </a:cubicBezTo>
                      <a:cubicBezTo>
                        <a:pt x="30965" y="16383"/>
                        <a:pt x="25535" y="20669"/>
                        <a:pt x="25250" y="28480"/>
                      </a:cubicBezTo>
                      <a:cubicBezTo>
                        <a:pt x="24488" y="36004"/>
                        <a:pt x="30584" y="40672"/>
                        <a:pt x="43538" y="42481"/>
                      </a:cubicBezTo>
                      <a:cubicBezTo>
                        <a:pt x="43919" y="42481"/>
                        <a:pt x="44776" y="42672"/>
                        <a:pt x="46205" y="42958"/>
                      </a:cubicBezTo>
                      <a:cubicBezTo>
                        <a:pt x="69446" y="47625"/>
                        <a:pt x="80971" y="56769"/>
                        <a:pt x="80590" y="70390"/>
                      </a:cubicBezTo>
                      <a:cubicBezTo>
                        <a:pt x="80304" y="91249"/>
                        <a:pt x="66112" y="102013"/>
                        <a:pt x="38108" y="102679"/>
                      </a:cubicBezTo>
                      <a:cubicBezTo>
                        <a:pt x="12296" y="102679"/>
                        <a:pt x="-373" y="91821"/>
                        <a:pt x="8" y="69818"/>
                      </a:cubicBezTo>
                      <a:lnTo>
                        <a:pt x="21440" y="69818"/>
                      </a:lnTo>
                      <a:cubicBezTo>
                        <a:pt x="21440" y="81344"/>
                        <a:pt x="26964" y="87439"/>
                        <a:pt x="38108" y="88106"/>
                      </a:cubicBezTo>
                      <a:cubicBezTo>
                        <a:pt x="50967" y="87821"/>
                        <a:pt x="57634" y="83439"/>
                        <a:pt x="58016" y="75247"/>
                      </a:cubicBezTo>
                      <a:cubicBezTo>
                        <a:pt x="58016" y="68389"/>
                        <a:pt x="51729" y="63722"/>
                        <a:pt x="39156" y="61246"/>
                      </a:cubicBezTo>
                      <a:cubicBezTo>
                        <a:pt x="37346" y="60865"/>
                        <a:pt x="36108" y="60484"/>
                        <a:pt x="35441" y="60198"/>
                      </a:cubicBezTo>
                      <a:cubicBezTo>
                        <a:pt x="13629" y="55150"/>
                        <a:pt x="2675" y="46006"/>
                        <a:pt x="2675" y="32766"/>
                      </a:cubicBezTo>
                      <a:cubicBezTo>
                        <a:pt x="3723" y="12287"/>
                        <a:pt x="17534" y="1429"/>
                        <a:pt x="44014" y="0"/>
                      </a:cubicBezTo>
                      <a:cubicBezTo>
                        <a:pt x="65540" y="1048"/>
                        <a:pt x="76875" y="11335"/>
                        <a:pt x="77923" y="30671"/>
                      </a:cubicBezTo>
                      <a:lnTo>
                        <a:pt x="57444" y="3067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1" name="任意多边形: 形状 40">
                  <a:extLst>
                    <a:ext uri="{FF2B5EF4-FFF2-40B4-BE49-F238E27FC236}">
                      <a16:creationId xmlns:a16="http://schemas.microsoft.com/office/drawing/2014/main" id="{936DD7A5-CDD6-4C69-AEC1-247B80381C40}"/>
                    </a:ext>
                  </a:extLst>
                </p:cNvPr>
                <p:cNvSpPr/>
                <p:nvPr/>
              </p:nvSpPr>
              <p:spPr>
                <a:xfrm>
                  <a:off x="4188967" y="7540371"/>
                  <a:ext cx="80581" cy="99440"/>
                </a:xfrm>
                <a:custGeom>
                  <a:avLst/>
                  <a:gdLst>
                    <a:gd name="connsiteX0" fmla="*/ 0 w 80581"/>
                    <a:gd name="connsiteY0" fmla="*/ 0 h 99440"/>
                    <a:gd name="connsiteX1" fmla="*/ 80581 w 80581"/>
                    <a:gd name="connsiteY1" fmla="*/ 0 h 99440"/>
                    <a:gd name="connsiteX2" fmla="*/ 80581 w 80581"/>
                    <a:gd name="connsiteY2" fmla="*/ 16669 h 99440"/>
                    <a:gd name="connsiteX3" fmla="*/ 51054 w 80581"/>
                    <a:gd name="connsiteY3" fmla="*/ 16669 h 99440"/>
                    <a:gd name="connsiteX4" fmla="*/ 51054 w 80581"/>
                    <a:gd name="connsiteY4" fmla="*/ 99441 h 99440"/>
                    <a:gd name="connsiteX5" fmla="*/ 29528 w 80581"/>
                    <a:gd name="connsiteY5" fmla="*/ 99441 h 99440"/>
                    <a:gd name="connsiteX6" fmla="*/ 29528 w 80581"/>
                    <a:gd name="connsiteY6" fmla="*/ 16669 h 99440"/>
                    <a:gd name="connsiteX7" fmla="*/ 0 w 80581"/>
                    <a:gd name="connsiteY7" fmla="*/ 16669 h 99440"/>
                    <a:gd name="connsiteX8" fmla="*/ 0 w 80581"/>
                    <a:gd name="connsiteY8" fmla="*/ 0 h 99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0581" h="99440">
                      <a:moveTo>
                        <a:pt x="0" y="0"/>
                      </a:moveTo>
                      <a:lnTo>
                        <a:pt x="80581" y="0"/>
                      </a:lnTo>
                      <a:lnTo>
                        <a:pt x="80581" y="16669"/>
                      </a:lnTo>
                      <a:lnTo>
                        <a:pt x="51054" y="16669"/>
                      </a:lnTo>
                      <a:lnTo>
                        <a:pt x="51054" y="99441"/>
                      </a:lnTo>
                      <a:lnTo>
                        <a:pt x="29528" y="99441"/>
                      </a:lnTo>
                      <a:lnTo>
                        <a:pt x="29528" y="16669"/>
                      </a:lnTo>
                      <a:lnTo>
                        <a:pt x="0" y="1666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2" name="任意多边形: 形状 41">
                  <a:extLst>
                    <a:ext uri="{FF2B5EF4-FFF2-40B4-BE49-F238E27FC236}">
                      <a16:creationId xmlns:a16="http://schemas.microsoft.com/office/drawing/2014/main" id="{1DAEBB4C-451F-4337-A75A-ED09AF3D7EE6}"/>
                    </a:ext>
                  </a:extLst>
                </p:cNvPr>
                <p:cNvSpPr/>
                <p:nvPr/>
              </p:nvSpPr>
              <p:spPr>
                <a:xfrm>
                  <a:off x="4279265" y="7540275"/>
                  <a:ext cx="80009" cy="99441"/>
                </a:xfrm>
                <a:custGeom>
                  <a:avLst/>
                  <a:gdLst>
                    <a:gd name="connsiteX0" fmla="*/ 21526 w 80009"/>
                    <a:gd name="connsiteY0" fmla="*/ 99441 h 99441"/>
                    <a:gd name="connsiteX1" fmla="*/ 0 w 80009"/>
                    <a:gd name="connsiteY1" fmla="*/ 99441 h 99441"/>
                    <a:gd name="connsiteX2" fmla="*/ 0 w 80009"/>
                    <a:gd name="connsiteY2" fmla="*/ 0 h 99441"/>
                    <a:gd name="connsiteX3" fmla="*/ 42481 w 80009"/>
                    <a:gd name="connsiteY3" fmla="*/ 0 h 99441"/>
                    <a:gd name="connsiteX4" fmla="*/ 76867 w 80009"/>
                    <a:gd name="connsiteY4" fmla="*/ 25813 h 99441"/>
                    <a:gd name="connsiteX5" fmla="*/ 56388 w 80009"/>
                    <a:gd name="connsiteY5" fmla="*/ 50006 h 99441"/>
                    <a:gd name="connsiteX6" fmla="*/ 56388 w 80009"/>
                    <a:gd name="connsiteY6" fmla="*/ 50578 h 99441"/>
                    <a:gd name="connsiteX7" fmla="*/ 74104 w 80009"/>
                    <a:gd name="connsiteY7" fmla="*/ 72580 h 99441"/>
                    <a:gd name="connsiteX8" fmla="*/ 74676 w 80009"/>
                    <a:gd name="connsiteY8" fmla="*/ 75819 h 99441"/>
                    <a:gd name="connsiteX9" fmla="*/ 80010 w 80009"/>
                    <a:gd name="connsiteY9" fmla="*/ 99441 h 99441"/>
                    <a:gd name="connsiteX10" fmla="*/ 56864 w 80009"/>
                    <a:gd name="connsiteY10" fmla="*/ 99441 h 99441"/>
                    <a:gd name="connsiteX11" fmla="*/ 53149 w 80009"/>
                    <a:gd name="connsiteY11" fmla="*/ 72580 h 99441"/>
                    <a:gd name="connsiteX12" fmla="*/ 44005 w 80009"/>
                    <a:gd name="connsiteY12" fmla="*/ 59722 h 99441"/>
                    <a:gd name="connsiteX13" fmla="*/ 21431 w 80009"/>
                    <a:gd name="connsiteY13" fmla="*/ 59722 h 99441"/>
                    <a:gd name="connsiteX14" fmla="*/ 21431 w 80009"/>
                    <a:gd name="connsiteY14" fmla="*/ 99441 h 99441"/>
                    <a:gd name="connsiteX15" fmla="*/ 21526 w 80009"/>
                    <a:gd name="connsiteY15" fmla="*/ 43053 h 99441"/>
                    <a:gd name="connsiteX16" fmla="*/ 39243 w 80009"/>
                    <a:gd name="connsiteY16" fmla="*/ 43053 h 99441"/>
                    <a:gd name="connsiteX17" fmla="*/ 54292 w 80009"/>
                    <a:gd name="connsiteY17" fmla="*/ 29146 h 99441"/>
                    <a:gd name="connsiteX18" fmla="*/ 39243 w 80009"/>
                    <a:gd name="connsiteY18" fmla="*/ 16764 h 99441"/>
                    <a:gd name="connsiteX19" fmla="*/ 21526 w 80009"/>
                    <a:gd name="connsiteY19" fmla="*/ 16764 h 99441"/>
                    <a:gd name="connsiteX20" fmla="*/ 21526 w 80009"/>
                    <a:gd name="connsiteY20" fmla="*/ 43053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0009" h="99441">
                      <a:moveTo>
                        <a:pt x="21526" y="99441"/>
                      </a:move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42481" y="0"/>
                      </a:lnTo>
                      <a:cubicBezTo>
                        <a:pt x="65056" y="381"/>
                        <a:pt x="76486" y="8954"/>
                        <a:pt x="76867" y="25813"/>
                      </a:cubicBezTo>
                      <a:cubicBezTo>
                        <a:pt x="76486" y="38671"/>
                        <a:pt x="69628" y="46768"/>
                        <a:pt x="56388" y="50006"/>
                      </a:cubicBezTo>
                      <a:lnTo>
                        <a:pt x="56388" y="50578"/>
                      </a:lnTo>
                      <a:cubicBezTo>
                        <a:pt x="67532" y="50959"/>
                        <a:pt x="73438" y="58293"/>
                        <a:pt x="74104" y="72580"/>
                      </a:cubicBezTo>
                      <a:cubicBezTo>
                        <a:pt x="74486" y="74009"/>
                        <a:pt x="74676" y="75152"/>
                        <a:pt x="74676" y="75819"/>
                      </a:cubicBezTo>
                      <a:cubicBezTo>
                        <a:pt x="75724" y="87630"/>
                        <a:pt x="77533" y="95536"/>
                        <a:pt x="80010" y="99441"/>
                      </a:cubicBezTo>
                      <a:lnTo>
                        <a:pt x="56864" y="99441"/>
                      </a:lnTo>
                      <a:cubicBezTo>
                        <a:pt x="54673" y="90869"/>
                        <a:pt x="53435" y="81915"/>
                        <a:pt x="53149" y="72580"/>
                      </a:cubicBezTo>
                      <a:cubicBezTo>
                        <a:pt x="52388" y="63913"/>
                        <a:pt x="49339" y="59722"/>
                        <a:pt x="44005" y="59722"/>
                      </a:cubicBezTo>
                      <a:lnTo>
                        <a:pt x="21431" y="59722"/>
                      </a:lnTo>
                      <a:lnTo>
                        <a:pt x="21431" y="99441"/>
                      </a:lnTo>
                      <a:close/>
                      <a:moveTo>
                        <a:pt x="21526" y="43053"/>
                      </a:moveTo>
                      <a:lnTo>
                        <a:pt x="39243" y="43053"/>
                      </a:lnTo>
                      <a:cubicBezTo>
                        <a:pt x="49244" y="43053"/>
                        <a:pt x="54292" y="38481"/>
                        <a:pt x="54292" y="29146"/>
                      </a:cubicBezTo>
                      <a:cubicBezTo>
                        <a:pt x="54292" y="20574"/>
                        <a:pt x="49244" y="16478"/>
                        <a:pt x="39243" y="16764"/>
                      </a:cubicBezTo>
                      <a:lnTo>
                        <a:pt x="21526" y="16764"/>
                      </a:lnTo>
                      <a:lnTo>
                        <a:pt x="21526" y="43053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3" name="任意多边形: 形状 42">
                  <a:extLst>
                    <a:ext uri="{FF2B5EF4-FFF2-40B4-BE49-F238E27FC236}">
                      <a16:creationId xmlns:a16="http://schemas.microsoft.com/office/drawing/2014/main" id="{DE22EC1A-B415-4A9A-BCC5-6931E6981A2F}"/>
                    </a:ext>
                  </a:extLst>
                </p:cNvPr>
                <p:cNvSpPr/>
                <p:nvPr/>
              </p:nvSpPr>
              <p:spPr>
                <a:xfrm>
                  <a:off x="4364227" y="7540371"/>
                  <a:ext cx="88106" cy="99440"/>
                </a:xfrm>
                <a:custGeom>
                  <a:avLst/>
                  <a:gdLst>
                    <a:gd name="connsiteX0" fmla="*/ 33814 w 88106"/>
                    <a:gd name="connsiteY0" fmla="*/ 67151 h 99440"/>
                    <a:gd name="connsiteX1" fmla="*/ 0 w 88106"/>
                    <a:gd name="connsiteY1" fmla="*/ 0 h 99440"/>
                    <a:gd name="connsiteX2" fmla="*/ 25241 w 88106"/>
                    <a:gd name="connsiteY2" fmla="*/ 0 h 99440"/>
                    <a:gd name="connsiteX3" fmla="*/ 45625 w 88106"/>
                    <a:gd name="connsiteY3" fmla="*/ 45625 h 99440"/>
                    <a:gd name="connsiteX4" fmla="*/ 66675 w 88106"/>
                    <a:gd name="connsiteY4" fmla="*/ 0 h 99440"/>
                    <a:gd name="connsiteX5" fmla="*/ 88106 w 88106"/>
                    <a:gd name="connsiteY5" fmla="*/ 0 h 99440"/>
                    <a:gd name="connsiteX6" fmla="*/ 54769 w 88106"/>
                    <a:gd name="connsiteY6" fmla="*/ 67151 h 99440"/>
                    <a:gd name="connsiteX7" fmla="*/ 54769 w 88106"/>
                    <a:gd name="connsiteY7" fmla="*/ 99441 h 99440"/>
                    <a:gd name="connsiteX8" fmla="*/ 33814 w 88106"/>
                    <a:gd name="connsiteY8" fmla="*/ 99441 h 99440"/>
                    <a:gd name="connsiteX9" fmla="*/ 33814 w 88106"/>
                    <a:gd name="connsiteY9" fmla="*/ 67151 h 99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8106" h="99440">
                      <a:moveTo>
                        <a:pt x="33814" y="67151"/>
                      </a:moveTo>
                      <a:lnTo>
                        <a:pt x="0" y="0"/>
                      </a:lnTo>
                      <a:lnTo>
                        <a:pt x="25241" y="0"/>
                      </a:lnTo>
                      <a:lnTo>
                        <a:pt x="45625" y="45625"/>
                      </a:lnTo>
                      <a:lnTo>
                        <a:pt x="66675" y="0"/>
                      </a:lnTo>
                      <a:lnTo>
                        <a:pt x="88106" y="0"/>
                      </a:lnTo>
                      <a:lnTo>
                        <a:pt x="54769" y="67151"/>
                      </a:lnTo>
                      <a:lnTo>
                        <a:pt x="54769" y="99441"/>
                      </a:lnTo>
                      <a:lnTo>
                        <a:pt x="33814" y="99441"/>
                      </a:lnTo>
                      <a:lnTo>
                        <a:pt x="33814" y="6715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4" name="任意多边形: 形状 43">
                  <a:extLst>
                    <a:ext uri="{FF2B5EF4-FFF2-40B4-BE49-F238E27FC236}">
                      <a16:creationId xmlns:a16="http://schemas.microsoft.com/office/drawing/2014/main" id="{1EFE33B4-C765-4612-992E-B8803549CF84}"/>
                    </a:ext>
                  </a:extLst>
                </p:cNvPr>
                <p:cNvSpPr/>
                <p:nvPr/>
              </p:nvSpPr>
              <p:spPr>
                <a:xfrm>
                  <a:off x="4502340" y="7540371"/>
                  <a:ext cx="86582" cy="100488"/>
                </a:xfrm>
                <a:custGeom>
                  <a:avLst/>
                  <a:gdLst>
                    <a:gd name="connsiteX0" fmla="*/ 86582 w 86582"/>
                    <a:gd name="connsiteY0" fmla="*/ 0 h 100488"/>
                    <a:gd name="connsiteX1" fmla="*/ 86582 w 86582"/>
                    <a:gd name="connsiteY1" fmla="*/ 62293 h 100488"/>
                    <a:gd name="connsiteX2" fmla="*/ 43529 w 86582"/>
                    <a:gd name="connsiteY2" fmla="*/ 100489 h 100488"/>
                    <a:gd name="connsiteX3" fmla="*/ 0 w 86582"/>
                    <a:gd name="connsiteY3" fmla="*/ 62293 h 100488"/>
                    <a:gd name="connsiteX4" fmla="*/ 0 w 86582"/>
                    <a:gd name="connsiteY4" fmla="*/ 0 h 100488"/>
                    <a:gd name="connsiteX5" fmla="*/ 21527 w 86582"/>
                    <a:gd name="connsiteY5" fmla="*/ 0 h 100488"/>
                    <a:gd name="connsiteX6" fmla="*/ 21527 w 86582"/>
                    <a:gd name="connsiteY6" fmla="*/ 54292 h 100488"/>
                    <a:gd name="connsiteX7" fmla="*/ 25813 w 86582"/>
                    <a:gd name="connsiteY7" fmla="*/ 78486 h 100488"/>
                    <a:gd name="connsiteX8" fmla="*/ 43529 w 86582"/>
                    <a:gd name="connsiteY8" fmla="*/ 86011 h 100488"/>
                    <a:gd name="connsiteX9" fmla="*/ 60674 w 86582"/>
                    <a:gd name="connsiteY9" fmla="*/ 78486 h 100488"/>
                    <a:gd name="connsiteX10" fmla="*/ 64961 w 86582"/>
                    <a:gd name="connsiteY10" fmla="*/ 54292 h 100488"/>
                    <a:gd name="connsiteX11" fmla="*/ 64961 w 86582"/>
                    <a:gd name="connsiteY11" fmla="*/ 0 h 100488"/>
                    <a:gd name="connsiteX12" fmla="*/ 86582 w 86582"/>
                    <a:gd name="connsiteY12" fmla="*/ 0 h 1004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6582" h="100488">
                      <a:moveTo>
                        <a:pt x="86582" y="0"/>
                      </a:moveTo>
                      <a:lnTo>
                        <a:pt x="86582" y="62293"/>
                      </a:lnTo>
                      <a:cubicBezTo>
                        <a:pt x="85439" y="87058"/>
                        <a:pt x="71152" y="99822"/>
                        <a:pt x="43529" y="100489"/>
                      </a:cubicBezTo>
                      <a:cubicBezTo>
                        <a:pt x="15240" y="99822"/>
                        <a:pt x="667" y="87058"/>
                        <a:pt x="0" y="62293"/>
                      </a:cubicBezTo>
                      <a:lnTo>
                        <a:pt x="0" y="0"/>
                      </a:lnTo>
                      <a:lnTo>
                        <a:pt x="21527" y="0"/>
                      </a:lnTo>
                      <a:lnTo>
                        <a:pt x="21527" y="54292"/>
                      </a:lnTo>
                      <a:cubicBezTo>
                        <a:pt x="21146" y="66103"/>
                        <a:pt x="22574" y="74200"/>
                        <a:pt x="25813" y="78486"/>
                      </a:cubicBezTo>
                      <a:cubicBezTo>
                        <a:pt x="29432" y="83534"/>
                        <a:pt x="35338" y="86011"/>
                        <a:pt x="43529" y="86011"/>
                      </a:cubicBezTo>
                      <a:cubicBezTo>
                        <a:pt x="51816" y="86011"/>
                        <a:pt x="57436" y="83534"/>
                        <a:pt x="60674" y="78486"/>
                      </a:cubicBezTo>
                      <a:cubicBezTo>
                        <a:pt x="63913" y="74200"/>
                        <a:pt x="65342" y="66199"/>
                        <a:pt x="64961" y="54292"/>
                      </a:cubicBezTo>
                      <a:lnTo>
                        <a:pt x="64961" y="0"/>
                      </a:lnTo>
                      <a:lnTo>
                        <a:pt x="86582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5" name="任意多边形: 形状 44">
                  <a:extLst>
                    <a:ext uri="{FF2B5EF4-FFF2-40B4-BE49-F238E27FC236}">
                      <a16:creationId xmlns:a16="http://schemas.microsoft.com/office/drawing/2014/main" id="{52183388-F3F9-40EF-9FA7-88E6B24B4064}"/>
                    </a:ext>
                  </a:extLst>
                </p:cNvPr>
                <p:cNvSpPr/>
                <p:nvPr/>
              </p:nvSpPr>
              <p:spPr>
                <a:xfrm>
                  <a:off x="4608258" y="7540275"/>
                  <a:ext cx="89725" cy="99441"/>
                </a:xfrm>
                <a:custGeom>
                  <a:avLst/>
                  <a:gdLst>
                    <a:gd name="connsiteX0" fmla="*/ 59055 w 89725"/>
                    <a:gd name="connsiteY0" fmla="*/ 99441 h 99441"/>
                    <a:gd name="connsiteX1" fmla="*/ 20383 w 89725"/>
                    <a:gd name="connsiteY1" fmla="*/ 16669 h 99441"/>
                    <a:gd name="connsiteX2" fmla="*/ 19907 w 89725"/>
                    <a:gd name="connsiteY2" fmla="*/ 17240 h 99441"/>
                    <a:gd name="connsiteX3" fmla="*/ 19907 w 89725"/>
                    <a:gd name="connsiteY3" fmla="*/ 99441 h 99441"/>
                    <a:gd name="connsiteX4" fmla="*/ 0 w 89725"/>
                    <a:gd name="connsiteY4" fmla="*/ 99441 h 99441"/>
                    <a:gd name="connsiteX5" fmla="*/ 0 w 89725"/>
                    <a:gd name="connsiteY5" fmla="*/ 0 h 99441"/>
                    <a:gd name="connsiteX6" fmla="*/ 31718 w 89725"/>
                    <a:gd name="connsiteY6" fmla="*/ 0 h 99441"/>
                    <a:gd name="connsiteX7" fmla="*/ 69342 w 89725"/>
                    <a:gd name="connsiteY7" fmla="*/ 78391 h 99441"/>
                    <a:gd name="connsiteX8" fmla="*/ 69818 w 89725"/>
                    <a:gd name="connsiteY8" fmla="*/ 77914 h 99441"/>
                    <a:gd name="connsiteX9" fmla="*/ 69818 w 89725"/>
                    <a:gd name="connsiteY9" fmla="*/ 0 h 99441"/>
                    <a:gd name="connsiteX10" fmla="*/ 89725 w 89725"/>
                    <a:gd name="connsiteY10" fmla="*/ 0 h 99441"/>
                    <a:gd name="connsiteX11" fmla="*/ 89725 w 89725"/>
                    <a:gd name="connsiteY11" fmla="*/ 99441 h 99441"/>
                    <a:gd name="connsiteX12" fmla="*/ 59055 w 89725"/>
                    <a:gd name="connsiteY12" fmla="*/ 99441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9725" h="99441">
                      <a:moveTo>
                        <a:pt x="59055" y="99441"/>
                      </a:moveTo>
                      <a:lnTo>
                        <a:pt x="20383" y="16669"/>
                      </a:lnTo>
                      <a:lnTo>
                        <a:pt x="19907" y="17240"/>
                      </a:lnTo>
                      <a:lnTo>
                        <a:pt x="19907" y="99441"/>
                      </a:ln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31718" y="0"/>
                      </a:lnTo>
                      <a:lnTo>
                        <a:pt x="69342" y="78391"/>
                      </a:lnTo>
                      <a:lnTo>
                        <a:pt x="69818" y="77914"/>
                      </a:lnTo>
                      <a:lnTo>
                        <a:pt x="69818" y="0"/>
                      </a:lnTo>
                      <a:lnTo>
                        <a:pt x="89725" y="0"/>
                      </a:lnTo>
                      <a:lnTo>
                        <a:pt x="89725" y="99441"/>
                      </a:lnTo>
                      <a:lnTo>
                        <a:pt x="59055" y="9944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6" name="任意多边形: 形状 45">
                  <a:extLst>
                    <a:ext uri="{FF2B5EF4-FFF2-40B4-BE49-F238E27FC236}">
                      <a16:creationId xmlns:a16="http://schemas.microsoft.com/office/drawing/2014/main" id="{7B54F3AF-A6B9-4E34-9B71-FE9BF3E719E5}"/>
                    </a:ext>
                  </a:extLst>
                </p:cNvPr>
                <p:cNvSpPr/>
                <p:nvPr/>
              </p:nvSpPr>
              <p:spPr>
                <a:xfrm>
                  <a:off x="4714652" y="7540275"/>
                  <a:ext cx="21431" cy="99441"/>
                </a:xfrm>
                <a:custGeom>
                  <a:avLst/>
                  <a:gdLst>
                    <a:gd name="connsiteX0" fmla="*/ 21431 w 21431"/>
                    <a:gd name="connsiteY0" fmla="*/ 99441 h 99441"/>
                    <a:gd name="connsiteX1" fmla="*/ 0 w 21431"/>
                    <a:gd name="connsiteY1" fmla="*/ 99441 h 99441"/>
                    <a:gd name="connsiteX2" fmla="*/ 0 w 21431"/>
                    <a:gd name="connsiteY2" fmla="*/ 0 h 99441"/>
                    <a:gd name="connsiteX3" fmla="*/ 21431 w 21431"/>
                    <a:gd name="connsiteY3" fmla="*/ 0 h 99441"/>
                    <a:gd name="connsiteX4" fmla="*/ 21431 w 21431"/>
                    <a:gd name="connsiteY4" fmla="*/ 99441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431" h="99441">
                      <a:moveTo>
                        <a:pt x="21431" y="99441"/>
                      </a:move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21431" y="0"/>
                      </a:lnTo>
                      <a:lnTo>
                        <a:pt x="21431" y="9944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7" name="任意多边形: 形状 46">
                  <a:extLst>
                    <a:ext uri="{FF2B5EF4-FFF2-40B4-BE49-F238E27FC236}">
                      <a16:creationId xmlns:a16="http://schemas.microsoft.com/office/drawing/2014/main" id="{75D6910F-1445-47AE-9E8E-5B1492382A78}"/>
                    </a:ext>
                  </a:extLst>
                </p:cNvPr>
                <p:cNvSpPr/>
                <p:nvPr/>
              </p:nvSpPr>
              <p:spPr>
                <a:xfrm>
                  <a:off x="4745799" y="7540371"/>
                  <a:ext cx="96202" cy="99440"/>
                </a:xfrm>
                <a:custGeom>
                  <a:avLst/>
                  <a:gdLst>
                    <a:gd name="connsiteX0" fmla="*/ 0 w 96202"/>
                    <a:gd name="connsiteY0" fmla="*/ 0 h 99440"/>
                    <a:gd name="connsiteX1" fmla="*/ 23146 w 96202"/>
                    <a:gd name="connsiteY1" fmla="*/ 0 h 99440"/>
                    <a:gd name="connsiteX2" fmla="*/ 48863 w 96202"/>
                    <a:gd name="connsiteY2" fmla="*/ 78391 h 99440"/>
                    <a:gd name="connsiteX3" fmla="*/ 49435 w 96202"/>
                    <a:gd name="connsiteY3" fmla="*/ 78391 h 99440"/>
                    <a:gd name="connsiteX4" fmla="*/ 75248 w 96202"/>
                    <a:gd name="connsiteY4" fmla="*/ 0 h 99440"/>
                    <a:gd name="connsiteX5" fmla="*/ 96203 w 96202"/>
                    <a:gd name="connsiteY5" fmla="*/ 0 h 99440"/>
                    <a:gd name="connsiteX6" fmla="*/ 59627 w 96202"/>
                    <a:gd name="connsiteY6" fmla="*/ 99441 h 99440"/>
                    <a:gd name="connsiteX7" fmla="*/ 36576 w 96202"/>
                    <a:gd name="connsiteY7" fmla="*/ 99441 h 99440"/>
                    <a:gd name="connsiteX8" fmla="*/ 0 w 96202"/>
                    <a:gd name="connsiteY8" fmla="*/ 0 h 99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6202" h="99440">
                      <a:moveTo>
                        <a:pt x="0" y="0"/>
                      </a:moveTo>
                      <a:lnTo>
                        <a:pt x="23146" y="0"/>
                      </a:lnTo>
                      <a:lnTo>
                        <a:pt x="48863" y="78391"/>
                      </a:lnTo>
                      <a:lnTo>
                        <a:pt x="49435" y="78391"/>
                      </a:lnTo>
                      <a:lnTo>
                        <a:pt x="75248" y="0"/>
                      </a:lnTo>
                      <a:lnTo>
                        <a:pt x="96203" y="0"/>
                      </a:lnTo>
                      <a:lnTo>
                        <a:pt x="59627" y="99441"/>
                      </a:lnTo>
                      <a:lnTo>
                        <a:pt x="36576" y="9944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8" name="任意多边形: 形状 47">
                  <a:extLst>
                    <a:ext uri="{FF2B5EF4-FFF2-40B4-BE49-F238E27FC236}">
                      <a16:creationId xmlns:a16="http://schemas.microsoft.com/office/drawing/2014/main" id="{902774E9-CA88-40C9-AC78-9DC185417864}"/>
                    </a:ext>
                  </a:extLst>
                </p:cNvPr>
                <p:cNvSpPr/>
                <p:nvPr/>
              </p:nvSpPr>
              <p:spPr>
                <a:xfrm>
                  <a:off x="4851050" y="7540371"/>
                  <a:ext cx="68294" cy="99345"/>
                </a:xfrm>
                <a:custGeom>
                  <a:avLst/>
                  <a:gdLst>
                    <a:gd name="connsiteX0" fmla="*/ 0 w 68294"/>
                    <a:gd name="connsiteY0" fmla="*/ 0 h 99345"/>
                    <a:gd name="connsiteX1" fmla="*/ 66675 w 68294"/>
                    <a:gd name="connsiteY1" fmla="*/ 0 h 99345"/>
                    <a:gd name="connsiteX2" fmla="*/ 66675 w 68294"/>
                    <a:gd name="connsiteY2" fmla="*/ 16669 h 99345"/>
                    <a:gd name="connsiteX3" fmla="*/ 21527 w 68294"/>
                    <a:gd name="connsiteY3" fmla="*/ 16669 h 99345"/>
                    <a:gd name="connsiteX4" fmla="*/ 21527 w 68294"/>
                    <a:gd name="connsiteY4" fmla="*/ 39719 h 99345"/>
                    <a:gd name="connsiteX5" fmla="*/ 63437 w 68294"/>
                    <a:gd name="connsiteY5" fmla="*/ 39719 h 99345"/>
                    <a:gd name="connsiteX6" fmla="*/ 63437 w 68294"/>
                    <a:gd name="connsiteY6" fmla="*/ 56388 h 99345"/>
                    <a:gd name="connsiteX7" fmla="*/ 21527 w 68294"/>
                    <a:gd name="connsiteY7" fmla="*/ 56388 h 99345"/>
                    <a:gd name="connsiteX8" fmla="*/ 21527 w 68294"/>
                    <a:gd name="connsiteY8" fmla="*/ 82677 h 99345"/>
                    <a:gd name="connsiteX9" fmla="*/ 68294 w 68294"/>
                    <a:gd name="connsiteY9" fmla="*/ 82677 h 99345"/>
                    <a:gd name="connsiteX10" fmla="*/ 68294 w 68294"/>
                    <a:gd name="connsiteY10" fmla="*/ 99346 h 99345"/>
                    <a:gd name="connsiteX11" fmla="*/ 0 w 68294"/>
                    <a:gd name="connsiteY11" fmla="*/ 99346 h 99345"/>
                    <a:gd name="connsiteX12" fmla="*/ 0 w 68294"/>
                    <a:gd name="connsiteY12" fmla="*/ 0 h 993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68294" h="99345">
                      <a:moveTo>
                        <a:pt x="0" y="0"/>
                      </a:moveTo>
                      <a:lnTo>
                        <a:pt x="66675" y="0"/>
                      </a:lnTo>
                      <a:lnTo>
                        <a:pt x="66675" y="16669"/>
                      </a:lnTo>
                      <a:lnTo>
                        <a:pt x="21527" y="16669"/>
                      </a:lnTo>
                      <a:lnTo>
                        <a:pt x="21527" y="39719"/>
                      </a:lnTo>
                      <a:lnTo>
                        <a:pt x="63437" y="39719"/>
                      </a:lnTo>
                      <a:lnTo>
                        <a:pt x="63437" y="56388"/>
                      </a:lnTo>
                      <a:lnTo>
                        <a:pt x="21527" y="56388"/>
                      </a:lnTo>
                      <a:lnTo>
                        <a:pt x="21527" y="82677"/>
                      </a:lnTo>
                      <a:lnTo>
                        <a:pt x="68294" y="82677"/>
                      </a:lnTo>
                      <a:lnTo>
                        <a:pt x="68294" y="99346"/>
                      </a:lnTo>
                      <a:lnTo>
                        <a:pt x="0" y="9934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9" name="任意多边形: 形状 48">
                  <a:extLst>
                    <a:ext uri="{FF2B5EF4-FFF2-40B4-BE49-F238E27FC236}">
                      <a16:creationId xmlns:a16="http://schemas.microsoft.com/office/drawing/2014/main" id="{2EB9F331-3EB6-44C4-9838-1F9D551CFE6E}"/>
                    </a:ext>
                  </a:extLst>
                </p:cNvPr>
                <p:cNvSpPr/>
                <p:nvPr/>
              </p:nvSpPr>
              <p:spPr>
                <a:xfrm>
                  <a:off x="4934966" y="7540275"/>
                  <a:ext cx="80009" cy="99441"/>
                </a:xfrm>
                <a:custGeom>
                  <a:avLst/>
                  <a:gdLst>
                    <a:gd name="connsiteX0" fmla="*/ 21431 w 80009"/>
                    <a:gd name="connsiteY0" fmla="*/ 99441 h 99441"/>
                    <a:gd name="connsiteX1" fmla="*/ 0 w 80009"/>
                    <a:gd name="connsiteY1" fmla="*/ 99441 h 99441"/>
                    <a:gd name="connsiteX2" fmla="*/ 0 w 80009"/>
                    <a:gd name="connsiteY2" fmla="*/ 0 h 99441"/>
                    <a:gd name="connsiteX3" fmla="*/ 42481 w 80009"/>
                    <a:gd name="connsiteY3" fmla="*/ 0 h 99441"/>
                    <a:gd name="connsiteX4" fmla="*/ 76867 w 80009"/>
                    <a:gd name="connsiteY4" fmla="*/ 25813 h 99441"/>
                    <a:gd name="connsiteX5" fmla="*/ 56483 w 80009"/>
                    <a:gd name="connsiteY5" fmla="*/ 50006 h 99441"/>
                    <a:gd name="connsiteX6" fmla="*/ 56483 w 80009"/>
                    <a:gd name="connsiteY6" fmla="*/ 50578 h 99441"/>
                    <a:gd name="connsiteX7" fmla="*/ 74200 w 80009"/>
                    <a:gd name="connsiteY7" fmla="*/ 72580 h 99441"/>
                    <a:gd name="connsiteX8" fmla="*/ 74676 w 80009"/>
                    <a:gd name="connsiteY8" fmla="*/ 75819 h 99441"/>
                    <a:gd name="connsiteX9" fmla="*/ 80010 w 80009"/>
                    <a:gd name="connsiteY9" fmla="*/ 99441 h 99441"/>
                    <a:gd name="connsiteX10" fmla="*/ 56864 w 80009"/>
                    <a:gd name="connsiteY10" fmla="*/ 99441 h 99441"/>
                    <a:gd name="connsiteX11" fmla="*/ 53054 w 80009"/>
                    <a:gd name="connsiteY11" fmla="*/ 72580 h 99441"/>
                    <a:gd name="connsiteX12" fmla="*/ 43910 w 80009"/>
                    <a:gd name="connsiteY12" fmla="*/ 59722 h 99441"/>
                    <a:gd name="connsiteX13" fmla="*/ 21336 w 80009"/>
                    <a:gd name="connsiteY13" fmla="*/ 59722 h 99441"/>
                    <a:gd name="connsiteX14" fmla="*/ 21336 w 80009"/>
                    <a:gd name="connsiteY14" fmla="*/ 99441 h 99441"/>
                    <a:gd name="connsiteX15" fmla="*/ 21431 w 80009"/>
                    <a:gd name="connsiteY15" fmla="*/ 43053 h 99441"/>
                    <a:gd name="connsiteX16" fmla="*/ 39243 w 80009"/>
                    <a:gd name="connsiteY16" fmla="*/ 43053 h 99441"/>
                    <a:gd name="connsiteX17" fmla="*/ 54293 w 80009"/>
                    <a:gd name="connsiteY17" fmla="*/ 29146 h 99441"/>
                    <a:gd name="connsiteX18" fmla="*/ 39243 w 80009"/>
                    <a:gd name="connsiteY18" fmla="*/ 16764 h 99441"/>
                    <a:gd name="connsiteX19" fmla="*/ 21431 w 80009"/>
                    <a:gd name="connsiteY19" fmla="*/ 16764 h 99441"/>
                    <a:gd name="connsiteX20" fmla="*/ 21431 w 80009"/>
                    <a:gd name="connsiteY20" fmla="*/ 43053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0009" h="99441">
                      <a:moveTo>
                        <a:pt x="21431" y="99441"/>
                      </a:move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42481" y="0"/>
                      </a:lnTo>
                      <a:cubicBezTo>
                        <a:pt x="65056" y="381"/>
                        <a:pt x="76486" y="8954"/>
                        <a:pt x="76867" y="25813"/>
                      </a:cubicBezTo>
                      <a:cubicBezTo>
                        <a:pt x="76486" y="38671"/>
                        <a:pt x="69723" y="46768"/>
                        <a:pt x="56483" y="50006"/>
                      </a:cubicBezTo>
                      <a:lnTo>
                        <a:pt x="56483" y="50578"/>
                      </a:lnTo>
                      <a:cubicBezTo>
                        <a:pt x="67532" y="50959"/>
                        <a:pt x="73533" y="58293"/>
                        <a:pt x="74200" y="72580"/>
                      </a:cubicBezTo>
                      <a:cubicBezTo>
                        <a:pt x="74486" y="74009"/>
                        <a:pt x="74676" y="75152"/>
                        <a:pt x="74676" y="75819"/>
                      </a:cubicBezTo>
                      <a:cubicBezTo>
                        <a:pt x="75724" y="87630"/>
                        <a:pt x="77533" y="95536"/>
                        <a:pt x="80010" y="99441"/>
                      </a:cubicBezTo>
                      <a:lnTo>
                        <a:pt x="56864" y="99441"/>
                      </a:lnTo>
                      <a:cubicBezTo>
                        <a:pt x="54673" y="90869"/>
                        <a:pt x="53435" y="81915"/>
                        <a:pt x="53054" y="72580"/>
                      </a:cubicBezTo>
                      <a:cubicBezTo>
                        <a:pt x="52292" y="63913"/>
                        <a:pt x="49244" y="59722"/>
                        <a:pt x="43910" y="59722"/>
                      </a:cubicBezTo>
                      <a:lnTo>
                        <a:pt x="21336" y="59722"/>
                      </a:lnTo>
                      <a:lnTo>
                        <a:pt x="21336" y="99441"/>
                      </a:lnTo>
                      <a:close/>
                      <a:moveTo>
                        <a:pt x="21431" y="43053"/>
                      </a:moveTo>
                      <a:lnTo>
                        <a:pt x="39243" y="43053"/>
                      </a:lnTo>
                      <a:cubicBezTo>
                        <a:pt x="49244" y="43053"/>
                        <a:pt x="54293" y="38481"/>
                        <a:pt x="54293" y="29146"/>
                      </a:cubicBezTo>
                      <a:cubicBezTo>
                        <a:pt x="54293" y="20574"/>
                        <a:pt x="49244" y="16478"/>
                        <a:pt x="39243" y="16764"/>
                      </a:cubicBezTo>
                      <a:lnTo>
                        <a:pt x="21431" y="16764"/>
                      </a:lnTo>
                      <a:lnTo>
                        <a:pt x="21431" y="43053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0" name="任意多边形: 形状 49">
                  <a:extLst>
                    <a:ext uri="{FF2B5EF4-FFF2-40B4-BE49-F238E27FC236}">
                      <a16:creationId xmlns:a16="http://schemas.microsoft.com/office/drawing/2014/main" id="{A8D816E9-0A4E-4C48-ACB1-47570268E128}"/>
                    </a:ext>
                  </a:extLst>
                </p:cNvPr>
                <p:cNvSpPr/>
                <p:nvPr/>
              </p:nvSpPr>
              <p:spPr>
                <a:xfrm>
                  <a:off x="5023059" y="7538180"/>
                  <a:ext cx="80603" cy="102679"/>
                </a:xfrm>
                <a:custGeom>
                  <a:avLst/>
                  <a:gdLst>
                    <a:gd name="connsiteX0" fmla="*/ 57544 w 80603"/>
                    <a:gd name="connsiteY0" fmla="*/ 30671 h 102679"/>
                    <a:gd name="connsiteX1" fmla="*/ 41447 w 80603"/>
                    <a:gd name="connsiteY1" fmla="*/ 15621 h 102679"/>
                    <a:gd name="connsiteX2" fmla="*/ 25254 w 80603"/>
                    <a:gd name="connsiteY2" fmla="*/ 28480 h 102679"/>
                    <a:gd name="connsiteX3" fmla="*/ 43542 w 80603"/>
                    <a:gd name="connsiteY3" fmla="*/ 42481 h 102679"/>
                    <a:gd name="connsiteX4" fmla="*/ 46209 w 80603"/>
                    <a:gd name="connsiteY4" fmla="*/ 42958 h 102679"/>
                    <a:gd name="connsiteX5" fmla="*/ 80594 w 80603"/>
                    <a:gd name="connsiteY5" fmla="*/ 70390 h 102679"/>
                    <a:gd name="connsiteX6" fmla="*/ 38113 w 80603"/>
                    <a:gd name="connsiteY6" fmla="*/ 102679 h 102679"/>
                    <a:gd name="connsiteX7" fmla="*/ 13 w 80603"/>
                    <a:gd name="connsiteY7" fmla="*/ 69818 h 102679"/>
                    <a:gd name="connsiteX8" fmla="*/ 21539 w 80603"/>
                    <a:gd name="connsiteY8" fmla="*/ 69818 h 102679"/>
                    <a:gd name="connsiteX9" fmla="*/ 38208 w 80603"/>
                    <a:gd name="connsiteY9" fmla="*/ 88106 h 102679"/>
                    <a:gd name="connsiteX10" fmla="*/ 58115 w 80603"/>
                    <a:gd name="connsiteY10" fmla="*/ 75247 h 102679"/>
                    <a:gd name="connsiteX11" fmla="*/ 39351 w 80603"/>
                    <a:gd name="connsiteY11" fmla="*/ 61246 h 102679"/>
                    <a:gd name="connsiteX12" fmla="*/ 35541 w 80603"/>
                    <a:gd name="connsiteY12" fmla="*/ 60198 h 102679"/>
                    <a:gd name="connsiteX13" fmla="*/ 2775 w 80603"/>
                    <a:gd name="connsiteY13" fmla="*/ 32766 h 102679"/>
                    <a:gd name="connsiteX14" fmla="*/ 44209 w 80603"/>
                    <a:gd name="connsiteY14" fmla="*/ 0 h 102679"/>
                    <a:gd name="connsiteX15" fmla="*/ 78118 w 80603"/>
                    <a:gd name="connsiteY15" fmla="*/ 30671 h 102679"/>
                    <a:gd name="connsiteX16" fmla="*/ 57544 w 80603"/>
                    <a:gd name="connsiteY16" fmla="*/ 30671 h 1026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80603" h="102679">
                      <a:moveTo>
                        <a:pt x="57544" y="30671"/>
                      </a:moveTo>
                      <a:cubicBezTo>
                        <a:pt x="57163" y="20669"/>
                        <a:pt x="51829" y="15621"/>
                        <a:pt x="41447" y="15621"/>
                      </a:cubicBezTo>
                      <a:cubicBezTo>
                        <a:pt x="31064" y="16383"/>
                        <a:pt x="25635" y="20669"/>
                        <a:pt x="25254" y="28480"/>
                      </a:cubicBezTo>
                      <a:cubicBezTo>
                        <a:pt x="24587" y="36004"/>
                        <a:pt x="30588" y="40672"/>
                        <a:pt x="43542" y="42481"/>
                      </a:cubicBezTo>
                      <a:cubicBezTo>
                        <a:pt x="43923" y="42481"/>
                        <a:pt x="44780" y="42672"/>
                        <a:pt x="46209" y="42958"/>
                      </a:cubicBezTo>
                      <a:cubicBezTo>
                        <a:pt x="69545" y="47625"/>
                        <a:pt x="80975" y="56769"/>
                        <a:pt x="80594" y="70390"/>
                      </a:cubicBezTo>
                      <a:cubicBezTo>
                        <a:pt x="80213" y="91249"/>
                        <a:pt x="66116" y="102013"/>
                        <a:pt x="38113" y="102679"/>
                      </a:cubicBezTo>
                      <a:cubicBezTo>
                        <a:pt x="12300" y="102679"/>
                        <a:pt x="-463" y="91821"/>
                        <a:pt x="13" y="69818"/>
                      </a:cubicBezTo>
                      <a:lnTo>
                        <a:pt x="21539" y="69818"/>
                      </a:lnTo>
                      <a:cubicBezTo>
                        <a:pt x="21539" y="81344"/>
                        <a:pt x="27064" y="87439"/>
                        <a:pt x="38208" y="88106"/>
                      </a:cubicBezTo>
                      <a:cubicBezTo>
                        <a:pt x="51162" y="87821"/>
                        <a:pt x="57734" y="83439"/>
                        <a:pt x="58115" y="75247"/>
                      </a:cubicBezTo>
                      <a:cubicBezTo>
                        <a:pt x="58115" y="68389"/>
                        <a:pt x="51829" y="63722"/>
                        <a:pt x="39351" y="61246"/>
                      </a:cubicBezTo>
                      <a:cubicBezTo>
                        <a:pt x="37541" y="60865"/>
                        <a:pt x="36303" y="60484"/>
                        <a:pt x="35541" y="60198"/>
                      </a:cubicBezTo>
                      <a:cubicBezTo>
                        <a:pt x="13729" y="55150"/>
                        <a:pt x="2775" y="46006"/>
                        <a:pt x="2775" y="32766"/>
                      </a:cubicBezTo>
                      <a:cubicBezTo>
                        <a:pt x="3918" y="12287"/>
                        <a:pt x="17729" y="1429"/>
                        <a:pt x="44209" y="0"/>
                      </a:cubicBezTo>
                      <a:cubicBezTo>
                        <a:pt x="65735" y="1048"/>
                        <a:pt x="76975" y="11335"/>
                        <a:pt x="78118" y="30671"/>
                      </a:cubicBezTo>
                      <a:lnTo>
                        <a:pt x="57544" y="3067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1" name="任意多边形: 形状 50">
                  <a:extLst>
                    <a:ext uri="{FF2B5EF4-FFF2-40B4-BE49-F238E27FC236}">
                      <a16:creationId xmlns:a16="http://schemas.microsoft.com/office/drawing/2014/main" id="{D21C1DE7-B646-4E72-9BBE-37382C8CDB87}"/>
                    </a:ext>
                  </a:extLst>
                </p:cNvPr>
                <p:cNvSpPr/>
                <p:nvPr/>
              </p:nvSpPr>
              <p:spPr>
                <a:xfrm>
                  <a:off x="5118226" y="7540275"/>
                  <a:ext cx="21431" cy="99441"/>
                </a:xfrm>
                <a:custGeom>
                  <a:avLst/>
                  <a:gdLst>
                    <a:gd name="connsiteX0" fmla="*/ 21431 w 21431"/>
                    <a:gd name="connsiteY0" fmla="*/ 99441 h 99441"/>
                    <a:gd name="connsiteX1" fmla="*/ 0 w 21431"/>
                    <a:gd name="connsiteY1" fmla="*/ 99441 h 99441"/>
                    <a:gd name="connsiteX2" fmla="*/ 0 w 21431"/>
                    <a:gd name="connsiteY2" fmla="*/ 0 h 99441"/>
                    <a:gd name="connsiteX3" fmla="*/ 21431 w 21431"/>
                    <a:gd name="connsiteY3" fmla="*/ 0 h 99441"/>
                    <a:gd name="connsiteX4" fmla="*/ 21431 w 21431"/>
                    <a:gd name="connsiteY4" fmla="*/ 99441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431" h="99441">
                      <a:moveTo>
                        <a:pt x="21431" y="99441"/>
                      </a:move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21431" y="0"/>
                      </a:lnTo>
                      <a:lnTo>
                        <a:pt x="21431" y="9944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2" name="任意多边形: 形状 51">
                  <a:extLst>
                    <a:ext uri="{FF2B5EF4-FFF2-40B4-BE49-F238E27FC236}">
                      <a16:creationId xmlns:a16="http://schemas.microsoft.com/office/drawing/2014/main" id="{7B3FA741-B3F5-4686-BA0D-470570DC98AA}"/>
                    </a:ext>
                  </a:extLst>
                </p:cNvPr>
                <p:cNvSpPr/>
                <p:nvPr/>
              </p:nvSpPr>
              <p:spPr>
                <a:xfrm>
                  <a:off x="5149373" y="7540371"/>
                  <a:ext cx="80581" cy="99440"/>
                </a:xfrm>
                <a:custGeom>
                  <a:avLst/>
                  <a:gdLst>
                    <a:gd name="connsiteX0" fmla="*/ 0 w 80581"/>
                    <a:gd name="connsiteY0" fmla="*/ 0 h 99440"/>
                    <a:gd name="connsiteX1" fmla="*/ 80581 w 80581"/>
                    <a:gd name="connsiteY1" fmla="*/ 0 h 99440"/>
                    <a:gd name="connsiteX2" fmla="*/ 80581 w 80581"/>
                    <a:gd name="connsiteY2" fmla="*/ 16669 h 99440"/>
                    <a:gd name="connsiteX3" fmla="*/ 51054 w 80581"/>
                    <a:gd name="connsiteY3" fmla="*/ 16669 h 99440"/>
                    <a:gd name="connsiteX4" fmla="*/ 51054 w 80581"/>
                    <a:gd name="connsiteY4" fmla="*/ 99441 h 99440"/>
                    <a:gd name="connsiteX5" fmla="*/ 29527 w 80581"/>
                    <a:gd name="connsiteY5" fmla="*/ 99441 h 99440"/>
                    <a:gd name="connsiteX6" fmla="*/ 29527 w 80581"/>
                    <a:gd name="connsiteY6" fmla="*/ 16669 h 99440"/>
                    <a:gd name="connsiteX7" fmla="*/ 0 w 80581"/>
                    <a:gd name="connsiteY7" fmla="*/ 16669 h 99440"/>
                    <a:gd name="connsiteX8" fmla="*/ 0 w 80581"/>
                    <a:gd name="connsiteY8" fmla="*/ 0 h 99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0581" h="99440">
                      <a:moveTo>
                        <a:pt x="0" y="0"/>
                      </a:moveTo>
                      <a:lnTo>
                        <a:pt x="80581" y="0"/>
                      </a:lnTo>
                      <a:lnTo>
                        <a:pt x="80581" y="16669"/>
                      </a:lnTo>
                      <a:lnTo>
                        <a:pt x="51054" y="16669"/>
                      </a:lnTo>
                      <a:lnTo>
                        <a:pt x="51054" y="99441"/>
                      </a:lnTo>
                      <a:lnTo>
                        <a:pt x="29527" y="99441"/>
                      </a:lnTo>
                      <a:lnTo>
                        <a:pt x="29527" y="16669"/>
                      </a:lnTo>
                      <a:lnTo>
                        <a:pt x="0" y="1666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3" name="任意多边形: 形状 52">
                  <a:extLst>
                    <a:ext uri="{FF2B5EF4-FFF2-40B4-BE49-F238E27FC236}">
                      <a16:creationId xmlns:a16="http://schemas.microsoft.com/office/drawing/2014/main" id="{D9A733B9-A22A-4BF4-B8A9-A0036C2BF094}"/>
                    </a:ext>
                  </a:extLst>
                </p:cNvPr>
                <p:cNvSpPr/>
                <p:nvPr/>
              </p:nvSpPr>
              <p:spPr>
                <a:xfrm>
                  <a:off x="5233289" y="7540371"/>
                  <a:ext cx="88201" cy="99440"/>
                </a:xfrm>
                <a:custGeom>
                  <a:avLst/>
                  <a:gdLst>
                    <a:gd name="connsiteX0" fmla="*/ 33814 w 88201"/>
                    <a:gd name="connsiteY0" fmla="*/ 67151 h 99440"/>
                    <a:gd name="connsiteX1" fmla="*/ 0 w 88201"/>
                    <a:gd name="connsiteY1" fmla="*/ 0 h 99440"/>
                    <a:gd name="connsiteX2" fmla="*/ 25241 w 88201"/>
                    <a:gd name="connsiteY2" fmla="*/ 0 h 99440"/>
                    <a:gd name="connsiteX3" fmla="*/ 45720 w 88201"/>
                    <a:gd name="connsiteY3" fmla="*/ 45625 h 99440"/>
                    <a:gd name="connsiteX4" fmla="*/ 66675 w 88201"/>
                    <a:gd name="connsiteY4" fmla="*/ 0 h 99440"/>
                    <a:gd name="connsiteX5" fmla="*/ 88201 w 88201"/>
                    <a:gd name="connsiteY5" fmla="*/ 0 h 99440"/>
                    <a:gd name="connsiteX6" fmla="*/ 54864 w 88201"/>
                    <a:gd name="connsiteY6" fmla="*/ 67151 h 99440"/>
                    <a:gd name="connsiteX7" fmla="*/ 54864 w 88201"/>
                    <a:gd name="connsiteY7" fmla="*/ 99441 h 99440"/>
                    <a:gd name="connsiteX8" fmla="*/ 33909 w 88201"/>
                    <a:gd name="connsiteY8" fmla="*/ 99441 h 99440"/>
                    <a:gd name="connsiteX9" fmla="*/ 33909 w 88201"/>
                    <a:gd name="connsiteY9" fmla="*/ 67151 h 99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8201" h="99440">
                      <a:moveTo>
                        <a:pt x="33814" y="67151"/>
                      </a:moveTo>
                      <a:lnTo>
                        <a:pt x="0" y="0"/>
                      </a:lnTo>
                      <a:lnTo>
                        <a:pt x="25241" y="0"/>
                      </a:lnTo>
                      <a:lnTo>
                        <a:pt x="45720" y="45625"/>
                      </a:lnTo>
                      <a:lnTo>
                        <a:pt x="66675" y="0"/>
                      </a:lnTo>
                      <a:lnTo>
                        <a:pt x="88201" y="0"/>
                      </a:lnTo>
                      <a:lnTo>
                        <a:pt x="54864" y="67151"/>
                      </a:lnTo>
                      <a:lnTo>
                        <a:pt x="54864" y="99441"/>
                      </a:lnTo>
                      <a:lnTo>
                        <a:pt x="33909" y="99441"/>
                      </a:lnTo>
                      <a:lnTo>
                        <a:pt x="33909" y="6715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Relationship Id="rId9" Type="http://schemas.openxmlformats.org/officeDocument/2006/relationships/hyperlink" Target="http://www.baidu.com/link?url=ZKoVNCUqiqj1E5YOABBbXWf1PtoDGwVWXy4BVtRXoRhURZNhuAAK7l_9jVX3IdoE" TargetMode="Externa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2" name="副标题 1031">
            <a:extLst>
              <a:ext uri="{FF2B5EF4-FFF2-40B4-BE49-F238E27FC236}">
                <a16:creationId xmlns:a16="http://schemas.microsoft.com/office/drawing/2014/main" id="{09AF5FAD-1580-4840-8B81-7075547EC5F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sz="1800" b="0" i="0" u="sng" dirty="0">
                <a:solidFill>
                  <a:schemeClr val="accent4"/>
                </a:solidFill>
                <a:effectLst/>
                <a:latin typeface="arial" panose="020B060402020202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ujian</a:t>
            </a:r>
            <a:r>
              <a:rPr lang="en-US" altLang="zh-CN" sz="1800" b="0" i="0" dirty="0">
                <a:solidFill>
                  <a:schemeClr val="accent4"/>
                </a:solidFill>
                <a:effectLst/>
                <a:latin typeface="arial" panose="020B060402020202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 Agriculture </a:t>
            </a:r>
            <a:r>
              <a:rPr lang="en-US" altLang="zh-CN" sz="1800" b="0" i="0" u="sng" dirty="0">
                <a:solidFill>
                  <a:schemeClr val="accent4"/>
                </a:solidFill>
                <a:effectLst/>
                <a:latin typeface="arial" panose="020B060402020202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nd</a:t>
            </a:r>
            <a:r>
              <a:rPr lang="en-US" altLang="zh-CN" sz="1800" b="0" i="0" dirty="0">
                <a:solidFill>
                  <a:schemeClr val="accent4"/>
                </a:solidFill>
                <a:effectLst/>
                <a:latin typeface="arial" panose="020B060402020202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 </a:t>
            </a:r>
            <a:r>
              <a:rPr lang="en-US" altLang="zh-CN" sz="1800" b="0" i="0" u="sng" dirty="0">
                <a:solidFill>
                  <a:schemeClr val="accent4"/>
                </a:solidFill>
                <a:effectLst/>
                <a:latin typeface="arial" panose="020B060402020202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restry</a:t>
            </a:r>
            <a:r>
              <a:rPr lang="en-US" altLang="zh-CN" sz="1800" b="0" i="0" dirty="0">
                <a:solidFill>
                  <a:schemeClr val="accent4"/>
                </a:solidFill>
                <a:effectLst/>
                <a:latin typeface="arial" panose="020B060402020202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 </a:t>
            </a:r>
            <a:r>
              <a:rPr lang="en-US" altLang="zh-CN" sz="1800" b="0" i="0" u="sng" dirty="0">
                <a:solidFill>
                  <a:schemeClr val="accent4"/>
                </a:solidFill>
                <a:effectLst/>
                <a:latin typeface="arial" panose="020B060402020202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niversity</a:t>
            </a:r>
            <a:endParaRPr lang="en-US" altLang="zh-CN" sz="1800" b="0" i="0" dirty="0">
              <a:solidFill>
                <a:schemeClr val="accent4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zh-CN" altLang="en-US" dirty="0"/>
              <a:t>福建农林大学</a:t>
            </a:r>
            <a:br>
              <a:rPr lang="en-US" altLang="zh-CN" dirty="0"/>
            </a:br>
            <a:r>
              <a:rPr lang="zh-CN" altLang="en-US" dirty="0"/>
              <a:t>汇报答辩通用模板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z="1200" dirty="0"/>
              <a:t>指导老师：周小新</a:t>
            </a:r>
            <a:endParaRPr lang="en-US" altLang="zh-CN" sz="1200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zh-CN" altLang="en-US" sz="1200" dirty="0"/>
              <a:t>答辩学生：林一一</a:t>
            </a:r>
            <a:endParaRPr lang="en-US" altLang="en-US" sz="1200" dirty="0"/>
          </a:p>
        </p:txBody>
      </p:sp>
      <p:sp>
        <p:nvSpPr>
          <p:cNvPr id="315" name="文本框 314">
            <a:extLst>
              <a:ext uri="{FF2B5EF4-FFF2-40B4-BE49-F238E27FC236}">
                <a16:creationId xmlns:a16="http://schemas.microsoft.com/office/drawing/2014/main" id="{73284166-517E-4DA3-B547-087B1DC3D9E4}"/>
              </a:ext>
            </a:extLst>
          </p:cNvPr>
          <p:cNvSpPr txBox="1"/>
          <p:nvPr/>
        </p:nvSpPr>
        <p:spPr>
          <a:xfrm>
            <a:off x="9871636" y="4649326"/>
            <a:ext cx="195112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zh-CN" altLang="en-US" sz="1400" dirty="0">
                <a:solidFill>
                  <a:schemeClr val="accent6"/>
                </a:solidFill>
              </a:rPr>
              <a:t>www.fafu.edu.cn</a:t>
            </a:r>
          </a:p>
        </p:txBody>
      </p:sp>
      <p:sp>
        <p:nvSpPr>
          <p:cNvPr id="163" name="文本框 162">
            <a:extLst>
              <a:ext uri="{FF2B5EF4-FFF2-40B4-BE49-F238E27FC236}">
                <a16:creationId xmlns:a16="http://schemas.microsoft.com/office/drawing/2014/main" id="{691C248E-A81B-46FC-879A-7851FAAD62D2}"/>
              </a:ext>
            </a:extLst>
          </p:cNvPr>
          <p:cNvSpPr txBox="1"/>
          <p:nvPr/>
        </p:nvSpPr>
        <p:spPr>
          <a:xfrm>
            <a:off x="5726762" y="1787037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zh-CN" altLang="en-US" sz="1600" b="0" i="0" spc="600" dirty="0">
                <a:solidFill>
                  <a:schemeClr val="accent6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明德 </a:t>
            </a:r>
            <a:r>
              <a:rPr lang="en-US" altLang="zh-CN" sz="1600" spc="6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| </a:t>
            </a:r>
            <a:r>
              <a:rPr lang="zh-CN" altLang="en-US" sz="1600" b="0" i="0" spc="600" dirty="0">
                <a:solidFill>
                  <a:schemeClr val="accent6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诚智 </a:t>
            </a:r>
            <a:r>
              <a:rPr lang="en-US" altLang="zh-CN" sz="1600" spc="6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| </a:t>
            </a:r>
            <a:r>
              <a:rPr lang="zh-CN" altLang="en-US" sz="1600" b="0" i="0" spc="600" dirty="0">
                <a:solidFill>
                  <a:schemeClr val="accent6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博学 </a:t>
            </a:r>
            <a:r>
              <a:rPr lang="en-US" altLang="zh-CN" sz="1600" spc="600" dirty="0">
                <a:solidFill>
                  <a:schemeClr val="accent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| </a:t>
            </a:r>
            <a:r>
              <a:rPr lang="zh-CN" altLang="en-US" sz="1600" b="0" i="0" spc="600" dirty="0">
                <a:solidFill>
                  <a:schemeClr val="accent6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创新</a:t>
            </a:r>
            <a:endParaRPr lang="en-US" altLang="zh-CN" sz="1600" spc="600" dirty="0">
              <a:solidFill>
                <a:schemeClr val="accent6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31E4BF4-E946-4706-9ACB-0879AA28BC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170A713-B9AC-4F6A-8FA5-9917FAF186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DD9C337-A2B5-4E12-86E7-1416353C9D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grpSp>
        <p:nvGrpSpPr>
          <p:cNvPr id="341" name="26702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32C8EA9-7D7D-4024-B9A7-006913969989}"/>
              </a:ext>
            </a:extLst>
          </p:cNvPr>
          <p:cNvGrpSpPr>
            <a:grpSpLocks noChangeAspect="1"/>
          </p:cNvGrpSpPr>
          <p:nvPr/>
        </p:nvGrpSpPr>
        <p:grpSpPr>
          <a:xfrm>
            <a:off x="0" y="1611875"/>
            <a:ext cx="12192000" cy="7181982"/>
            <a:chOff x="0" y="1611875"/>
            <a:chExt cx="12192000" cy="7181982"/>
          </a:xfrm>
        </p:grpSpPr>
        <p:sp>
          <p:nvSpPr>
            <p:cNvPr id="342" name="íŝľíḓê">
              <a:extLst>
                <a:ext uri="{FF2B5EF4-FFF2-40B4-BE49-F238E27FC236}">
                  <a16:creationId xmlns:a16="http://schemas.microsoft.com/office/drawing/2014/main" id="{037FFC36-1E0E-480C-A1A4-052250AB4512}"/>
                </a:ext>
              </a:extLst>
            </p:cNvPr>
            <p:cNvSpPr/>
            <p:nvPr/>
          </p:nvSpPr>
          <p:spPr>
            <a:xfrm>
              <a:off x="2604221" y="1933580"/>
              <a:ext cx="6983558" cy="6860277"/>
            </a:xfrm>
            <a:prstGeom prst="blockArc">
              <a:avLst>
                <a:gd name="adj1" fmla="val 10706955"/>
                <a:gd name="adj2" fmla="val 166916"/>
                <a:gd name="adj3" fmla="val 10479"/>
              </a:avLst>
            </a:prstGeom>
            <a:gradFill flip="none" rotWithShape="1">
              <a:gsLst>
                <a:gs pos="0">
                  <a:schemeClr val="bg1">
                    <a:lumMod val="95000"/>
                    <a:alpha val="21000"/>
                  </a:schemeClr>
                </a:gs>
                <a:gs pos="100000">
                  <a:schemeClr val="bg1">
                    <a:lumMod val="85000"/>
                    <a:alpha val="39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/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343" name="iSļîďê">
              <a:extLst>
                <a:ext uri="{FF2B5EF4-FFF2-40B4-BE49-F238E27FC236}">
                  <a16:creationId xmlns:a16="http://schemas.microsoft.com/office/drawing/2014/main" id="{8312BA19-D359-4DD7-93D5-4A1FBA7ED153}"/>
                </a:ext>
              </a:extLst>
            </p:cNvPr>
            <p:cNvSpPr/>
            <p:nvPr/>
          </p:nvSpPr>
          <p:spPr>
            <a:xfrm>
              <a:off x="0" y="4957552"/>
              <a:ext cx="12192000" cy="11765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344" name="îṣlîḑè">
              <a:extLst>
                <a:ext uri="{FF2B5EF4-FFF2-40B4-BE49-F238E27FC236}">
                  <a16:creationId xmlns:a16="http://schemas.microsoft.com/office/drawing/2014/main" id="{48F7BFDE-B893-41BD-A453-7177DF8C3E93}"/>
                </a:ext>
              </a:extLst>
            </p:cNvPr>
            <p:cNvSpPr/>
            <p:nvPr/>
          </p:nvSpPr>
          <p:spPr>
            <a:xfrm>
              <a:off x="3134498" y="2699386"/>
              <a:ext cx="1186670" cy="118666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bg1">
                  <a:lumMod val="85000"/>
                  <a:alpha val="73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600" b="1" dirty="0">
                  <a:solidFill>
                    <a:schemeClr val="tx1"/>
                  </a:solidFill>
                </a:rPr>
                <a:t>XXXX</a:t>
              </a:r>
              <a:endParaRPr lang="zh-CN" altLang="en-US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345" name="îṡļídé">
              <a:extLst>
                <a:ext uri="{FF2B5EF4-FFF2-40B4-BE49-F238E27FC236}">
                  <a16:creationId xmlns:a16="http://schemas.microsoft.com/office/drawing/2014/main" id="{17BCC52E-665E-4E24-89BB-6D8C6448E481}"/>
                </a:ext>
              </a:extLst>
            </p:cNvPr>
            <p:cNvSpPr/>
            <p:nvPr/>
          </p:nvSpPr>
          <p:spPr>
            <a:xfrm>
              <a:off x="7870834" y="2699386"/>
              <a:ext cx="1186670" cy="118666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bg1">
                  <a:lumMod val="85000"/>
                  <a:alpha val="73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600" b="1" dirty="0">
                  <a:solidFill>
                    <a:schemeClr val="tx1"/>
                  </a:solidFill>
                </a:rPr>
                <a:t>XXXX</a:t>
              </a:r>
              <a:endParaRPr lang="zh-CN" altLang="en-US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346" name="îsḷiḓè">
              <a:extLst>
                <a:ext uri="{FF2B5EF4-FFF2-40B4-BE49-F238E27FC236}">
                  <a16:creationId xmlns:a16="http://schemas.microsoft.com/office/drawing/2014/main" id="{694E0BC3-49E4-4D95-9A2C-24BF0C1E8F4C}"/>
                </a:ext>
              </a:extLst>
            </p:cNvPr>
            <p:cNvSpPr/>
            <p:nvPr/>
          </p:nvSpPr>
          <p:spPr>
            <a:xfrm>
              <a:off x="4574261" y="1660589"/>
              <a:ext cx="1186670" cy="118666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bg1">
                  <a:lumMod val="85000"/>
                  <a:alpha val="73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600" b="1" dirty="0">
                  <a:solidFill>
                    <a:schemeClr val="tx1"/>
                  </a:solidFill>
                </a:rPr>
                <a:t>XXX</a:t>
              </a:r>
              <a:endParaRPr lang="zh-CN" altLang="en-US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347" name="ïṡlïḓe">
              <a:extLst>
                <a:ext uri="{FF2B5EF4-FFF2-40B4-BE49-F238E27FC236}">
                  <a16:creationId xmlns:a16="http://schemas.microsoft.com/office/drawing/2014/main" id="{B5367A8A-2A89-4298-ADB4-772914E692CC}"/>
                </a:ext>
              </a:extLst>
            </p:cNvPr>
            <p:cNvSpPr/>
            <p:nvPr/>
          </p:nvSpPr>
          <p:spPr>
            <a:xfrm>
              <a:off x="6272930" y="1660589"/>
              <a:ext cx="1186670" cy="118666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bg1">
                  <a:lumMod val="85000"/>
                  <a:alpha val="73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600" b="1" dirty="0">
                  <a:solidFill>
                    <a:schemeClr val="tx1"/>
                  </a:solidFill>
                </a:rPr>
                <a:t>XXX</a:t>
              </a:r>
              <a:endParaRPr lang="zh-CN" altLang="en-US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348" name="ïṥḻíḓé">
              <a:extLst>
                <a:ext uri="{FF2B5EF4-FFF2-40B4-BE49-F238E27FC236}">
                  <a16:creationId xmlns:a16="http://schemas.microsoft.com/office/drawing/2014/main" id="{841232A8-D80B-4EE5-AB71-5EB4EC4EF370}"/>
                </a:ext>
              </a:extLst>
            </p:cNvPr>
            <p:cNvSpPr/>
            <p:nvPr/>
          </p:nvSpPr>
          <p:spPr>
            <a:xfrm>
              <a:off x="4714876" y="3120248"/>
              <a:ext cx="2762250" cy="2762248"/>
            </a:xfrm>
            <a:prstGeom prst="ellipse">
              <a:avLst/>
            </a:prstGeom>
            <a:solidFill>
              <a:schemeClr val="bg1"/>
            </a:solidFill>
            <a:ln w="5715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grpSp>
          <p:nvGrpSpPr>
            <p:cNvPr id="349" name="íṩḷïďè">
              <a:extLst>
                <a:ext uri="{FF2B5EF4-FFF2-40B4-BE49-F238E27FC236}">
                  <a16:creationId xmlns:a16="http://schemas.microsoft.com/office/drawing/2014/main" id="{0D81E883-F38D-4032-A0F5-99816D77C436}"/>
                </a:ext>
              </a:extLst>
            </p:cNvPr>
            <p:cNvGrpSpPr/>
            <p:nvPr/>
          </p:nvGrpSpPr>
          <p:grpSpPr>
            <a:xfrm>
              <a:off x="4868559" y="3268900"/>
              <a:ext cx="2454882" cy="2464942"/>
              <a:chOff x="4862208" y="3669158"/>
              <a:chExt cx="2454882" cy="2464942"/>
            </a:xfrm>
          </p:grpSpPr>
          <p:sp>
            <p:nvSpPr>
              <p:cNvPr id="378" name="iSļîḓè">
                <a:extLst>
                  <a:ext uri="{FF2B5EF4-FFF2-40B4-BE49-F238E27FC236}">
                    <a16:creationId xmlns:a16="http://schemas.microsoft.com/office/drawing/2014/main" id="{6A1031F9-E3B5-4341-A025-ED8F110DB438}"/>
                  </a:ext>
                </a:extLst>
              </p:cNvPr>
              <p:cNvSpPr/>
              <p:nvPr/>
            </p:nvSpPr>
            <p:spPr>
              <a:xfrm>
                <a:off x="4862208" y="3679216"/>
                <a:ext cx="2454882" cy="2454884"/>
              </a:xfrm>
              <a:prstGeom prst="ellipse">
                <a:avLst/>
              </a:prstGeom>
              <a:solidFill>
                <a:schemeClr val="bg1"/>
              </a:solidFill>
              <a:ln w="57150" cap="flat">
                <a:solidFill>
                  <a:schemeClr val="bg1">
                    <a:lumMod val="95000"/>
                  </a:schemeClr>
                </a:solidFill>
                <a:prstDash val="solid"/>
                <a:miter lim="4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379" name="i$1îdè">
                <a:extLst>
                  <a:ext uri="{FF2B5EF4-FFF2-40B4-BE49-F238E27FC236}">
                    <a16:creationId xmlns:a16="http://schemas.microsoft.com/office/drawing/2014/main" id="{59E25E50-1C19-4109-99CC-14A25FB0F477}"/>
                  </a:ext>
                </a:extLst>
              </p:cNvPr>
              <p:cNvSpPr/>
              <p:nvPr/>
            </p:nvSpPr>
            <p:spPr>
              <a:xfrm>
                <a:off x="5281468" y="3669158"/>
                <a:ext cx="2025625" cy="112797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99" h="21511" extrusionOk="0">
                    <a:moveTo>
                      <a:pt x="6974" y="3251"/>
                    </a:moveTo>
                    <a:lnTo>
                      <a:pt x="6917" y="3349"/>
                    </a:lnTo>
                    <a:lnTo>
                      <a:pt x="6827" y="3350"/>
                    </a:lnTo>
                    <a:lnTo>
                      <a:pt x="6604" y="3534"/>
                    </a:lnTo>
                    <a:lnTo>
                      <a:pt x="6516" y="3506"/>
                    </a:lnTo>
                    <a:lnTo>
                      <a:pt x="6316" y="3666"/>
                    </a:lnTo>
                    <a:lnTo>
                      <a:pt x="6388" y="3748"/>
                    </a:lnTo>
                    <a:lnTo>
                      <a:pt x="6349" y="3897"/>
                    </a:lnTo>
                    <a:lnTo>
                      <a:pt x="6191" y="3956"/>
                    </a:lnTo>
                    <a:lnTo>
                      <a:pt x="6079" y="4058"/>
                    </a:lnTo>
                    <a:lnTo>
                      <a:pt x="5935" y="4082"/>
                    </a:lnTo>
                    <a:lnTo>
                      <a:pt x="5832" y="3953"/>
                    </a:lnTo>
                    <a:lnTo>
                      <a:pt x="5592" y="3895"/>
                    </a:lnTo>
                    <a:lnTo>
                      <a:pt x="5538" y="3965"/>
                    </a:lnTo>
                    <a:lnTo>
                      <a:pt x="5643" y="4107"/>
                    </a:lnTo>
                    <a:lnTo>
                      <a:pt x="5491" y="4212"/>
                    </a:lnTo>
                    <a:lnTo>
                      <a:pt x="5425" y="4373"/>
                    </a:lnTo>
                    <a:lnTo>
                      <a:pt x="5289" y="4561"/>
                    </a:lnTo>
                    <a:lnTo>
                      <a:pt x="5483" y="4605"/>
                    </a:lnTo>
                    <a:lnTo>
                      <a:pt x="5424" y="4718"/>
                    </a:lnTo>
                    <a:lnTo>
                      <a:pt x="5441" y="4859"/>
                    </a:lnTo>
                    <a:lnTo>
                      <a:pt x="5284" y="5054"/>
                    </a:lnTo>
                    <a:lnTo>
                      <a:pt x="5134" y="5348"/>
                    </a:lnTo>
                    <a:lnTo>
                      <a:pt x="5011" y="5415"/>
                    </a:lnTo>
                    <a:lnTo>
                      <a:pt x="4819" y="5473"/>
                    </a:lnTo>
                    <a:lnTo>
                      <a:pt x="4729" y="5579"/>
                    </a:lnTo>
                    <a:lnTo>
                      <a:pt x="4698" y="5763"/>
                    </a:lnTo>
                    <a:lnTo>
                      <a:pt x="4640" y="6049"/>
                    </a:lnTo>
                    <a:lnTo>
                      <a:pt x="4594" y="6214"/>
                    </a:lnTo>
                    <a:lnTo>
                      <a:pt x="4511" y="6355"/>
                    </a:lnTo>
                    <a:lnTo>
                      <a:pt x="4335" y="6402"/>
                    </a:lnTo>
                    <a:lnTo>
                      <a:pt x="4158" y="6496"/>
                    </a:lnTo>
                    <a:lnTo>
                      <a:pt x="4121" y="6731"/>
                    </a:lnTo>
                    <a:lnTo>
                      <a:pt x="4130" y="6918"/>
                    </a:lnTo>
                    <a:lnTo>
                      <a:pt x="4130" y="7106"/>
                    </a:lnTo>
                    <a:lnTo>
                      <a:pt x="4209" y="7153"/>
                    </a:lnTo>
                    <a:lnTo>
                      <a:pt x="4222" y="7294"/>
                    </a:lnTo>
                    <a:lnTo>
                      <a:pt x="4143" y="7373"/>
                    </a:lnTo>
                    <a:lnTo>
                      <a:pt x="4058" y="7373"/>
                    </a:lnTo>
                    <a:lnTo>
                      <a:pt x="4013" y="7501"/>
                    </a:lnTo>
                    <a:lnTo>
                      <a:pt x="4138" y="7589"/>
                    </a:lnTo>
                    <a:lnTo>
                      <a:pt x="4206" y="7523"/>
                    </a:lnTo>
                    <a:lnTo>
                      <a:pt x="4233" y="7687"/>
                    </a:lnTo>
                    <a:lnTo>
                      <a:pt x="4180" y="7866"/>
                    </a:lnTo>
                    <a:lnTo>
                      <a:pt x="4163" y="8053"/>
                    </a:lnTo>
                    <a:lnTo>
                      <a:pt x="4125" y="8305"/>
                    </a:lnTo>
                    <a:lnTo>
                      <a:pt x="4029" y="8541"/>
                    </a:lnTo>
                    <a:lnTo>
                      <a:pt x="3985" y="8685"/>
                    </a:lnTo>
                    <a:lnTo>
                      <a:pt x="3904" y="8905"/>
                    </a:lnTo>
                    <a:lnTo>
                      <a:pt x="3852" y="9140"/>
                    </a:lnTo>
                    <a:lnTo>
                      <a:pt x="3785" y="9331"/>
                    </a:lnTo>
                    <a:lnTo>
                      <a:pt x="3684" y="9449"/>
                    </a:lnTo>
                    <a:lnTo>
                      <a:pt x="3703" y="9593"/>
                    </a:lnTo>
                    <a:lnTo>
                      <a:pt x="3763" y="9804"/>
                    </a:lnTo>
                    <a:lnTo>
                      <a:pt x="3728" y="9961"/>
                    </a:lnTo>
                    <a:lnTo>
                      <a:pt x="3652" y="10090"/>
                    </a:lnTo>
                    <a:lnTo>
                      <a:pt x="3612" y="10294"/>
                    </a:lnTo>
                    <a:lnTo>
                      <a:pt x="3509" y="10317"/>
                    </a:lnTo>
                    <a:lnTo>
                      <a:pt x="3433" y="10306"/>
                    </a:lnTo>
                    <a:lnTo>
                      <a:pt x="3341" y="10180"/>
                    </a:lnTo>
                    <a:lnTo>
                      <a:pt x="3205" y="10239"/>
                    </a:lnTo>
                    <a:lnTo>
                      <a:pt x="3156" y="10321"/>
                    </a:lnTo>
                    <a:lnTo>
                      <a:pt x="3101" y="10211"/>
                    </a:lnTo>
                    <a:lnTo>
                      <a:pt x="3114" y="10027"/>
                    </a:lnTo>
                    <a:lnTo>
                      <a:pt x="3134" y="9895"/>
                    </a:lnTo>
                    <a:lnTo>
                      <a:pt x="3226" y="9711"/>
                    </a:lnTo>
                    <a:lnTo>
                      <a:pt x="3312" y="9617"/>
                    </a:lnTo>
                    <a:lnTo>
                      <a:pt x="3305" y="9492"/>
                    </a:lnTo>
                    <a:lnTo>
                      <a:pt x="3233" y="9289"/>
                    </a:lnTo>
                    <a:lnTo>
                      <a:pt x="3345" y="9214"/>
                    </a:lnTo>
                    <a:lnTo>
                      <a:pt x="3376" y="9053"/>
                    </a:lnTo>
                    <a:lnTo>
                      <a:pt x="3149" y="9260"/>
                    </a:lnTo>
                    <a:lnTo>
                      <a:pt x="3057" y="9190"/>
                    </a:lnTo>
                    <a:lnTo>
                      <a:pt x="2937" y="9072"/>
                    </a:lnTo>
                    <a:lnTo>
                      <a:pt x="2846" y="9272"/>
                    </a:lnTo>
                    <a:lnTo>
                      <a:pt x="2739" y="9402"/>
                    </a:lnTo>
                    <a:lnTo>
                      <a:pt x="2627" y="9539"/>
                    </a:lnTo>
                    <a:lnTo>
                      <a:pt x="2528" y="9539"/>
                    </a:lnTo>
                    <a:lnTo>
                      <a:pt x="2527" y="9402"/>
                    </a:lnTo>
                    <a:lnTo>
                      <a:pt x="2600" y="9273"/>
                    </a:lnTo>
                    <a:lnTo>
                      <a:pt x="2481" y="9029"/>
                    </a:lnTo>
                    <a:lnTo>
                      <a:pt x="2357" y="8831"/>
                    </a:lnTo>
                    <a:lnTo>
                      <a:pt x="2187" y="8576"/>
                    </a:lnTo>
                    <a:lnTo>
                      <a:pt x="2036" y="8658"/>
                    </a:lnTo>
                    <a:lnTo>
                      <a:pt x="2072" y="8493"/>
                    </a:lnTo>
                    <a:lnTo>
                      <a:pt x="2195" y="8270"/>
                    </a:lnTo>
                    <a:lnTo>
                      <a:pt x="2215" y="8039"/>
                    </a:lnTo>
                    <a:lnTo>
                      <a:pt x="2070" y="7991"/>
                    </a:lnTo>
                    <a:lnTo>
                      <a:pt x="2108" y="7828"/>
                    </a:lnTo>
                    <a:lnTo>
                      <a:pt x="2147" y="7527"/>
                    </a:lnTo>
                    <a:lnTo>
                      <a:pt x="2031" y="7598"/>
                    </a:lnTo>
                    <a:lnTo>
                      <a:pt x="1922" y="7527"/>
                    </a:lnTo>
                    <a:lnTo>
                      <a:pt x="1832" y="7657"/>
                    </a:lnTo>
                    <a:lnTo>
                      <a:pt x="1743" y="7786"/>
                    </a:lnTo>
                    <a:lnTo>
                      <a:pt x="1586" y="7876"/>
                    </a:lnTo>
                    <a:lnTo>
                      <a:pt x="1447" y="7969"/>
                    </a:lnTo>
                    <a:lnTo>
                      <a:pt x="1408" y="7863"/>
                    </a:lnTo>
                    <a:lnTo>
                      <a:pt x="1488" y="7747"/>
                    </a:lnTo>
                    <a:lnTo>
                      <a:pt x="1324" y="7782"/>
                    </a:lnTo>
                    <a:lnTo>
                      <a:pt x="1278" y="7896"/>
                    </a:lnTo>
                    <a:lnTo>
                      <a:pt x="1208" y="7955"/>
                    </a:lnTo>
                    <a:lnTo>
                      <a:pt x="1196" y="7791"/>
                    </a:lnTo>
                    <a:lnTo>
                      <a:pt x="1158" y="7674"/>
                    </a:lnTo>
                    <a:lnTo>
                      <a:pt x="1040" y="7720"/>
                    </a:lnTo>
                    <a:cubicBezTo>
                      <a:pt x="1028" y="7727"/>
                      <a:pt x="1016" y="7735"/>
                      <a:pt x="1005" y="7742"/>
                    </a:cubicBezTo>
                    <a:cubicBezTo>
                      <a:pt x="993" y="7749"/>
                      <a:pt x="981" y="7756"/>
                      <a:pt x="970" y="7763"/>
                    </a:cubicBezTo>
                    <a:lnTo>
                      <a:pt x="889" y="7639"/>
                    </a:lnTo>
                    <a:lnTo>
                      <a:pt x="759" y="7615"/>
                    </a:lnTo>
                    <a:lnTo>
                      <a:pt x="613" y="7348"/>
                    </a:lnTo>
                    <a:lnTo>
                      <a:pt x="685" y="7239"/>
                    </a:lnTo>
                    <a:lnTo>
                      <a:pt x="801" y="7263"/>
                    </a:lnTo>
                    <a:lnTo>
                      <a:pt x="818" y="7415"/>
                    </a:lnTo>
                    <a:lnTo>
                      <a:pt x="963" y="7254"/>
                    </a:lnTo>
                    <a:lnTo>
                      <a:pt x="1171" y="7066"/>
                    </a:lnTo>
                    <a:lnTo>
                      <a:pt x="1360" y="6964"/>
                    </a:lnTo>
                    <a:lnTo>
                      <a:pt x="1640" y="6779"/>
                    </a:lnTo>
                    <a:lnTo>
                      <a:pt x="1824" y="6697"/>
                    </a:lnTo>
                    <a:lnTo>
                      <a:pt x="1965" y="6776"/>
                    </a:lnTo>
                    <a:lnTo>
                      <a:pt x="2035" y="6806"/>
                    </a:lnTo>
                    <a:lnTo>
                      <a:pt x="1962" y="6970"/>
                    </a:lnTo>
                    <a:lnTo>
                      <a:pt x="2059" y="7060"/>
                    </a:lnTo>
                    <a:lnTo>
                      <a:pt x="2201" y="7154"/>
                    </a:lnTo>
                    <a:lnTo>
                      <a:pt x="2279" y="7259"/>
                    </a:lnTo>
                    <a:lnTo>
                      <a:pt x="2349" y="7380"/>
                    </a:lnTo>
                    <a:lnTo>
                      <a:pt x="2402" y="7486"/>
                    </a:lnTo>
                    <a:lnTo>
                      <a:pt x="2588" y="7427"/>
                    </a:lnTo>
                    <a:lnTo>
                      <a:pt x="2704" y="7392"/>
                    </a:lnTo>
                    <a:lnTo>
                      <a:pt x="2477" y="7353"/>
                    </a:lnTo>
                    <a:lnTo>
                      <a:pt x="2507" y="7224"/>
                    </a:lnTo>
                    <a:lnTo>
                      <a:pt x="2385" y="7111"/>
                    </a:lnTo>
                    <a:lnTo>
                      <a:pt x="2457" y="7001"/>
                    </a:lnTo>
                    <a:lnTo>
                      <a:pt x="2568" y="6884"/>
                    </a:lnTo>
                    <a:lnTo>
                      <a:pt x="2663" y="6782"/>
                    </a:lnTo>
                    <a:lnTo>
                      <a:pt x="2688" y="6638"/>
                    </a:lnTo>
                    <a:lnTo>
                      <a:pt x="2465" y="6293"/>
                    </a:lnTo>
                    <a:lnTo>
                      <a:pt x="2378" y="6333"/>
                    </a:lnTo>
                    <a:lnTo>
                      <a:pt x="2288" y="6439"/>
                    </a:lnTo>
                    <a:lnTo>
                      <a:pt x="2244" y="6334"/>
                    </a:lnTo>
                    <a:lnTo>
                      <a:pt x="2308" y="6154"/>
                    </a:lnTo>
                    <a:lnTo>
                      <a:pt x="2391" y="5828"/>
                    </a:lnTo>
                    <a:lnTo>
                      <a:pt x="2470" y="5946"/>
                    </a:lnTo>
                    <a:lnTo>
                      <a:pt x="2621" y="5667"/>
                    </a:lnTo>
                    <a:lnTo>
                      <a:pt x="2588" y="5538"/>
                    </a:lnTo>
                    <a:lnTo>
                      <a:pt x="2700" y="5236"/>
                    </a:lnTo>
                    <a:lnTo>
                      <a:pt x="2713" y="5107"/>
                    </a:lnTo>
                    <a:lnTo>
                      <a:pt x="2827" y="4916"/>
                    </a:lnTo>
                    <a:lnTo>
                      <a:pt x="2906" y="4653"/>
                    </a:lnTo>
                    <a:lnTo>
                      <a:pt x="2834" y="4528"/>
                    </a:lnTo>
                    <a:lnTo>
                      <a:pt x="2781" y="4435"/>
                    </a:lnTo>
                    <a:lnTo>
                      <a:pt x="2770" y="4225"/>
                    </a:lnTo>
                    <a:lnTo>
                      <a:pt x="2744" y="4021"/>
                    </a:lnTo>
                    <a:lnTo>
                      <a:pt x="2681" y="3962"/>
                    </a:lnTo>
                    <a:lnTo>
                      <a:pt x="2668" y="4165"/>
                    </a:lnTo>
                    <a:lnTo>
                      <a:pt x="2493" y="4247"/>
                    </a:lnTo>
                    <a:lnTo>
                      <a:pt x="2390" y="4259"/>
                    </a:lnTo>
                    <a:lnTo>
                      <a:pt x="2383" y="4388"/>
                    </a:lnTo>
                    <a:lnTo>
                      <a:pt x="2138" y="4670"/>
                    </a:lnTo>
                    <a:lnTo>
                      <a:pt x="2017" y="4784"/>
                    </a:lnTo>
                    <a:lnTo>
                      <a:pt x="2021" y="4928"/>
                    </a:lnTo>
                    <a:lnTo>
                      <a:pt x="2181" y="4928"/>
                    </a:lnTo>
                    <a:lnTo>
                      <a:pt x="2089" y="5051"/>
                    </a:lnTo>
                    <a:lnTo>
                      <a:pt x="1763" y="5172"/>
                    </a:lnTo>
                    <a:lnTo>
                      <a:pt x="1494" y="5367"/>
                    </a:lnTo>
                    <a:lnTo>
                      <a:pt x="1139" y="5673"/>
                    </a:lnTo>
                    <a:lnTo>
                      <a:pt x="1065" y="5619"/>
                    </a:lnTo>
                    <a:lnTo>
                      <a:pt x="1229" y="5493"/>
                    </a:lnTo>
                    <a:lnTo>
                      <a:pt x="1218" y="5329"/>
                    </a:lnTo>
                    <a:lnTo>
                      <a:pt x="1102" y="5458"/>
                    </a:lnTo>
                    <a:lnTo>
                      <a:pt x="951" y="5646"/>
                    </a:lnTo>
                    <a:lnTo>
                      <a:pt x="854" y="5952"/>
                    </a:lnTo>
                    <a:lnTo>
                      <a:pt x="668" y="6179"/>
                    </a:lnTo>
                    <a:lnTo>
                      <a:pt x="513" y="6351"/>
                    </a:lnTo>
                    <a:lnTo>
                      <a:pt x="357" y="6492"/>
                    </a:lnTo>
                    <a:lnTo>
                      <a:pt x="370" y="6645"/>
                    </a:lnTo>
                    <a:lnTo>
                      <a:pt x="328" y="6754"/>
                    </a:lnTo>
                    <a:lnTo>
                      <a:pt x="404" y="6918"/>
                    </a:lnTo>
                    <a:lnTo>
                      <a:pt x="341" y="7041"/>
                    </a:lnTo>
                    <a:lnTo>
                      <a:pt x="468" y="7096"/>
                    </a:lnTo>
                    <a:lnTo>
                      <a:pt x="435" y="7233"/>
                    </a:lnTo>
                    <a:lnTo>
                      <a:pt x="586" y="7126"/>
                    </a:lnTo>
                    <a:lnTo>
                      <a:pt x="490" y="7354"/>
                    </a:lnTo>
                    <a:lnTo>
                      <a:pt x="325" y="7154"/>
                    </a:lnTo>
                    <a:lnTo>
                      <a:pt x="301" y="6908"/>
                    </a:lnTo>
                    <a:lnTo>
                      <a:pt x="265" y="6667"/>
                    </a:lnTo>
                    <a:lnTo>
                      <a:pt x="0" y="6160"/>
                    </a:lnTo>
                    <a:cubicBezTo>
                      <a:pt x="607" y="5114"/>
                      <a:pt x="1274" y="4187"/>
                      <a:pt x="1990" y="3393"/>
                    </a:cubicBezTo>
                    <a:cubicBezTo>
                      <a:pt x="2818" y="2477"/>
                      <a:pt x="3705" y="1746"/>
                      <a:pt x="4632" y="1216"/>
                    </a:cubicBezTo>
                    <a:cubicBezTo>
                      <a:pt x="5586" y="636"/>
                      <a:pt x="6574" y="259"/>
                      <a:pt x="7577" y="95"/>
                    </a:cubicBezTo>
                    <a:cubicBezTo>
                      <a:pt x="8699" y="-89"/>
                      <a:pt x="9831" y="-6"/>
                      <a:pt x="10941" y="343"/>
                    </a:cubicBezTo>
                    <a:cubicBezTo>
                      <a:pt x="11759" y="594"/>
                      <a:pt x="12562" y="990"/>
                      <a:pt x="13336" y="1526"/>
                    </a:cubicBezTo>
                    <a:cubicBezTo>
                      <a:pt x="14083" y="2044"/>
                      <a:pt x="14800" y="2689"/>
                      <a:pt x="15478" y="3453"/>
                    </a:cubicBezTo>
                    <a:cubicBezTo>
                      <a:pt x="16137" y="4153"/>
                      <a:pt x="16753" y="4972"/>
                      <a:pt x="17319" y="5896"/>
                    </a:cubicBezTo>
                    <a:cubicBezTo>
                      <a:pt x="17855" y="6774"/>
                      <a:pt x="18343" y="7742"/>
                      <a:pt x="18774" y="8788"/>
                    </a:cubicBezTo>
                    <a:cubicBezTo>
                      <a:pt x="19246" y="9774"/>
                      <a:pt x="19668" y="10832"/>
                      <a:pt x="20036" y="11950"/>
                    </a:cubicBezTo>
                    <a:cubicBezTo>
                      <a:pt x="20392" y="13028"/>
                      <a:pt x="20696" y="14158"/>
                      <a:pt x="20945" y="15328"/>
                    </a:cubicBezTo>
                    <a:cubicBezTo>
                      <a:pt x="21172" y="16358"/>
                      <a:pt x="21341" y="17425"/>
                      <a:pt x="21451" y="18514"/>
                    </a:cubicBezTo>
                    <a:cubicBezTo>
                      <a:pt x="21551" y="19503"/>
                      <a:pt x="21600" y="20506"/>
                      <a:pt x="21599" y="21511"/>
                    </a:cubicBezTo>
                    <a:lnTo>
                      <a:pt x="21410" y="21296"/>
                    </a:lnTo>
                    <a:lnTo>
                      <a:pt x="21242" y="21132"/>
                    </a:lnTo>
                    <a:lnTo>
                      <a:pt x="21183" y="20971"/>
                    </a:lnTo>
                    <a:lnTo>
                      <a:pt x="21111" y="20701"/>
                    </a:lnTo>
                    <a:lnTo>
                      <a:pt x="21071" y="20595"/>
                    </a:lnTo>
                    <a:lnTo>
                      <a:pt x="20935" y="20474"/>
                    </a:lnTo>
                    <a:cubicBezTo>
                      <a:pt x="20910" y="20403"/>
                      <a:pt x="20893" y="20325"/>
                      <a:pt x="20885" y="20242"/>
                    </a:cubicBezTo>
                    <a:cubicBezTo>
                      <a:pt x="20878" y="20163"/>
                      <a:pt x="20879" y="20083"/>
                      <a:pt x="20878" y="20003"/>
                    </a:cubicBezTo>
                    <a:cubicBezTo>
                      <a:pt x="20878" y="19887"/>
                      <a:pt x="20873" y="19772"/>
                      <a:pt x="20865" y="19657"/>
                    </a:cubicBezTo>
                    <a:lnTo>
                      <a:pt x="20806" y="19224"/>
                    </a:lnTo>
                    <a:lnTo>
                      <a:pt x="20613" y="18374"/>
                    </a:lnTo>
                    <a:lnTo>
                      <a:pt x="20532" y="17853"/>
                    </a:lnTo>
                    <a:lnTo>
                      <a:pt x="20495" y="17531"/>
                    </a:lnTo>
                    <a:lnTo>
                      <a:pt x="20451" y="17300"/>
                    </a:lnTo>
                    <a:lnTo>
                      <a:pt x="20465" y="17039"/>
                    </a:lnTo>
                    <a:lnTo>
                      <a:pt x="20399" y="16647"/>
                    </a:lnTo>
                    <a:lnTo>
                      <a:pt x="20304" y="16145"/>
                    </a:lnTo>
                    <a:lnTo>
                      <a:pt x="20144" y="15894"/>
                    </a:lnTo>
                    <a:lnTo>
                      <a:pt x="19991" y="15416"/>
                    </a:lnTo>
                    <a:lnTo>
                      <a:pt x="19958" y="15078"/>
                    </a:lnTo>
                    <a:lnTo>
                      <a:pt x="19927" y="14823"/>
                    </a:lnTo>
                    <a:lnTo>
                      <a:pt x="19888" y="14647"/>
                    </a:lnTo>
                    <a:lnTo>
                      <a:pt x="19732" y="14102"/>
                    </a:lnTo>
                    <a:lnTo>
                      <a:pt x="19592" y="13641"/>
                    </a:lnTo>
                    <a:lnTo>
                      <a:pt x="19613" y="13386"/>
                    </a:lnTo>
                    <a:lnTo>
                      <a:pt x="19553" y="12708"/>
                    </a:lnTo>
                    <a:lnTo>
                      <a:pt x="19409" y="11711"/>
                    </a:lnTo>
                    <a:lnTo>
                      <a:pt x="19217" y="10880"/>
                    </a:lnTo>
                    <a:lnTo>
                      <a:pt x="18969" y="10276"/>
                    </a:lnTo>
                    <a:lnTo>
                      <a:pt x="18725" y="9684"/>
                    </a:lnTo>
                    <a:lnTo>
                      <a:pt x="18572" y="9272"/>
                    </a:lnTo>
                    <a:cubicBezTo>
                      <a:pt x="18530" y="9314"/>
                      <a:pt x="18481" y="9323"/>
                      <a:pt x="18436" y="9296"/>
                    </a:cubicBezTo>
                    <a:cubicBezTo>
                      <a:pt x="18372" y="9258"/>
                      <a:pt x="18326" y="9157"/>
                      <a:pt x="18319" y="9037"/>
                    </a:cubicBezTo>
                    <a:lnTo>
                      <a:pt x="18247" y="8955"/>
                    </a:lnTo>
                    <a:cubicBezTo>
                      <a:pt x="18222" y="8856"/>
                      <a:pt x="18192" y="8762"/>
                      <a:pt x="18157" y="8672"/>
                    </a:cubicBezTo>
                    <a:cubicBezTo>
                      <a:pt x="18124" y="8586"/>
                      <a:pt x="18087" y="8505"/>
                      <a:pt x="18046" y="8429"/>
                    </a:cubicBezTo>
                    <a:lnTo>
                      <a:pt x="17881" y="8472"/>
                    </a:lnTo>
                    <a:lnTo>
                      <a:pt x="17986" y="8711"/>
                    </a:lnTo>
                    <a:lnTo>
                      <a:pt x="18122" y="9040"/>
                    </a:lnTo>
                    <a:lnTo>
                      <a:pt x="18232" y="9295"/>
                    </a:lnTo>
                    <a:lnTo>
                      <a:pt x="18315" y="9523"/>
                    </a:lnTo>
                    <a:lnTo>
                      <a:pt x="18335" y="9837"/>
                    </a:lnTo>
                    <a:lnTo>
                      <a:pt x="18453" y="9994"/>
                    </a:lnTo>
                    <a:lnTo>
                      <a:pt x="18539" y="10147"/>
                    </a:lnTo>
                    <a:lnTo>
                      <a:pt x="18637" y="10335"/>
                    </a:lnTo>
                    <a:lnTo>
                      <a:pt x="18699" y="10696"/>
                    </a:lnTo>
                    <a:lnTo>
                      <a:pt x="18797" y="10856"/>
                    </a:lnTo>
                    <a:lnTo>
                      <a:pt x="18830" y="10605"/>
                    </a:lnTo>
                    <a:lnTo>
                      <a:pt x="18784" y="10311"/>
                    </a:lnTo>
                    <a:lnTo>
                      <a:pt x="18893" y="10444"/>
                    </a:lnTo>
                    <a:lnTo>
                      <a:pt x="18887" y="10702"/>
                    </a:lnTo>
                    <a:lnTo>
                      <a:pt x="18882" y="10938"/>
                    </a:lnTo>
                    <a:lnTo>
                      <a:pt x="18797" y="11008"/>
                    </a:lnTo>
                    <a:lnTo>
                      <a:pt x="18867" y="11235"/>
                    </a:lnTo>
                    <a:lnTo>
                      <a:pt x="18959" y="11501"/>
                    </a:lnTo>
                    <a:lnTo>
                      <a:pt x="19062" y="11501"/>
                    </a:lnTo>
                    <a:lnTo>
                      <a:pt x="19128" y="11783"/>
                    </a:lnTo>
                    <a:lnTo>
                      <a:pt x="19194" y="12022"/>
                    </a:lnTo>
                    <a:lnTo>
                      <a:pt x="19299" y="12258"/>
                    </a:lnTo>
                    <a:lnTo>
                      <a:pt x="19391" y="12481"/>
                    </a:lnTo>
                    <a:lnTo>
                      <a:pt x="19404" y="12645"/>
                    </a:lnTo>
                    <a:lnTo>
                      <a:pt x="19437" y="12770"/>
                    </a:lnTo>
                    <a:lnTo>
                      <a:pt x="19457" y="12985"/>
                    </a:lnTo>
                    <a:lnTo>
                      <a:pt x="19490" y="13181"/>
                    </a:lnTo>
                    <a:lnTo>
                      <a:pt x="19527" y="13396"/>
                    </a:lnTo>
                    <a:lnTo>
                      <a:pt x="19535" y="13690"/>
                    </a:lnTo>
                    <a:lnTo>
                      <a:pt x="19450" y="13613"/>
                    </a:lnTo>
                    <a:lnTo>
                      <a:pt x="19418" y="13938"/>
                    </a:lnTo>
                    <a:cubicBezTo>
                      <a:pt x="19416" y="13965"/>
                      <a:pt x="19414" y="13992"/>
                      <a:pt x="19412" y="14019"/>
                    </a:cubicBezTo>
                    <a:cubicBezTo>
                      <a:pt x="19411" y="14046"/>
                      <a:pt x="19409" y="14073"/>
                      <a:pt x="19407" y="14099"/>
                    </a:cubicBezTo>
                    <a:lnTo>
                      <a:pt x="19324" y="13888"/>
                    </a:lnTo>
                    <a:lnTo>
                      <a:pt x="19256" y="13900"/>
                    </a:lnTo>
                    <a:cubicBezTo>
                      <a:pt x="19229" y="13884"/>
                      <a:pt x="19204" y="13860"/>
                      <a:pt x="19182" y="13830"/>
                    </a:cubicBezTo>
                    <a:cubicBezTo>
                      <a:pt x="19144" y="13778"/>
                      <a:pt x="19115" y="13709"/>
                      <a:pt x="19099" y="13630"/>
                    </a:cubicBezTo>
                    <a:cubicBezTo>
                      <a:pt x="19074" y="13571"/>
                      <a:pt x="19048" y="13514"/>
                      <a:pt x="19022" y="13457"/>
                    </a:cubicBezTo>
                    <a:cubicBezTo>
                      <a:pt x="18987" y="13383"/>
                      <a:pt x="18951" y="13309"/>
                      <a:pt x="18914" y="13238"/>
                    </a:cubicBezTo>
                    <a:cubicBezTo>
                      <a:pt x="18890" y="13189"/>
                      <a:pt x="18863" y="13141"/>
                      <a:pt x="18836" y="13097"/>
                    </a:cubicBezTo>
                    <a:cubicBezTo>
                      <a:pt x="18804" y="13046"/>
                      <a:pt x="18770" y="12999"/>
                      <a:pt x="18735" y="12957"/>
                    </a:cubicBezTo>
                    <a:lnTo>
                      <a:pt x="18607" y="12862"/>
                    </a:lnTo>
                    <a:lnTo>
                      <a:pt x="18537" y="12655"/>
                    </a:lnTo>
                    <a:lnTo>
                      <a:pt x="18485" y="12443"/>
                    </a:lnTo>
                    <a:lnTo>
                      <a:pt x="18485" y="12232"/>
                    </a:lnTo>
                    <a:lnTo>
                      <a:pt x="18524" y="11844"/>
                    </a:lnTo>
                    <a:lnTo>
                      <a:pt x="18522" y="11374"/>
                    </a:lnTo>
                    <a:lnTo>
                      <a:pt x="18463" y="11103"/>
                    </a:lnTo>
                    <a:lnTo>
                      <a:pt x="18325" y="10880"/>
                    </a:lnTo>
                    <a:lnTo>
                      <a:pt x="18177" y="10554"/>
                    </a:lnTo>
                    <a:lnTo>
                      <a:pt x="18076" y="10495"/>
                    </a:lnTo>
                    <a:lnTo>
                      <a:pt x="17975" y="10495"/>
                    </a:lnTo>
                    <a:lnTo>
                      <a:pt x="17912" y="10531"/>
                    </a:lnTo>
                    <a:lnTo>
                      <a:pt x="17868" y="10778"/>
                    </a:lnTo>
                    <a:lnTo>
                      <a:pt x="17772" y="10789"/>
                    </a:lnTo>
                    <a:lnTo>
                      <a:pt x="17726" y="10624"/>
                    </a:lnTo>
                    <a:lnTo>
                      <a:pt x="17693" y="10412"/>
                    </a:lnTo>
                    <a:lnTo>
                      <a:pt x="17648" y="10178"/>
                    </a:lnTo>
                    <a:lnTo>
                      <a:pt x="17611" y="10088"/>
                    </a:lnTo>
                    <a:lnTo>
                      <a:pt x="17495" y="9991"/>
                    </a:lnTo>
                    <a:lnTo>
                      <a:pt x="17432" y="9874"/>
                    </a:lnTo>
                    <a:lnTo>
                      <a:pt x="17434" y="9725"/>
                    </a:lnTo>
                    <a:lnTo>
                      <a:pt x="17348" y="9467"/>
                    </a:lnTo>
                    <a:lnTo>
                      <a:pt x="17287" y="9251"/>
                    </a:lnTo>
                    <a:lnTo>
                      <a:pt x="17189" y="9133"/>
                    </a:lnTo>
                    <a:lnTo>
                      <a:pt x="17228" y="9309"/>
                    </a:lnTo>
                    <a:lnTo>
                      <a:pt x="17287" y="9508"/>
                    </a:lnTo>
                    <a:lnTo>
                      <a:pt x="17307" y="9659"/>
                    </a:lnTo>
                    <a:lnTo>
                      <a:pt x="17346" y="9929"/>
                    </a:lnTo>
                    <a:lnTo>
                      <a:pt x="17403" y="10239"/>
                    </a:lnTo>
                    <a:lnTo>
                      <a:pt x="17487" y="10525"/>
                    </a:lnTo>
                    <a:lnTo>
                      <a:pt x="17467" y="10678"/>
                    </a:lnTo>
                    <a:lnTo>
                      <a:pt x="17306" y="10380"/>
                    </a:lnTo>
                    <a:lnTo>
                      <a:pt x="17262" y="10267"/>
                    </a:lnTo>
                    <a:cubicBezTo>
                      <a:pt x="17251" y="10247"/>
                      <a:pt x="17241" y="10228"/>
                      <a:pt x="17230" y="10208"/>
                    </a:cubicBezTo>
                    <a:cubicBezTo>
                      <a:pt x="17219" y="10189"/>
                      <a:pt x="17208" y="10169"/>
                      <a:pt x="17197" y="10150"/>
                    </a:cubicBezTo>
                    <a:lnTo>
                      <a:pt x="17074" y="10079"/>
                    </a:lnTo>
                    <a:lnTo>
                      <a:pt x="17044" y="9958"/>
                    </a:lnTo>
                    <a:lnTo>
                      <a:pt x="16952" y="9852"/>
                    </a:lnTo>
                    <a:lnTo>
                      <a:pt x="16830" y="9710"/>
                    </a:lnTo>
                    <a:lnTo>
                      <a:pt x="16714" y="9503"/>
                    </a:lnTo>
                    <a:cubicBezTo>
                      <a:pt x="16693" y="9499"/>
                      <a:pt x="16673" y="9495"/>
                      <a:pt x="16652" y="9491"/>
                    </a:cubicBezTo>
                    <a:cubicBezTo>
                      <a:pt x="16631" y="9487"/>
                      <a:pt x="16610" y="9483"/>
                      <a:pt x="16590" y="9479"/>
                    </a:cubicBezTo>
                    <a:lnTo>
                      <a:pt x="16679" y="9690"/>
                    </a:lnTo>
                    <a:lnTo>
                      <a:pt x="16593" y="9705"/>
                    </a:lnTo>
                    <a:lnTo>
                      <a:pt x="16681" y="9850"/>
                    </a:lnTo>
                    <a:lnTo>
                      <a:pt x="16896" y="10027"/>
                    </a:lnTo>
                    <a:lnTo>
                      <a:pt x="17014" y="10234"/>
                    </a:lnTo>
                    <a:lnTo>
                      <a:pt x="17120" y="10490"/>
                    </a:lnTo>
                    <a:lnTo>
                      <a:pt x="17176" y="10650"/>
                    </a:lnTo>
                    <a:lnTo>
                      <a:pt x="17223" y="10823"/>
                    </a:lnTo>
                    <a:lnTo>
                      <a:pt x="17242" y="10963"/>
                    </a:lnTo>
                    <a:lnTo>
                      <a:pt x="17255" y="11139"/>
                    </a:lnTo>
                    <a:lnTo>
                      <a:pt x="17221" y="11277"/>
                    </a:lnTo>
                    <a:lnTo>
                      <a:pt x="17122" y="11218"/>
                    </a:lnTo>
                    <a:lnTo>
                      <a:pt x="17044" y="11065"/>
                    </a:lnTo>
                    <a:lnTo>
                      <a:pt x="16972" y="10901"/>
                    </a:lnTo>
                    <a:lnTo>
                      <a:pt x="16915" y="10869"/>
                    </a:lnTo>
                    <a:lnTo>
                      <a:pt x="16799" y="10810"/>
                    </a:lnTo>
                    <a:lnTo>
                      <a:pt x="16735" y="10569"/>
                    </a:lnTo>
                    <a:lnTo>
                      <a:pt x="16702" y="10456"/>
                    </a:lnTo>
                    <a:lnTo>
                      <a:pt x="16623" y="10338"/>
                    </a:lnTo>
                    <a:lnTo>
                      <a:pt x="16548" y="10162"/>
                    </a:lnTo>
                    <a:lnTo>
                      <a:pt x="16496" y="9985"/>
                    </a:lnTo>
                    <a:lnTo>
                      <a:pt x="16496" y="9856"/>
                    </a:lnTo>
                    <a:lnTo>
                      <a:pt x="16399" y="9684"/>
                    </a:lnTo>
                    <a:lnTo>
                      <a:pt x="16319" y="9746"/>
                    </a:lnTo>
                    <a:lnTo>
                      <a:pt x="16148" y="9582"/>
                    </a:lnTo>
                    <a:cubicBezTo>
                      <a:pt x="16168" y="9621"/>
                      <a:pt x="16188" y="9660"/>
                      <a:pt x="16208" y="9700"/>
                    </a:cubicBezTo>
                    <a:cubicBezTo>
                      <a:pt x="16228" y="9739"/>
                      <a:pt x="16248" y="9778"/>
                      <a:pt x="16268" y="9817"/>
                    </a:cubicBezTo>
                    <a:lnTo>
                      <a:pt x="16161" y="9785"/>
                    </a:lnTo>
                    <a:lnTo>
                      <a:pt x="16031" y="9605"/>
                    </a:lnTo>
                    <a:lnTo>
                      <a:pt x="15928" y="9436"/>
                    </a:lnTo>
                    <a:lnTo>
                      <a:pt x="15928" y="9271"/>
                    </a:lnTo>
                    <a:lnTo>
                      <a:pt x="16064" y="9294"/>
                    </a:lnTo>
                    <a:lnTo>
                      <a:pt x="15920" y="9071"/>
                    </a:lnTo>
                    <a:lnTo>
                      <a:pt x="15866" y="9021"/>
                    </a:lnTo>
                    <a:lnTo>
                      <a:pt x="15866" y="8880"/>
                    </a:lnTo>
                    <a:cubicBezTo>
                      <a:pt x="15853" y="8850"/>
                      <a:pt x="15840" y="8820"/>
                      <a:pt x="15827" y="8790"/>
                    </a:cubicBezTo>
                    <a:cubicBezTo>
                      <a:pt x="15814" y="8760"/>
                      <a:pt x="15802" y="8730"/>
                      <a:pt x="15789" y="8700"/>
                    </a:cubicBezTo>
                    <a:lnTo>
                      <a:pt x="15699" y="8587"/>
                    </a:lnTo>
                    <a:lnTo>
                      <a:pt x="15800" y="8465"/>
                    </a:lnTo>
                    <a:lnTo>
                      <a:pt x="15955" y="8825"/>
                    </a:lnTo>
                    <a:lnTo>
                      <a:pt x="16018" y="8926"/>
                    </a:lnTo>
                    <a:lnTo>
                      <a:pt x="16064" y="8785"/>
                    </a:lnTo>
                    <a:lnTo>
                      <a:pt x="16025" y="8621"/>
                    </a:lnTo>
                    <a:lnTo>
                      <a:pt x="16110" y="8648"/>
                    </a:lnTo>
                    <a:lnTo>
                      <a:pt x="16224" y="8926"/>
                    </a:lnTo>
                    <a:lnTo>
                      <a:pt x="16327" y="9004"/>
                    </a:lnTo>
                    <a:lnTo>
                      <a:pt x="16507" y="8902"/>
                    </a:lnTo>
                    <a:lnTo>
                      <a:pt x="16625" y="8926"/>
                    </a:lnTo>
                    <a:lnTo>
                      <a:pt x="16756" y="8993"/>
                    </a:lnTo>
                    <a:lnTo>
                      <a:pt x="16815" y="8935"/>
                    </a:lnTo>
                    <a:lnTo>
                      <a:pt x="16815" y="8794"/>
                    </a:lnTo>
                    <a:lnTo>
                      <a:pt x="16917" y="8704"/>
                    </a:lnTo>
                    <a:lnTo>
                      <a:pt x="16989" y="8868"/>
                    </a:lnTo>
                    <a:lnTo>
                      <a:pt x="17083" y="8926"/>
                    </a:lnTo>
                    <a:lnTo>
                      <a:pt x="17192" y="9012"/>
                    </a:lnTo>
                    <a:lnTo>
                      <a:pt x="17004" y="8639"/>
                    </a:lnTo>
                    <a:lnTo>
                      <a:pt x="16796" y="8294"/>
                    </a:lnTo>
                    <a:lnTo>
                      <a:pt x="16703" y="8212"/>
                    </a:lnTo>
                    <a:lnTo>
                      <a:pt x="16690" y="8028"/>
                    </a:lnTo>
                    <a:lnTo>
                      <a:pt x="16653" y="7942"/>
                    </a:lnTo>
                    <a:lnTo>
                      <a:pt x="16554" y="7699"/>
                    </a:lnTo>
                    <a:lnTo>
                      <a:pt x="16495" y="7535"/>
                    </a:lnTo>
                    <a:lnTo>
                      <a:pt x="16397" y="7441"/>
                    </a:lnTo>
                    <a:lnTo>
                      <a:pt x="16208" y="7323"/>
                    </a:lnTo>
                    <a:lnTo>
                      <a:pt x="16078" y="7281"/>
                    </a:lnTo>
                    <a:lnTo>
                      <a:pt x="15916" y="7194"/>
                    </a:lnTo>
                    <a:cubicBezTo>
                      <a:pt x="15898" y="7121"/>
                      <a:pt x="15877" y="7050"/>
                      <a:pt x="15853" y="6983"/>
                    </a:cubicBezTo>
                    <a:cubicBezTo>
                      <a:pt x="15819" y="6886"/>
                      <a:pt x="15778" y="6797"/>
                      <a:pt x="15733" y="6716"/>
                    </a:cubicBezTo>
                    <a:lnTo>
                      <a:pt x="15849" y="6650"/>
                    </a:lnTo>
                    <a:lnTo>
                      <a:pt x="15908" y="6771"/>
                    </a:lnTo>
                    <a:lnTo>
                      <a:pt x="16006" y="6865"/>
                    </a:lnTo>
                    <a:lnTo>
                      <a:pt x="16043" y="6709"/>
                    </a:lnTo>
                    <a:lnTo>
                      <a:pt x="16076" y="6580"/>
                    </a:lnTo>
                    <a:lnTo>
                      <a:pt x="16102" y="6415"/>
                    </a:lnTo>
                    <a:lnTo>
                      <a:pt x="16050" y="6289"/>
                    </a:lnTo>
                    <a:lnTo>
                      <a:pt x="15990" y="6090"/>
                    </a:lnTo>
                    <a:lnTo>
                      <a:pt x="15872" y="5960"/>
                    </a:lnTo>
                    <a:lnTo>
                      <a:pt x="15754" y="5795"/>
                    </a:lnTo>
                    <a:lnTo>
                      <a:pt x="15754" y="5678"/>
                    </a:lnTo>
                    <a:lnTo>
                      <a:pt x="15747" y="5514"/>
                    </a:lnTo>
                    <a:lnTo>
                      <a:pt x="15629" y="5350"/>
                    </a:lnTo>
                    <a:lnTo>
                      <a:pt x="15498" y="5291"/>
                    </a:lnTo>
                    <a:lnTo>
                      <a:pt x="15377" y="5244"/>
                    </a:lnTo>
                    <a:lnTo>
                      <a:pt x="15218" y="5151"/>
                    </a:lnTo>
                    <a:lnTo>
                      <a:pt x="15027" y="5057"/>
                    </a:lnTo>
                    <a:lnTo>
                      <a:pt x="14951" y="5057"/>
                    </a:lnTo>
                    <a:lnTo>
                      <a:pt x="14805" y="4924"/>
                    </a:lnTo>
                    <a:lnTo>
                      <a:pt x="14753" y="4736"/>
                    </a:lnTo>
                    <a:lnTo>
                      <a:pt x="14654" y="4665"/>
                    </a:lnTo>
                    <a:cubicBezTo>
                      <a:pt x="14618" y="4619"/>
                      <a:pt x="14583" y="4567"/>
                      <a:pt x="14551" y="4512"/>
                    </a:cubicBezTo>
                    <a:cubicBezTo>
                      <a:pt x="14509" y="4441"/>
                      <a:pt x="14471" y="4363"/>
                      <a:pt x="14426" y="4297"/>
                    </a:cubicBezTo>
                    <a:cubicBezTo>
                      <a:pt x="14366" y="4207"/>
                      <a:pt x="14296" y="4141"/>
                      <a:pt x="14221" y="4101"/>
                    </a:cubicBezTo>
                    <a:lnTo>
                      <a:pt x="14208" y="4261"/>
                    </a:lnTo>
                    <a:lnTo>
                      <a:pt x="14353" y="4386"/>
                    </a:lnTo>
                    <a:lnTo>
                      <a:pt x="14660" y="4807"/>
                    </a:lnTo>
                    <a:lnTo>
                      <a:pt x="14734" y="4924"/>
                    </a:lnTo>
                    <a:lnTo>
                      <a:pt x="14616" y="5124"/>
                    </a:lnTo>
                    <a:lnTo>
                      <a:pt x="14536" y="5069"/>
                    </a:lnTo>
                    <a:lnTo>
                      <a:pt x="14371" y="5081"/>
                    </a:lnTo>
                    <a:lnTo>
                      <a:pt x="14268" y="5045"/>
                    </a:lnTo>
                    <a:lnTo>
                      <a:pt x="14169" y="4932"/>
                    </a:lnTo>
                    <a:lnTo>
                      <a:pt x="14064" y="4790"/>
                    </a:lnTo>
                    <a:cubicBezTo>
                      <a:pt x="14027" y="4784"/>
                      <a:pt x="13989" y="4773"/>
                      <a:pt x="13953" y="4755"/>
                    </a:cubicBezTo>
                    <a:cubicBezTo>
                      <a:pt x="13881" y="4720"/>
                      <a:pt x="13812" y="4663"/>
                      <a:pt x="13751" y="4586"/>
                    </a:cubicBezTo>
                    <a:lnTo>
                      <a:pt x="13626" y="4586"/>
                    </a:lnTo>
                    <a:lnTo>
                      <a:pt x="13704" y="4815"/>
                    </a:lnTo>
                    <a:lnTo>
                      <a:pt x="13805" y="4877"/>
                    </a:lnTo>
                    <a:lnTo>
                      <a:pt x="13912" y="4978"/>
                    </a:lnTo>
                    <a:lnTo>
                      <a:pt x="14054" y="5110"/>
                    </a:lnTo>
                    <a:lnTo>
                      <a:pt x="14200" y="5122"/>
                    </a:lnTo>
                    <a:lnTo>
                      <a:pt x="14341" y="5193"/>
                    </a:lnTo>
                    <a:lnTo>
                      <a:pt x="14409" y="5310"/>
                    </a:lnTo>
                    <a:lnTo>
                      <a:pt x="14551" y="5401"/>
                    </a:lnTo>
                    <a:lnTo>
                      <a:pt x="14665" y="5526"/>
                    </a:lnTo>
                    <a:lnTo>
                      <a:pt x="14777" y="5585"/>
                    </a:lnTo>
                    <a:lnTo>
                      <a:pt x="14803" y="5443"/>
                    </a:lnTo>
                    <a:lnTo>
                      <a:pt x="14727" y="5307"/>
                    </a:lnTo>
                    <a:lnTo>
                      <a:pt x="14746" y="5201"/>
                    </a:lnTo>
                    <a:lnTo>
                      <a:pt x="14832" y="5178"/>
                    </a:lnTo>
                    <a:lnTo>
                      <a:pt x="14850" y="5345"/>
                    </a:lnTo>
                    <a:lnTo>
                      <a:pt x="15040" y="5345"/>
                    </a:lnTo>
                    <a:lnTo>
                      <a:pt x="15097" y="5473"/>
                    </a:lnTo>
                    <a:lnTo>
                      <a:pt x="15143" y="5638"/>
                    </a:lnTo>
                    <a:lnTo>
                      <a:pt x="15231" y="5795"/>
                    </a:lnTo>
                    <a:lnTo>
                      <a:pt x="15371" y="5771"/>
                    </a:lnTo>
                    <a:lnTo>
                      <a:pt x="15454" y="5747"/>
                    </a:lnTo>
                    <a:lnTo>
                      <a:pt x="15548" y="5771"/>
                    </a:lnTo>
                    <a:lnTo>
                      <a:pt x="15640" y="5912"/>
                    </a:lnTo>
                    <a:lnTo>
                      <a:pt x="15713" y="6050"/>
                    </a:lnTo>
                    <a:lnTo>
                      <a:pt x="15776" y="6107"/>
                    </a:lnTo>
                    <a:lnTo>
                      <a:pt x="15877" y="6262"/>
                    </a:lnTo>
                    <a:lnTo>
                      <a:pt x="15969" y="6317"/>
                    </a:lnTo>
                    <a:lnTo>
                      <a:pt x="16008" y="6454"/>
                    </a:lnTo>
                    <a:lnTo>
                      <a:pt x="15993" y="6635"/>
                    </a:lnTo>
                    <a:lnTo>
                      <a:pt x="15761" y="6583"/>
                    </a:lnTo>
                    <a:lnTo>
                      <a:pt x="15595" y="6548"/>
                    </a:lnTo>
                    <a:lnTo>
                      <a:pt x="15529" y="6594"/>
                    </a:lnTo>
                    <a:cubicBezTo>
                      <a:pt x="15502" y="6606"/>
                      <a:pt x="15480" y="6643"/>
                      <a:pt x="15472" y="6692"/>
                    </a:cubicBezTo>
                    <a:cubicBezTo>
                      <a:pt x="15450" y="6832"/>
                      <a:pt x="15530" y="6954"/>
                      <a:pt x="15604" y="6892"/>
                    </a:cubicBezTo>
                    <a:lnTo>
                      <a:pt x="15660" y="6962"/>
                    </a:lnTo>
                    <a:lnTo>
                      <a:pt x="15750" y="7076"/>
                    </a:lnTo>
                    <a:lnTo>
                      <a:pt x="15770" y="7193"/>
                    </a:lnTo>
                    <a:lnTo>
                      <a:pt x="15750" y="7322"/>
                    </a:lnTo>
                    <a:lnTo>
                      <a:pt x="15647" y="7404"/>
                    </a:lnTo>
                    <a:lnTo>
                      <a:pt x="15496" y="7381"/>
                    </a:lnTo>
                    <a:cubicBezTo>
                      <a:pt x="15439" y="7357"/>
                      <a:pt x="15382" y="7334"/>
                      <a:pt x="15325" y="7310"/>
                    </a:cubicBezTo>
                    <a:cubicBezTo>
                      <a:pt x="15287" y="7294"/>
                      <a:pt x="15249" y="7279"/>
                      <a:pt x="15211" y="7263"/>
                    </a:cubicBezTo>
                    <a:cubicBezTo>
                      <a:pt x="15178" y="7253"/>
                      <a:pt x="15146" y="7237"/>
                      <a:pt x="15115" y="7216"/>
                    </a:cubicBezTo>
                    <a:cubicBezTo>
                      <a:pt x="15055" y="7175"/>
                      <a:pt x="15000" y="7114"/>
                      <a:pt x="14946" y="7051"/>
                    </a:cubicBezTo>
                    <a:cubicBezTo>
                      <a:pt x="14901" y="6998"/>
                      <a:pt x="14856" y="6943"/>
                      <a:pt x="14812" y="6886"/>
                    </a:cubicBezTo>
                    <a:lnTo>
                      <a:pt x="14701" y="6781"/>
                    </a:lnTo>
                    <a:lnTo>
                      <a:pt x="14628" y="6581"/>
                    </a:lnTo>
                    <a:lnTo>
                      <a:pt x="14552" y="6460"/>
                    </a:lnTo>
                    <a:lnTo>
                      <a:pt x="14427" y="6249"/>
                    </a:lnTo>
                    <a:lnTo>
                      <a:pt x="14008" y="5995"/>
                    </a:lnTo>
                    <a:lnTo>
                      <a:pt x="13773" y="5752"/>
                    </a:lnTo>
                    <a:lnTo>
                      <a:pt x="13618" y="5646"/>
                    </a:lnTo>
                    <a:lnTo>
                      <a:pt x="13668" y="5807"/>
                    </a:lnTo>
                    <a:lnTo>
                      <a:pt x="13459" y="5705"/>
                    </a:lnTo>
                    <a:lnTo>
                      <a:pt x="13336" y="5611"/>
                    </a:lnTo>
                    <a:lnTo>
                      <a:pt x="13218" y="5505"/>
                    </a:lnTo>
                    <a:lnTo>
                      <a:pt x="13086" y="5340"/>
                    </a:lnTo>
                    <a:lnTo>
                      <a:pt x="12928" y="5187"/>
                    </a:lnTo>
                    <a:lnTo>
                      <a:pt x="12829" y="5070"/>
                    </a:lnTo>
                    <a:lnTo>
                      <a:pt x="12805" y="4968"/>
                    </a:lnTo>
                    <a:lnTo>
                      <a:pt x="12632" y="4933"/>
                    </a:lnTo>
                    <a:lnTo>
                      <a:pt x="12585" y="4795"/>
                    </a:lnTo>
                    <a:lnTo>
                      <a:pt x="12542" y="4623"/>
                    </a:lnTo>
                    <a:lnTo>
                      <a:pt x="12470" y="4531"/>
                    </a:lnTo>
                    <a:lnTo>
                      <a:pt x="12439" y="4311"/>
                    </a:lnTo>
                    <a:lnTo>
                      <a:pt x="12524" y="4252"/>
                    </a:lnTo>
                    <a:lnTo>
                      <a:pt x="12522" y="4084"/>
                    </a:lnTo>
                    <a:lnTo>
                      <a:pt x="12446" y="4049"/>
                    </a:lnTo>
                    <a:lnTo>
                      <a:pt x="12446" y="3892"/>
                    </a:lnTo>
                    <a:lnTo>
                      <a:pt x="12389" y="3724"/>
                    </a:lnTo>
                    <a:lnTo>
                      <a:pt x="12352" y="3576"/>
                    </a:lnTo>
                    <a:lnTo>
                      <a:pt x="12292" y="3369"/>
                    </a:lnTo>
                    <a:lnTo>
                      <a:pt x="12279" y="3219"/>
                    </a:lnTo>
                    <a:lnTo>
                      <a:pt x="12386" y="3162"/>
                    </a:lnTo>
                    <a:lnTo>
                      <a:pt x="12555" y="3138"/>
                    </a:lnTo>
                    <a:lnTo>
                      <a:pt x="12614" y="3330"/>
                    </a:lnTo>
                    <a:lnTo>
                      <a:pt x="12699" y="3479"/>
                    </a:lnTo>
                    <a:lnTo>
                      <a:pt x="12786" y="3690"/>
                    </a:lnTo>
                    <a:lnTo>
                      <a:pt x="12924" y="3743"/>
                    </a:lnTo>
                    <a:lnTo>
                      <a:pt x="12970" y="3587"/>
                    </a:lnTo>
                    <a:lnTo>
                      <a:pt x="13119" y="3622"/>
                    </a:lnTo>
                    <a:lnTo>
                      <a:pt x="13075" y="3363"/>
                    </a:lnTo>
                    <a:lnTo>
                      <a:pt x="12994" y="3433"/>
                    </a:lnTo>
                    <a:lnTo>
                      <a:pt x="12918" y="3445"/>
                    </a:lnTo>
                    <a:lnTo>
                      <a:pt x="12848" y="3410"/>
                    </a:lnTo>
                    <a:lnTo>
                      <a:pt x="12780" y="3320"/>
                    </a:lnTo>
                    <a:lnTo>
                      <a:pt x="12656" y="3211"/>
                    </a:lnTo>
                    <a:lnTo>
                      <a:pt x="12432" y="3030"/>
                    </a:lnTo>
                    <a:lnTo>
                      <a:pt x="12318" y="3046"/>
                    </a:lnTo>
                    <a:lnTo>
                      <a:pt x="12270" y="2956"/>
                    </a:lnTo>
                    <a:lnTo>
                      <a:pt x="12192" y="2991"/>
                    </a:lnTo>
                    <a:lnTo>
                      <a:pt x="12146" y="3120"/>
                    </a:lnTo>
                    <a:lnTo>
                      <a:pt x="12041" y="3155"/>
                    </a:lnTo>
                    <a:lnTo>
                      <a:pt x="11985" y="3225"/>
                    </a:lnTo>
                    <a:lnTo>
                      <a:pt x="11911" y="3108"/>
                    </a:lnTo>
                    <a:lnTo>
                      <a:pt x="11854" y="2983"/>
                    </a:lnTo>
                    <a:lnTo>
                      <a:pt x="11985" y="2908"/>
                    </a:lnTo>
                    <a:lnTo>
                      <a:pt x="12027" y="2806"/>
                    </a:lnTo>
                    <a:lnTo>
                      <a:pt x="11961" y="2747"/>
                    </a:lnTo>
                    <a:lnTo>
                      <a:pt x="11856" y="2759"/>
                    </a:lnTo>
                    <a:lnTo>
                      <a:pt x="11654" y="2818"/>
                    </a:lnTo>
                    <a:lnTo>
                      <a:pt x="11644" y="2963"/>
                    </a:lnTo>
                    <a:lnTo>
                      <a:pt x="11565" y="2998"/>
                    </a:lnTo>
                    <a:lnTo>
                      <a:pt x="11447" y="2939"/>
                    </a:lnTo>
                    <a:lnTo>
                      <a:pt x="11484" y="2787"/>
                    </a:lnTo>
                    <a:lnTo>
                      <a:pt x="11601" y="2767"/>
                    </a:lnTo>
                    <a:lnTo>
                      <a:pt x="11411" y="2709"/>
                    </a:lnTo>
                    <a:lnTo>
                      <a:pt x="11181" y="2594"/>
                    </a:lnTo>
                    <a:lnTo>
                      <a:pt x="11205" y="2473"/>
                    </a:lnTo>
                    <a:lnTo>
                      <a:pt x="10949" y="2473"/>
                    </a:lnTo>
                    <a:lnTo>
                      <a:pt x="10859" y="2391"/>
                    </a:lnTo>
                    <a:lnTo>
                      <a:pt x="10836" y="2266"/>
                    </a:lnTo>
                    <a:lnTo>
                      <a:pt x="10753" y="2337"/>
                    </a:lnTo>
                    <a:lnTo>
                      <a:pt x="10783" y="2528"/>
                    </a:lnTo>
                    <a:lnTo>
                      <a:pt x="10705" y="2591"/>
                    </a:lnTo>
                    <a:lnTo>
                      <a:pt x="10829" y="2655"/>
                    </a:lnTo>
                    <a:lnTo>
                      <a:pt x="10941" y="2667"/>
                    </a:lnTo>
                    <a:lnTo>
                      <a:pt x="11077" y="2820"/>
                    </a:lnTo>
                    <a:lnTo>
                      <a:pt x="11180" y="2968"/>
                    </a:lnTo>
                    <a:lnTo>
                      <a:pt x="11098" y="3145"/>
                    </a:lnTo>
                    <a:lnTo>
                      <a:pt x="10969" y="3191"/>
                    </a:lnTo>
                    <a:lnTo>
                      <a:pt x="10829" y="3203"/>
                    </a:lnTo>
                    <a:lnTo>
                      <a:pt x="10711" y="3309"/>
                    </a:lnTo>
                    <a:lnTo>
                      <a:pt x="10601" y="3427"/>
                    </a:lnTo>
                    <a:lnTo>
                      <a:pt x="10504" y="3544"/>
                    </a:lnTo>
                    <a:lnTo>
                      <a:pt x="10414" y="3544"/>
                    </a:lnTo>
                    <a:lnTo>
                      <a:pt x="10330" y="3497"/>
                    </a:lnTo>
                    <a:lnTo>
                      <a:pt x="10164" y="3497"/>
                    </a:lnTo>
                    <a:lnTo>
                      <a:pt x="10098" y="3520"/>
                    </a:lnTo>
                    <a:lnTo>
                      <a:pt x="9890" y="3508"/>
                    </a:lnTo>
                    <a:lnTo>
                      <a:pt x="9724" y="3532"/>
                    </a:lnTo>
                    <a:lnTo>
                      <a:pt x="9643" y="3497"/>
                    </a:lnTo>
                    <a:lnTo>
                      <a:pt x="9713" y="3293"/>
                    </a:lnTo>
                    <a:lnTo>
                      <a:pt x="9851" y="3269"/>
                    </a:lnTo>
                    <a:lnTo>
                      <a:pt x="9958" y="3277"/>
                    </a:lnTo>
                    <a:lnTo>
                      <a:pt x="10123" y="3277"/>
                    </a:lnTo>
                    <a:lnTo>
                      <a:pt x="10213" y="3297"/>
                    </a:lnTo>
                    <a:cubicBezTo>
                      <a:pt x="10235" y="3286"/>
                      <a:pt x="10257" y="3274"/>
                      <a:pt x="10278" y="3262"/>
                    </a:cubicBezTo>
                    <a:cubicBezTo>
                      <a:pt x="10331" y="3231"/>
                      <a:pt x="10383" y="3196"/>
                      <a:pt x="10434" y="3156"/>
                    </a:cubicBezTo>
                    <a:lnTo>
                      <a:pt x="10537" y="3073"/>
                    </a:lnTo>
                    <a:cubicBezTo>
                      <a:pt x="10587" y="3061"/>
                      <a:pt x="10635" y="3037"/>
                      <a:pt x="10682" y="3003"/>
                    </a:cubicBezTo>
                    <a:cubicBezTo>
                      <a:pt x="10709" y="2983"/>
                      <a:pt x="10735" y="2960"/>
                      <a:pt x="10760" y="2933"/>
                    </a:cubicBezTo>
                    <a:lnTo>
                      <a:pt x="10845" y="2827"/>
                    </a:lnTo>
                    <a:lnTo>
                      <a:pt x="10603" y="2467"/>
                    </a:lnTo>
                    <a:lnTo>
                      <a:pt x="10462" y="2362"/>
                    </a:lnTo>
                    <a:lnTo>
                      <a:pt x="10412" y="2264"/>
                    </a:lnTo>
                    <a:lnTo>
                      <a:pt x="10265" y="2064"/>
                    </a:lnTo>
                    <a:lnTo>
                      <a:pt x="10161" y="2017"/>
                    </a:lnTo>
                    <a:lnTo>
                      <a:pt x="10195" y="2209"/>
                    </a:lnTo>
                    <a:lnTo>
                      <a:pt x="10183" y="2334"/>
                    </a:lnTo>
                    <a:lnTo>
                      <a:pt x="10112" y="2400"/>
                    </a:lnTo>
                    <a:lnTo>
                      <a:pt x="9985" y="2471"/>
                    </a:lnTo>
                    <a:lnTo>
                      <a:pt x="9919" y="2595"/>
                    </a:lnTo>
                    <a:lnTo>
                      <a:pt x="9851" y="2631"/>
                    </a:lnTo>
                    <a:lnTo>
                      <a:pt x="9762" y="2702"/>
                    </a:lnTo>
                    <a:lnTo>
                      <a:pt x="9586" y="2584"/>
                    </a:lnTo>
                    <a:lnTo>
                      <a:pt x="9620" y="2459"/>
                    </a:lnTo>
                    <a:lnTo>
                      <a:pt x="9672" y="2350"/>
                    </a:lnTo>
                    <a:lnTo>
                      <a:pt x="9681" y="2241"/>
                    </a:lnTo>
                    <a:lnTo>
                      <a:pt x="9726" y="1986"/>
                    </a:lnTo>
                    <a:lnTo>
                      <a:pt x="9713" y="1813"/>
                    </a:lnTo>
                    <a:lnTo>
                      <a:pt x="9842" y="1677"/>
                    </a:lnTo>
                    <a:lnTo>
                      <a:pt x="9919" y="1654"/>
                    </a:lnTo>
                    <a:lnTo>
                      <a:pt x="9974" y="1564"/>
                    </a:lnTo>
                    <a:lnTo>
                      <a:pt x="9839" y="1552"/>
                    </a:lnTo>
                    <a:lnTo>
                      <a:pt x="9736" y="1599"/>
                    </a:lnTo>
                    <a:lnTo>
                      <a:pt x="9642" y="1713"/>
                    </a:lnTo>
                    <a:lnTo>
                      <a:pt x="9638" y="1944"/>
                    </a:lnTo>
                    <a:lnTo>
                      <a:pt x="9619" y="2149"/>
                    </a:lnTo>
                    <a:lnTo>
                      <a:pt x="9597" y="2321"/>
                    </a:lnTo>
                    <a:lnTo>
                      <a:pt x="9507" y="2426"/>
                    </a:lnTo>
                    <a:lnTo>
                      <a:pt x="9470" y="2633"/>
                    </a:lnTo>
                    <a:lnTo>
                      <a:pt x="9387" y="2563"/>
                    </a:lnTo>
                    <a:lnTo>
                      <a:pt x="9420" y="2422"/>
                    </a:lnTo>
                    <a:lnTo>
                      <a:pt x="9414" y="2273"/>
                    </a:lnTo>
                    <a:lnTo>
                      <a:pt x="9317" y="2391"/>
                    </a:lnTo>
                    <a:lnTo>
                      <a:pt x="9256" y="2450"/>
                    </a:lnTo>
                    <a:lnTo>
                      <a:pt x="9144" y="2450"/>
                    </a:lnTo>
                    <a:lnTo>
                      <a:pt x="9026" y="2344"/>
                    </a:lnTo>
                    <a:lnTo>
                      <a:pt x="8960" y="2364"/>
                    </a:lnTo>
                    <a:lnTo>
                      <a:pt x="9052" y="2528"/>
                    </a:lnTo>
                    <a:lnTo>
                      <a:pt x="8986" y="2692"/>
                    </a:lnTo>
                    <a:lnTo>
                      <a:pt x="8866" y="2704"/>
                    </a:lnTo>
                    <a:lnTo>
                      <a:pt x="8737" y="2657"/>
                    </a:lnTo>
                    <a:lnTo>
                      <a:pt x="8588" y="2669"/>
                    </a:lnTo>
                    <a:lnTo>
                      <a:pt x="8708" y="2818"/>
                    </a:lnTo>
                    <a:lnTo>
                      <a:pt x="8704" y="2943"/>
                    </a:lnTo>
                    <a:lnTo>
                      <a:pt x="8619" y="2966"/>
                    </a:lnTo>
                    <a:lnTo>
                      <a:pt x="8490" y="3049"/>
                    </a:lnTo>
                    <a:lnTo>
                      <a:pt x="8317" y="3162"/>
                    </a:lnTo>
                    <a:lnTo>
                      <a:pt x="8223" y="3264"/>
                    </a:lnTo>
                    <a:lnTo>
                      <a:pt x="8190" y="3452"/>
                    </a:lnTo>
                    <a:lnTo>
                      <a:pt x="8125" y="3440"/>
                    </a:lnTo>
                    <a:lnTo>
                      <a:pt x="8047" y="3366"/>
                    </a:lnTo>
                    <a:lnTo>
                      <a:pt x="7916" y="3402"/>
                    </a:lnTo>
                    <a:lnTo>
                      <a:pt x="7870" y="3579"/>
                    </a:lnTo>
                    <a:lnTo>
                      <a:pt x="7830" y="3696"/>
                    </a:lnTo>
                    <a:lnTo>
                      <a:pt x="7706" y="3767"/>
                    </a:lnTo>
                    <a:lnTo>
                      <a:pt x="7588" y="3708"/>
                    </a:lnTo>
                    <a:lnTo>
                      <a:pt x="7518" y="3637"/>
                    </a:lnTo>
                    <a:lnTo>
                      <a:pt x="7374" y="3728"/>
                    </a:lnTo>
                    <a:lnTo>
                      <a:pt x="7276" y="3814"/>
                    </a:lnTo>
                    <a:lnTo>
                      <a:pt x="7250" y="3709"/>
                    </a:lnTo>
                    <a:lnTo>
                      <a:pt x="7132" y="3651"/>
                    </a:lnTo>
                    <a:lnTo>
                      <a:pt x="7044" y="3662"/>
                    </a:lnTo>
                    <a:lnTo>
                      <a:pt x="7031" y="3416"/>
                    </a:lnTo>
                    <a:lnTo>
                      <a:pt x="7130" y="3325"/>
                    </a:lnTo>
                    <a:lnTo>
                      <a:pt x="7056" y="3263"/>
                    </a:lnTo>
                    <a:lnTo>
                      <a:pt x="6974" y="3251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380" name="i$ļïďé">
                <a:extLst>
                  <a:ext uri="{FF2B5EF4-FFF2-40B4-BE49-F238E27FC236}">
                    <a16:creationId xmlns:a16="http://schemas.microsoft.com/office/drawing/2014/main" id="{E948163B-E15A-4DE2-A120-09A6862E3596}"/>
                  </a:ext>
                </a:extLst>
              </p:cNvPr>
              <p:cNvSpPr/>
              <p:nvPr/>
            </p:nvSpPr>
            <p:spPr>
              <a:xfrm>
                <a:off x="6603424" y="4147602"/>
                <a:ext cx="68510" cy="8592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180" h="20974" extrusionOk="0">
                    <a:moveTo>
                      <a:pt x="10266" y="844"/>
                    </a:moveTo>
                    <a:lnTo>
                      <a:pt x="7674" y="844"/>
                    </a:lnTo>
                    <a:lnTo>
                      <a:pt x="4819" y="0"/>
                    </a:lnTo>
                    <a:lnTo>
                      <a:pt x="4343" y="2648"/>
                    </a:lnTo>
                    <a:lnTo>
                      <a:pt x="2634" y="3496"/>
                    </a:lnTo>
                    <a:lnTo>
                      <a:pt x="5752" y="6202"/>
                    </a:lnTo>
                    <a:lnTo>
                      <a:pt x="4694" y="7602"/>
                    </a:lnTo>
                    <a:lnTo>
                      <a:pt x="4320" y="9806"/>
                    </a:lnTo>
                    <a:lnTo>
                      <a:pt x="7247" y="11451"/>
                    </a:lnTo>
                    <a:lnTo>
                      <a:pt x="6761" y="13208"/>
                    </a:lnTo>
                    <a:lnTo>
                      <a:pt x="3970" y="12204"/>
                    </a:lnTo>
                    <a:lnTo>
                      <a:pt x="42" y="12204"/>
                    </a:lnTo>
                    <a:lnTo>
                      <a:pt x="0" y="14301"/>
                    </a:lnTo>
                    <a:lnTo>
                      <a:pt x="2309" y="16253"/>
                    </a:lnTo>
                    <a:lnTo>
                      <a:pt x="4721" y="18507"/>
                    </a:lnTo>
                    <a:lnTo>
                      <a:pt x="6812" y="16856"/>
                    </a:lnTo>
                    <a:lnTo>
                      <a:pt x="8832" y="15707"/>
                    </a:lnTo>
                    <a:lnTo>
                      <a:pt x="8816" y="18671"/>
                    </a:lnTo>
                    <a:lnTo>
                      <a:pt x="9961" y="20811"/>
                    </a:lnTo>
                    <a:lnTo>
                      <a:pt x="12927" y="20962"/>
                    </a:lnTo>
                    <a:lnTo>
                      <a:pt x="12355" y="16900"/>
                    </a:lnTo>
                    <a:lnTo>
                      <a:pt x="16744" y="18407"/>
                    </a:lnTo>
                    <a:cubicBezTo>
                      <a:pt x="15981" y="19175"/>
                      <a:pt x="16286" y="20301"/>
                      <a:pt x="17380" y="20755"/>
                    </a:cubicBezTo>
                    <a:cubicBezTo>
                      <a:pt x="19416" y="21600"/>
                      <a:pt x="21600" y="19840"/>
                      <a:pt x="20489" y="18250"/>
                    </a:cubicBezTo>
                    <a:lnTo>
                      <a:pt x="20107" y="16159"/>
                    </a:lnTo>
                    <a:lnTo>
                      <a:pt x="21180" y="14263"/>
                    </a:lnTo>
                    <a:lnTo>
                      <a:pt x="20099" y="10999"/>
                    </a:lnTo>
                    <a:lnTo>
                      <a:pt x="19153" y="8035"/>
                    </a:lnTo>
                    <a:lnTo>
                      <a:pt x="18580" y="6177"/>
                    </a:lnTo>
                    <a:cubicBezTo>
                      <a:pt x="18217" y="5416"/>
                      <a:pt x="17705" y="4704"/>
                      <a:pt x="17062" y="4068"/>
                    </a:cubicBezTo>
                    <a:cubicBezTo>
                      <a:pt x="16337" y="3351"/>
                      <a:pt x="15456" y="2741"/>
                      <a:pt x="14461" y="2266"/>
                    </a:cubicBezTo>
                    <a:lnTo>
                      <a:pt x="10266" y="844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381" name="iSliḓè">
                <a:extLst>
                  <a:ext uri="{FF2B5EF4-FFF2-40B4-BE49-F238E27FC236}">
                    <a16:creationId xmlns:a16="http://schemas.microsoft.com/office/drawing/2014/main" id="{879A0CC8-86B0-438E-8261-3D8AF0C592E0}"/>
                  </a:ext>
                </a:extLst>
              </p:cNvPr>
              <p:cNvSpPr/>
              <p:nvPr/>
            </p:nvSpPr>
            <p:spPr>
              <a:xfrm>
                <a:off x="6723618" y="4095885"/>
                <a:ext cx="23685" cy="1144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7776" y="999"/>
                    </a:moveTo>
                    <a:lnTo>
                      <a:pt x="16031" y="2988"/>
                    </a:lnTo>
                    <a:lnTo>
                      <a:pt x="21600" y="17424"/>
                    </a:lnTo>
                    <a:lnTo>
                      <a:pt x="13178" y="21600"/>
                    </a:lnTo>
                    <a:lnTo>
                      <a:pt x="5321" y="12716"/>
                    </a:lnTo>
                    <a:lnTo>
                      <a:pt x="0" y="0"/>
                    </a:lnTo>
                    <a:lnTo>
                      <a:pt x="7776" y="999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382" name="îṧḻíďe">
                <a:extLst>
                  <a:ext uri="{FF2B5EF4-FFF2-40B4-BE49-F238E27FC236}">
                    <a16:creationId xmlns:a16="http://schemas.microsoft.com/office/drawing/2014/main" id="{6F62BBF2-B963-4EFF-93D2-F62D902DE0BF}"/>
                  </a:ext>
                </a:extLst>
              </p:cNvPr>
              <p:cNvSpPr/>
              <p:nvPr/>
            </p:nvSpPr>
            <p:spPr>
              <a:xfrm>
                <a:off x="6698622" y="4124214"/>
                <a:ext cx="27599" cy="1810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4898" y="0"/>
                    </a:moveTo>
                    <a:lnTo>
                      <a:pt x="10252" y="4850"/>
                    </a:lnTo>
                    <a:lnTo>
                      <a:pt x="21600" y="13527"/>
                    </a:lnTo>
                    <a:lnTo>
                      <a:pt x="17432" y="21600"/>
                    </a:lnTo>
                    <a:lnTo>
                      <a:pt x="12804" y="18684"/>
                    </a:lnTo>
                    <a:lnTo>
                      <a:pt x="7529" y="18684"/>
                    </a:lnTo>
                    <a:lnTo>
                      <a:pt x="3200" y="14264"/>
                    </a:lnTo>
                    <a:lnTo>
                      <a:pt x="0" y="6164"/>
                    </a:lnTo>
                    <a:lnTo>
                      <a:pt x="4898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383" name="îśļïḋe">
                <a:extLst>
                  <a:ext uri="{FF2B5EF4-FFF2-40B4-BE49-F238E27FC236}">
                    <a16:creationId xmlns:a16="http://schemas.microsoft.com/office/drawing/2014/main" id="{5DECB25D-DA2E-4F38-B99A-34E3D7D98767}"/>
                  </a:ext>
                </a:extLst>
              </p:cNvPr>
              <p:cNvSpPr/>
              <p:nvPr/>
            </p:nvSpPr>
            <p:spPr>
              <a:xfrm>
                <a:off x="6705390" y="3951616"/>
                <a:ext cx="26221" cy="1482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2543" y="10415"/>
                    </a:lnTo>
                    <a:lnTo>
                      <a:pt x="11409" y="21600"/>
                    </a:lnTo>
                    <a:lnTo>
                      <a:pt x="21600" y="19952"/>
                    </a:lnTo>
                    <a:lnTo>
                      <a:pt x="14185" y="6837"/>
                    </a:lnTo>
                    <a:lnTo>
                      <a:pt x="7404" y="20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384" name="işľídé">
                <a:extLst>
                  <a:ext uri="{FF2B5EF4-FFF2-40B4-BE49-F238E27FC236}">
                    <a16:creationId xmlns:a16="http://schemas.microsoft.com/office/drawing/2014/main" id="{B9C4C7AD-7DDA-4804-9AB7-4840E914A1AE}"/>
                  </a:ext>
                </a:extLst>
              </p:cNvPr>
              <p:cNvSpPr/>
              <p:nvPr/>
            </p:nvSpPr>
            <p:spPr>
              <a:xfrm>
                <a:off x="6528349" y="4076990"/>
                <a:ext cx="14725" cy="127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17239" y="6531"/>
                    </a:lnTo>
                    <a:lnTo>
                      <a:pt x="21600" y="21600"/>
                    </a:lnTo>
                    <a:lnTo>
                      <a:pt x="7563" y="1741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385" name="iṡliďé">
                <a:extLst>
                  <a:ext uri="{FF2B5EF4-FFF2-40B4-BE49-F238E27FC236}">
                    <a16:creationId xmlns:a16="http://schemas.microsoft.com/office/drawing/2014/main" id="{9BF4ED38-C0B9-4929-89D6-29B32DB7053F}"/>
                  </a:ext>
                </a:extLst>
              </p:cNvPr>
              <p:cNvSpPr/>
              <p:nvPr/>
            </p:nvSpPr>
            <p:spPr>
              <a:xfrm>
                <a:off x="6292660" y="3938976"/>
                <a:ext cx="103062" cy="5156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449" y="2836"/>
                    </a:moveTo>
                    <a:lnTo>
                      <a:pt x="4638" y="3611"/>
                    </a:lnTo>
                    <a:lnTo>
                      <a:pt x="7047" y="6139"/>
                    </a:lnTo>
                    <a:lnTo>
                      <a:pt x="8502" y="8873"/>
                    </a:lnTo>
                    <a:lnTo>
                      <a:pt x="9483" y="6470"/>
                    </a:lnTo>
                    <a:lnTo>
                      <a:pt x="10000" y="2333"/>
                    </a:lnTo>
                    <a:lnTo>
                      <a:pt x="11639" y="0"/>
                    </a:lnTo>
                    <a:lnTo>
                      <a:pt x="14954" y="71"/>
                    </a:lnTo>
                    <a:lnTo>
                      <a:pt x="16717" y="3714"/>
                    </a:lnTo>
                    <a:lnTo>
                      <a:pt x="13709" y="4575"/>
                    </a:lnTo>
                    <a:lnTo>
                      <a:pt x="14825" y="6806"/>
                    </a:lnTo>
                    <a:lnTo>
                      <a:pt x="12296" y="8099"/>
                    </a:lnTo>
                    <a:lnTo>
                      <a:pt x="14021" y="10405"/>
                    </a:lnTo>
                    <a:lnTo>
                      <a:pt x="17207" y="9123"/>
                    </a:lnTo>
                    <a:lnTo>
                      <a:pt x="20312" y="7571"/>
                    </a:lnTo>
                    <a:lnTo>
                      <a:pt x="21600" y="9619"/>
                    </a:lnTo>
                    <a:lnTo>
                      <a:pt x="19837" y="11925"/>
                    </a:lnTo>
                    <a:lnTo>
                      <a:pt x="18295" y="13368"/>
                    </a:lnTo>
                    <a:lnTo>
                      <a:pt x="16624" y="14995"/>
                    </a:lnTo>
                    <a:lnTo>
                      <a:pt x="14043" y="15685"/>
                    </a:lnTo>
                    <a:lnTo>
                      <a:pt x="14905" y="18864"/>
                    </a:lnTo>
                    <a:lnTo>
                      <a:pt x="11886" y="20576"/>
                    </a:lnTo>
                    <a:lnTo>
                      <a:pt x="10216" y="21600"/>
                    </a:lnTo>
                    <a:lnTo>
                      <a:pt x="7973" y="21600"/>
                    </a:lnTo>
                    <a:lnTo>
                      <a:pt x="7251" y="16612"/>
                    </a:lnTo>
                    <a:lnTo>
                      <a:pt x="5245" y="15750"/>
                    </a:lnTo>
                    <a:lnTo>
                      <a:pt x="4232" y="13261"/>
                    </a:lnTo>
                    <a:lnTo>
                      <a:pt x="1267" y="14036"/>
                    </a:lnTo>
                    <a:lnTo>
                      <a:pt x="1135" y="11473"/>
                    </a:lnTo>
                    <a:lnTo>
                      <a:pt x="1577" y="9156"/>
                    </a:lnTo>
                    <a:lnTo>
                      <a:pt x="171" y="8391"/>
                    </a:lnTo>
                    <a:lnTo>
                      <a:pt x="0" y="5470"/>
                    </a:lnTo>
                    <a:lnTo>
                      <a:pt x="2449" y="2836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386" name="íšḷiḋê">
                <a:extLst>
                  <a:ext uri="{FF2B5EF4-FFF2-40B4-BE49-F238E27FC236}">
                    <a16:creationId xmlns:a16="http://schemas.microsoft.com/office/drawing/2014/main" id="{72B5E7F2-70D0-4814-A907-5A9108164050}"/>
                  </a:ext>
                </a:extLst>
              </p:cNvPr>
              <p:cNvSpPr/>
              <p:nvPr/>
            </p:nvSpPr>
            <p:spPr>
              <a:xfrm>
                <a:off x="6172520" y="3890608"/>
                <a:ext cx="72659" cy="28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8108" y="1841"/>
                    </a:moveTo>
                    <a:lnTo>
                      <a:pt x="11219" y="0"/>
                    </a:lnTo>
                    <a:lnTo>
                      <a:pt x="12693" y="2920"/>
                    </a:lnTo>
                    <a:lnTo>
                      <a:pt x="15002" y="7025"/>
                    </a:lnTo>
                    <a:lnTo>
                      <a:pt x="17984" y="6564"/>
                    </a:lnTo>
                    <a:lnTo>
                      <a:pt x="20370" y="7178"/>
                    </a:lnTo>
                    <a:lnTo>
                      <a:pt x="21592" y="11781"/>
                    </a:lnTo>
                    <a:lnTo>
                      <a:pt x="20377" y="16536"/>
                    </a:lnTo>
                    <a:lnTo>
                      <a:pt x="21600" y="20967"/>
                    </a:lnTo>
                    <a:lnTo>
                      <a:pt x="18320" y="21600"/>
                    </a:lnTo>
                    <a:lnTo>
                      <a:pt x="15874" y="18991"/>
                    </a:lnTo>
                    <a:lnTo>
                      <a:pt x="13304" y="18531"/>
                    </a:lnTo>
                    <a:lnTo>
                      <a:pt x="13366" y="13775"/>
                    </a:lnTo>
                    <a:lnTo>
                      <a:pt x="10805" y="13793"/>
                    </a:lnTo>
                    <a:lnTo>
                      <a:pt x="9589" y="17629"/>
                    </a:lnTo>
                    <a:lnTo>
                      <a:pt x="7203" y="17936"/>
                    </a:lnTo>
                    <a:lnTo>
                      <a:pt x="4443" y="20698"/>
                    </a:lnTo>
                    <a:lnTo>
                      <a:pt x="4471" y="15980"/>
                    </a:lnTo>
                    <a:lnTo>
                      <a:pt x="5077" y="11088"/>
                    </a:lnTo>
                    <a:lnTo>
                      <a:pt x="0" y="11088"/>
                    </a:lnTo>
                    <a:lnTo>
                      <a:pt x="1197" y="3322"/>
                    </a:lnTo>
                    <a:lnTo>
                      <a:pt x="3832" y="1039"/>
                    </a:lnTo>
                    <a:lnTo>
                      <a:pt x="5591" y="6390"/>
                    </a:lnTo>
                    <a:lnTo>
                      <a:pt x="8108" y="1841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387" name="îṧľidê">
                <a:extLst>
                  <a:ext uri="{FF2B5EF4-FFF2-40B4-BE49-F238E27FC236}">
                    <a16:creationId xmlns:a16="http://schemas.microsoft.com/office/drawing/2014/main" id="{5979DC00-AD73-4DDB-B200-AD3397FC504F}"/>
                  </a:ext>
                </a:extLst>
              </p:cNvPr>
              <p:cNvSpPr/>
              <p:nvPr/>
            </p:nvSpPr>
            <p:spPr>
              <a:xfrm>
                <a:off x="6013040" y="3861342"/>
                <a:ext cx="71798" cy="3891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98" y="3226"/>
                    </a:moveTo>
                    <a:lnTo>
                      <a:pt x="13655" y="5410"/>
                    </a:lnTo>
                    <a:lnTo>
                      <a:pt x="16478" y="8622"/>
                    </a:lnTo>
                    <a:lnTo>
                      <a:pt x="18327" y="5996"/>
                    </a:lnTo>
                    <a:lnTo>
                      <a:pt x="20857" y="7022"/>
                    </a:lnTo>
                    <a:lnTo>
                      <a:pt x="21600" y="12391"/>
                    </a:lnTo>
                    <a:lnTo>
                      <a:pt x="18938" y="14662"/>
                    </a:lnTo>
                    <a:lnTo>
                      <a:pt x="19124" y="19672"/>
                    </a:lnTo>
                    <a:lnTo>
                      <a:pt x="16540" y="21600"/>
                    </a:lnTo>
                    <a:lnTo>
                      <a:pt x="14133" y="19544"/>
                    </a:lnTo>
                    <a:lnTo>
                      <a:pt x="12834" y="16474"/>
                    </a:lnTo>
                    <a:lnTo>
                      <a:pt x="11162" y="13734"/>
                    </a:lnTo>
                    <a:lnTo>
                      <a:pt x="8028" y="8479"/>
                    </a:lnTo>
                    <a:lnTo>
                      <a:pt x="6001" y="11749"/>
                    </a:lnTo>
                    <a:lnTo>
                      <a:pt x="2356" y="11749"/>
                    </a:lnTo>
                    <a:lnTo>
                      <a:pt x="262" y="8665"/>
                    </a:lnTo>
                    <a:lnTo>
                      <a:pt x="0" y="4897"/>
                    </a:lnTo>
                    <a:lnTo>
                      <a:pt x="4482" y="2384"/>
                    </a:lnTo>
                    <a:lnTo>
                      <a:pt x="5906" y="0"/>
                    </a:lnTo>
                    <a:lnTo>
                      <a:pt x="8629" y="878"/>
                    </a:lnTo>
                    <a:lnTo>
                      <a:pt x="9527" y="5373"/>
                    </a:lnTo>
                    <a:lnTo>
                      <a:pt x="11598" y="3226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388" name="îšliďê">
                <a:extLst>
                  <a:ext uri="{FF2B5EF4-FFF2-40B4-BE49-F238E27FC236}">
                    <a16:creationId xmlns:a16="http://schemas.microsoft.com/office/drawing/2014/main" id="{84F723E3-9BD9-406F-BC53-5832CAD304F5}"/>
                  </a:ext>
                </a:extLst>
              </p:cNvPr>
              <p:cNvSpPr/>
              <p:nvPr/>
            </p:nvSpPr>
            <p:spPr>
              <a:xfrm>
                <a:off x="5818457" y="3915119"/>
                <a:ext cx="39082" cy="2899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237" y="0"/>
                    </a:moveTo>
                    <a:lnTo>
                      <a:pt x="10984" y="172"/>
                    </a:lnTo>
                    <a:lnTo>
                      <a:pt x="3381" y="1772"/>
                    </a:lnTo>
                    <a:lnTo>
                      <a:pt x="4897" y="8630"/>
                    </a:lnTo>
                    <a:lnTo>
                      <a:pt x="1644" y="12271"/>
                    </a:lnTo>
                    <a:lnTo>
                      <a:pt x="0" y="18536"/>
                    </a:lnTo>
                    <a:lnTo>
                      <a:pt x="4912" y="21600"/>
                    </a:lnTo>
                    <a:lnTo>
                      <a:pt x="10939" y="17022"/>
                    </a:lnTo>
                    <a:lnTo>
                      <a:pt x="16851" y="13650"/>
                    </a:lnTo>
                    <a:lnTo>
                      <a:pt x="21600" y="7998"/>
                    </a:lnTo>
                    <a:lnTo>
                      <a:pt x="20237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389" name="î$ḻîḓê">
                <a:extLst>
                  <a:ext uri="{FF2B5EF4-FFF2-40B4-BE49-F238E27FC236}">
                    <a16:creationId xmlns:a16="http://schemas.microsoft.com/office/drawing/2014/main" id="{AADC2EE9-254D-4697-A142-A3BE298DD391}"/>
                  </a:ext>
                </a:extLst>
              </p:cNvPr>
              <p:cNvSpPr/>
              <p:nvPr/>
            </p:nvSpPr>
            <p:spPr>
              <a:xfrm>
                <a:off x="5799159" y="3948326"/>
                <a:ext cx="27932" cy="1435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682" y="304"/>
                    </a:moveTo>
                    <a:lnTo>
                      <a:pt x="3918" y="3868"/>
                    </a:lnTo>
                    <a:lnTo>
                      <a:pt x="0" y="9563"/>
                    </a:lnTo>
                    <a:lnTo>
                      <a:pt x="1470" y="18816"/>
                    </a:lnTo>
                    <a:lnTo>
                      <a:pt x="6166" y="21600"/>
                    </a:lnTo>
                    <a:lnTo>
                      <a:pt x="14598" y="13241"/>
                    </a:lnTo>
                    <a:lnTo>
                      <a:pt x="21600" y="7047"/>
                    </a:lnTo>
                    <a:lnTo>
                      <a:pt x="18557" y="0"/>
                    </a:lnTo>
                    <a:lnTo>
                      <a:pt x="10682" y="304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390" name="íŝḻîďè">
                <a:extLst>
                  <a:ext uri="{FF2B5EF4-FFF2-40B4-BE49-F238E27FC236}">
                    <a16:creationId xmlns:a16="http://schemas.microsoft.com/office/drawing/2014/main" id="{1F6EE9B6-452A-4806-AB4A-B31BC5127350}"/>
                  </a:ext>
                </a:extLst>
              </p:cNvPr>
              <p:cNvSpPr/>
              <p:nvPr/>
            </p:nvSpPr>
            <p:spPr>
              <a:xfrm>
                <a:off x="5790172" y="3917433"/>
                <a:ext cx="28405" cy="1871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9436" y="0"/>
                    </a:moveTo>
                    <a:lnTo>
                      <a:pt x="5445" y="6706"/>
                    </a:lnTo>
                    <a:lnTo>
                      <a:pt x="0" y="13317"/>
                    </a:lnTo>
                    <a:lnTo>
                      <a:pt x="1676" y="21600"/>
                    </a:lnTo>
                    <a:lnTo>
                      <a:pt x="9416" y="19225"/>
                    </a:lnTo>
                    <a:lnTo>
                      <a:pt x="16925" y="15663"/>
                    </a:lnTo>
                    <a:lnTo>
                      <a:pt x="21600" y="6401"/>
                    </a:lnTo>
                    <a:lnTo>
                      <a:pt x="14597" y="5005"/>
                    </a:lnTo>
                    <a:lnTo>
                      <a:pt x="9436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391" name="iṥḻíďe">
                <a:extLst>
                  <a:ext uri="{FF2B5EF4-FFF2-40B4-BE49-F238E27FC236}">
                    <a16:creationId xmlns:a16="http://schemas.microsoft.com/office/drawing/2014/main" id="{DA24B6AD-4630-4D66-96AD-CD87B102D47C}"/>
                  </a:ext>
                </a:extLst>
              </p:cNvPr>
              <p:cNvSpPr/>
              <p:nvPr/>
            </p:nvSpPr>
            <p:spPr>
              <a:xfrm>
                <a:off x="6113683" y="3821763"/>
                <a:ext cx="10659" cy="1788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188" y="0"/>
                    </a:moveTo>
                    <a:lnTo>
                      <a:pt x="0" y="11338"/>
                    </a:lnTo>
                    <a:lnTo>
                      <a:pt x="14062" y="21600"/>
                    </a:lnTo>
                    <a:lnTo>
                      <a:pt x="21600" y="10385"/>
                    </a:lnTo>
                    <a:lnTo>
                      <a:pt x="6188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392" name="íṩ1ïḋè">
                <a:extLst>
                  <a:ext uri="{FF2B5EF4-FFF2-40B4-BE49-F238E27FC236}">
                    <a16:creationId xmlns:a16="http://schemas.microsoft.com/office/drawing/2014/main" id="{ABC37920-6E2C-41E9-AA68-1278A9B99EA3}"/>
                  </a:ext>
                </a:extLst>
              </p:cNvPr>
              <p:cNvSpPr/>
              <p:nvPr/>
            </p:nvSpPr>
            <p:spPr>
              <a:xfrm>
                <a:off x="5686595" y="4095209"/>
                <a:ext cx="26045" cy="2332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290" y="2206"/>
                    </a:moveTo>
                    <a:lnTo>
                      <a:pt x="21600" y="7730"/>
                    </a:lnTo>
                    <a:lnTo>
                      <a:pt x="19740" y="16457"/>
                    </a:lnTo>
                    <a:lnTo>
                      <a:pt x="13790" y="21600"/>
                    </a:lnTo>
                    <a:lnTo>
                      <a:pt x="2574" y="13289"/>
                    </a:lnTo>
                    <a:lnTo>
                      <a:pt x="0" y="4928"/>
                    </a:lnTo>
                    <a:lnTo>
                      <a:pt x="11167" y="0"/>
                    </a:lnTo>
                    <a:lnTo>
                      <a:pt x="16290" y="2206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393" name="îSḻíďe">
                <a:extLst>
                  <a:ext uri="{FF2B5EF4-FFF2-40B4-BE49-F238E27FC236}">
                    <a16:creationId xmlns:a16="http://schemas.microsoft.com/office/drawing/2014/main" id="{51A2EA31-6077-42B7-9FD2-8C9826245794}"/>
                  </a:ext>
                </a:extLst>
              </p:cNvPr>
              <p:cNvSpPr/>
              <p:nvPr/>
            </p:nvSpPr>
            <p:spPr>
              <a:xfrm>
                <a:off x="6066155" y="4043992"/>
                <a:ext cx="565065" cy="39179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455" y="4385"/>
                    </a:moveTo>
                    <a:lnTo>
                      <a:pt x="4472" y="4411"/>
                    </a:lnTo>
                    <a:lnTo>
                      <a:pt x="3992" y="4496"/>
                    </a:lnTo>
                    <a:lnTo>
                      <a:pt x="3545" y="5108"/>
                    </a:lnTo>
                    <a:lnTo>
                      <a:pt x="3512" y="5585"/>
                    </a:lnTo>
                    <a:lnTo>
                      <a:pt x="3157" y="5595"/>
                    </a:lnTo>
                    <a:lnTo>
                      <a:pt x="2556" y="6377"/>
                    </a:lnTo>
                    <a:lnTo>
                      <a:pt x="2234" y="6807"/>
                    </a:lnTo>
                    <a:lnTo>
                      <a:pt x="1976" y="7544"/>
                    </a:lnTo>
                    <a:lnTo>
                      <a:pt x="1979" y="8270"/>
                    </a:lnTo>
                    <a:lnTo>
                      <a:pt x="2073" y="9040"/>
                    </a:lnTo>
                    <a:lnTo>
                      <a:pt x="2292" y="9198"/>
                    </a:lnTo>
                    <a:lnTo>
                      <a:pt x="2425" y="9685"/>
                    </a:lnTo>
                    <a:lnTo>
                      <a:pt x="2606" y="9969"/>
                    </a:lnTo>
                    <a:lnTo>
                      <a:pt x="2809" y="10262"/>
                    </a:lnTo>
                    <a:lnTo>
                      <a:pt x="3224" y="10329"/>
                    </a:lnTo>
                    <a:lnTo>
                      <a:pt x="3452" y="10228"/>
                    </a:lnTo>
                    <a:lnTo>
                      <a:pt x="3771" y="10238"/>
                    </a:lnTo>
                    <a:lnTo>
                      <a:pt x="3582" y="10771"/>
                    </a:lnTo>
                    <a:lnTo>
                      <a:pt x="3207" y="11483"/>
                    </a:lnTo>
                    <a:lnTo>
                      <a:pt x="2791" y="11619"/>
                    </a:lnTo>
                    <a:lnTo>
                      <a:pt x="2240" y="11381"/>
                    </a:lnTo>
                    <a:lnTo>
                      <a:pt x="2697" y="10963"/>
                    </a:lnTo>
                    <a:lnTo>
                      <a:pt x="2556" y="10498"/>
                    </a:lnTo>
                    <a:lnTo>
                      <a:pt x="2242" y="9919"/>
                    </a:lnTo>
                    <a:lnTo>
                      <a:pt x="1724" y="9488"/>
                    </a:lnTo>
                    <a:lnTo>
                      <a:pt x="1531" y="10112"/>
                    </a:lnTo>
                    <a:lnTo>
                      <a:pt x="1700" y="10382"/>
                    </a:lnTo>
                    <a:lnTo>
                      <a:pt x="1928" y="10847"/>
                    </a:lnTo>
                    <a:lnTo>
                      <a:pt x="1834" y="11334"/>
                    </a:lnTo>
                    <a:lnTo>
                      <a:pt x="1810" y="11911"/>
                    </a:lnTo>
                    <a:lnTo>
                      <a:pt x="2068" y="12114"/>
                    </a:lnTo>
                    <a:lnTo>
                      <a:pt x="2178" y="12510"/>
                    </a:lnTo>
                    <a:lnTo>
                      <a:pt x="1991" y="12734"/>
                    </a:lnTo>
                    <a:lnTo>
                      <a:pt x="1669" y="12768"/>
                    </a:lnTo>
                    <a:lnTo>
                      <a:pt x="1551" y="11629"/>
                    </a:lnTo>
                    <a:lnTo>
                      <a:pt x="1105" y="11495"/>
                    </a:lnTo>
                    <a:lnTo>
                      <a:pt x="863" y="11833"/>
                    </a:lnTo>
                    <a:lnTo>
                      <a:pt x="428" y="11809"/>
                    </a:lnTo>
                    <a:lnTo>
                      <a:pt x="444" y="10906"/>
                    </a:lnTo>
                    <a:lnTo>
                      <a:pt x="314" y="10373"/>
                    </a:lnTo>
                    <a:lnTo>
                      <a:pt x="23" y="10305"/>
                    </a:lnTo>
                    <a:lnTo>
                      <a:pt x="84" y="11072"/>
                    </a:lnTo>
                    <a:lnTo>
                      <a:pt x="164" y="11604"/>
                    </a:lnTo>
                    <a:lnTo>
                      <a:pt x="188" y="12215"/>
                    </a:lnTo>
                    <a:lnTo>
                      <a:pt x="141" y="12778"/>
                    </a:lnTo>
                    <a:lnTo>
                      <a:pt x="47" y="13175"/>
                    </a:lnTo>
                    <a:lnTo>
                      <a:pt x="0" y="13515"/>
                    </a:lnTo>
                    <a:lnTo>
                      <a:pt x="306" y="13651"/>
                    </a:lnTo>
                    <a:lnTo>
                      <a:pt x="391" y="13076"/>
                    </a:lnTo>
                    <a:lnTo>
                      <a:pt x="769" y="12861"/>
                    </a:lnTo>
                    <a:lnTo>
                      <a:pt x="957" y="13382"/>
                    </a:lnTo>
                    <a:lnTo>
                      <a:pt x="1333" y="13775"/>
                    </a:lnTo>
                    <a:lnTo>
                      <a:pt x="1585" y="13911"/>
                    </a:lnTo>
                    <a:lnTo>
                      <a:pt x="1741" y="13505"/>
                    </a:lnTo>
                    <a:lnTo>
                      <a:pt x="2013" y="13958"/>
                    </a:lnTo>
                    <a:lnTo>
                      <a:pt x="2516" y="14058"/>
                    </a:lnTo>
                    <a:lnTo>
                      <a:pt x="2696" y="13494"/>
                    </a:lnTo>
                    <a:lnTo>
                      <a:pt x="2485" y="12861"/>
                    </a:lnTo>
                    <a:lnTo>
                      <a:pt x="2422" y="12432"/>
                    </a:lnTo>
                    <a:lnTo>
                      <a:pt x="2822" y="12308"/>
                    </a:lnTo>
                    <a:lnTo>
                      <a:pt x="2893" y="12818"/>
                    </a:lnTo>
                    <a:cubicBezTo>
                      <a:pt x="2695" y="13095"/>
                      <a:pt x="2706" y="13557"/>
                      <a:pt x="2917" y="13814"/>
                    </a:cubicBezTo>
                    <a:cubicBezTo>
                      <a:pt x="3063" y="13993"/>
                      <a:pt x="3272" y="14016"/>
                      <a:pt x="3435" y="13871"/>
                    </a:cubicBezTo>
                    <a:lnTo>
                      <a:pt x="3898" y="13905"/>
                    </a:lnTo>
                    <a:lnTo>
                      <a:pt x="4157" y="14041"/>
                    </a:lnTo>
                    <a:cubicBezTo>
                      <a:pt x="4345" y="14008"/>
                      <a:pt x="4534" y="13981"/>
                      <a:pt x="4723" y="13962"/>
                    </a:cubicBezTo>
                    <a:cubicBezTo>
                      <a:pt x="4883" y="13945"/>
                      <a:pt x="5042" y="13934"/>
                      <a:pt x="5203" y="13928"/>
                    </a:cubicBezTo>
                    <a:lnTo>
                      <a:pt x="5493" y="13803"/>
                    </a:lnTo>
                    <a:lnTo>
                      <a:pt x="5752" y="13248"/>
                    </a:lnTo>
                    <a:lnTo>
                      <a:pt x="5587" y="12216"/>
                    </a:lnTo>
                    <a:lnTo>
                      <a:pt x="5218" y="12250"/>
                    </a:lnTo>
                    <a:cubicBezTo>
                      <a:pt x="5045" y="12150"/>
                      <a:pt x="4851" y="12150"/>
                      <a:pt x="4678" y="12250"/>
                    </a:cubicBezTo>
                    <a:cubicBezTo>
                      <a:pt x="4514" y="12345"/>
                      <a:pt x="4380" y="12522"/>
                      <a:pt x="4301" y="12748"/>
                    </a:cubicBezTo>
                    <a:lnTo>
                      <a:pt x="3971" y="12816"/>
                    </a:lnTo>
                    <a:lnTo>
                      <a:pt x="3492" y="12681"/>
                    </a:lnTo>
                    <a:lnTo>
                      <a:pt x="3516" y="12216"/>
                    </a:lnTo>
                    <a:lnTo>
                      <a:pt x="3830" y="12092"/>
                    </a:lnTo>
                    <a:lnTo>
                      <a:pt x="4190" y="12126"/>
                    </a:lnTo>
                    <a:lnTo>
                      <a:pt x="4612" y="11921"/>
                    </a:lnTo>
                    <a:lnTo>
                      <a:pt x="5130" y="11548"/>
                    </a:lnTo>
                    <a:lnTo>
                      <a:pt x="5538" y="11719"/>
                    </a:lnTo>
                    <a:lnTo>
                      <a:pt x="5781" y="11347"/>
                    </a:lnTo>
                    <a:lnTo>
                      <a:pt x="5757" y="10950"/>
                    </a:lnTo>
                    <a:lnTo>
                      <a:pt x="5474" y="10520"/>
                    </a:lnTo>
                    <a:lnTo>
                      <a:pt x="5545" y="10078"/>
                    </a:lnTo>
                    <a:lnTo>
                      <a:pt x="5686" y="9569"/>
                    </a:lnTo>
                    <a:lnTo>
                      <a:pt x="5773" y="9070"/>
                    </a:lnTo>
                    <a:lnTo>
                      <a:pt x="5639" y="8469"/>
                    </a:lnTo>
                    <a:lnTo>
                      <a:pt x="5835" y="7692"/>
                    </a:lnTo>
                    <a:lnTo>
                      <a:pt x="5874" y="7125"/>
                    </a:lnTo>
                    <a:lnTo>
                      <a:pt x="5898" y="6467"/>
                    </a:lnTo>
                    <a:lnTo>
                      <a:pt x="6055" y="6094"/>
                    </a:lnTo>
                    <a:lnTo>
                      <a:pt x="6243" y="7171"/>
                    </a:lnTo>
                    <a:lnTo>
                      <a:pt x="6627" y="7205"/>
                    </a:lnTo>
                    <a:lnTo>
                      <a:pt x="6769" y="7534"/>
                    </a:lnTo>
                    <a:lnTo>
                      <a:pt x="6446" y="7941"/>
                    </a:lnTo>
                    <a:lnTo>
                      <a:pt x="6360" y="8406"/>
                    </a:lnTo>
                    <a:lnTo>
                      <a:pt x="6061" y="9324"/>
                    </a:lnTo>
                    <a:lnTo>
                      <a:pt x="6454" y="9494"/>
                    </a:lnTo>
                    <a:lnTo>
                      <a:pt x="6501" y="9845"/>
                    </a:lnTo>
                    <a:lnTo>
                      <a:pt x="6643" y="10262"/>
                    </a:lnTo>
                    <a:lnTo>
                      <a:pt x="6869" y="10431"/>
                    </a:lnTo>
                    <a:lnTo>
                      <a:pt x="7199" y="10805"/>
                    </a:lnTo>
                    <a:cubicBezTo>
                      <a:pt x="7319" y="10894"/>
                      <a:pt x="7445" y="10962"/>
                      <a:pt x="7576" y="11008"/>
                    </a:cubicBezTo>
                    <a:cubicBezTo>
                      <a:pt x="7740" y="11066"/>
                      <a:pt x="7910" y="11089"/>
                      <a:pt x="8079" y="11076"/>
                    </a:cubicBezTo>
                    <a:cubicBezTo>
                      <a:pt x="8180" y="10950"/>
                      <a:pt x="8282" y="10826"/>
                      <a:pt x="8385" y="10703"/>
                    </a:cubicBezTo>
                    <a:cubicBezTo>
                      <a:pt x="8537" y="10522"/>
                      <a:pt x="8692" y="10344"/>
                      <a:pt x="8848" y="10170"/>
                    </a:cubicBezTo>
                    <a:cubicBezTo>
                      <a:pt x="9056" y="10000"/>
                      <a:pt x="9309" y="9987"/>
                      <a:pt x="9524" y="10136"/>
                    </a:cubicBezTo>
                    <a:cubicBezTo>
                      <a:pt x="9653" y="10225"/>
                      <a:pt x="9759" y="10367"/>
                      <a:pt x="9831" y="10545"/>
                    </a:cubicBezTo>
                    <a:lnTo>
                      <a:pt x="10562" y="11156"/>
                    </a:lnTo>
                    <a:lnTo>
                      <a:pt x="10939" y="11575"/>
                    </a:lnTo>
                    <a:lnTo>
                      <a:pt x="11173" y="11869"/>
                    </a:lnTo>
                    <a:lnTo>
                      <a:pt x="11668" y="12527"/>
                    </a:lnTo>
                    <a:lnTo>
                      <a:pt x="11809" y="12866"/>
                    </a:lnTo>
                    <a:lnTo>
                      <a:pt x="12130" y="13385"/>
                    </a:lnTo>
                    <a:lnTo>
                      <a:pt x="12743" y="13521"/>
                    </a:lnTo>
                    <a:lnTo>
                      <a:pt x="12789" y="12670"/>
                    </a:lnTo>
                    <a:lnTo>
                      <a:pt x="12976" y="13124"/>
                    </a:lnTo>
                    <a:lnTo>
                      <a:pt x="13300" y="13380"/>
                    </a:lnTo>
                    <a:lnTo>
                      <a:pt x="13091" y="13707"/>
                    </a:lnTo>
                    <a:lnTo>
                      <a:pt x="13529" y="14077"/>
                    </a:lnTo>
                    <a:lnTo>
                      <a:pt x="14080" y="14236"/>
                    </a:lnTo>
                    <a:lnTo>
                      <a:pt x="14692" y="14678"/>
                    </a:lnTo>
                    <a:lnTo>
                      <a:pt x="14967" y="15064"/>
                    </a:lnTo>
                    <a:lnTo>
                      <a:pt x="14742" y="15356"/>
                    </a:lnTo>
                    <a:cubicBezTo>
                      <a:pt x="14636" y="15162"/>
                      <a:pt x="14437" y="15146"/>
                      <a:pt x="14318" y="15322"/>
                    </a:cubicBezTo>
                    <a:cubicBezTo>
                      <a:pt x="14192" y="15507"/>
                      <a:pt x="14214" y="15805"/>
                      <a:pt x="14334" y="16014"/>
                    </a:cubicBezTo>
                    <a:cubicBezTo>
                      <a:pt x="14459" y="16233"/>
                      <a:pt x="14659" y="16317"/>
                      <a:pt x="14821" y="16477"/>
                    </a:cubicBezTo>
                    <a:cubicBezTo>
                      <a:pt x="14992" y="16646"/>
                      <a:pt x="15117" y="16894"/>
                      <a:pt x="15175" y="17180"/>
                    </a:cubicBezTo>
                    <a:lnTo>
                      <a:pt x="15545" y="17848"/>
                    </a:lnTo>
                    <a:lnTo>
                      <a:pt x="16056" y="18257"/>
                    </a:lnTo>
                    <a:lnTo>
                      <a:pt x="16488" y="18620"/>
                    </a:lnTo>
                    <a:lnTo>
                      <a:pt x="17344" y="19017"/>
                    </a:lnTo>
                    <a:lnTo>
                      <a:pt x="17565" y="19686"/>
                    </a:lnTo>
                    <a:lnTo>
                      <a:pt x="17776" y="19924"/>
                    </a:lnTo>
                    <a:cubicBezTo>
                      <a:pt x="17877" y="19983"/>
                      <a:pt x="17976" y="20047"/>
                      <a:pt x="18073" y="20116"/>
                    </a:cubicBezTo>
                    <a:cubicBezTo>
                      <a:pt x="18211" y="20212"/>
                      <a:pt x="18344" y="20318"/>
                      <a:pt x="18475" y="20433"/>
                    </a:cubicBezTo>
                    <a:lnTo>
                      <a:pt x="18843" y="20727"/>
                    </a:lnTo>
                    <a:cubicBezTo>
                      <a:pt x="19008" y="20916"/>
                      <a:pt x="19184" y="21083"/>
                      <a:pt x="19370" y="21226"/>
                    </a:cubicBezTo>
                    <a:cubicBezTo>
                      <a:pt x="19573" y="21381"/>
                      <a:pt x="19786" y="21507"/>
                      <a:pt x="20006" y="21600"/>
                    </a:cubicBezTo>
                    <a:lnTo>
                      <a:pt x="20217" y="21329"/>
                    </a:lnTo>
                    <a:cubicBezTo>
                      <a:pt x="20232" y="21155"/>
                      <a:pt x="20310" y="21005"/>
                      <a:pt x="20421" y="20934"/>
                    </a:cubicBezTo>
                    <a:cubicBezTo>
                      <a:pt x="20556" y="20847"/>
                      <a:pt x="20708" y="20895"/>
                      <a:pt x="20853" y="20934"/>
                    </a:cubicBezTo>
                    <a:cubicBezTo>
                      <a:pt x="21009" y="20976"/>
                      <a:pt x="21166" y="21006"/>
                      <a:pt x="21325" y="21024"/>
                    </a:cubicBezTo>
                    <a:lnTo>
                      <a:pt x="21600" y="20832"/>
                    </a:lnTo>
                    <a:lnTo>
                      <a:pt x="21600" y="20196"/>
                    </a:lnTo>
                    <a:lnTo>
                      <a:pt x="21529" y="19901"/>
                    </a:lnTo>
                    <a:lnTo>
                      <a:pt x="21396" y="19494"/>
                    </a:lnTo>
                    <a:lnTo>
                      <a:pt x="21122" y="18883"/>
                    </a:lnTo>
                    <a:lnTo>
                      <a:pt x="20697" y="18284"/>
                    </a:lnTo>
                    <a:lnTo>
                      <a:pt x="20462" y="17843"/>
                    </a:lnTo>
                    <a:lnTo>
                      <a:pt x="20351" y="17105"/>
                    </a:lnTo>
                    <a:lnTo>
                      <a:pt x="20092" y="16188"/>
                    </a:lnTo>
                    <a:lnTo>
                      <a:pt x="19550" y="15781"/>
                    </a:lnTo>
                    <a:lnTo>
                      <a:pt x="19056" y="15102"/>
                    </a:lnTo>
                    <a:lnTo>
                      <a:pt x="19103" y="14614"/>
                    </a:lnTo>
                    <a:lnTo>
                      <a:pt x="19378" y="14082"/>
                    </a:lnTo>
                    <a:lnTo>
                      <a:pt x="19520" y="13539"/>
                    </a:lnTo>
                    <a:lnTo>
                      <a:pt x="19339" y="12845"/>
                    </a:lnTo>
                    <a:lnTo>
                      <a:pt x="19425" y="12302"/>
                    </a:lnTo>
                    <a:cubicBezTo>
                      <a:pt x="19354" y="12106"/>
                      <a:pt x="19267" y="11924"/>
                      <a:pt x="19166" y="11757"/>
                    </a:cubicBezTo>
                    <a:cubicBezTo>
                      <a:pt x="19038" y="11546"/>
                      <a:pt x="18890" y="11362"/>
                      <a:pt x="18725" y="11213"/>
                    </a:cubicBezTo>
                    <a:cubicBezTo>
                      <a:pt x="18709" y="10836"/>
                      <a:pt x="18715" y="10457"/>
                      <a:pt x="18742" y="10081"/>
                    </a:cubicBezTo>
                    <a:cubicBezTo>
                      <a:pt x="18778" y="9593"/>
                      <a:pt x="18850" y="9109"/>
                      <a:pt x="18844" y="8618"/>
                    </a:cubicBezTo>
                    <a:cubicBezTo>
                      <a:pt x="18840" y="8191"/>
                      <a:pt x="18776" y="7766"/>
                      <a:pt x="18632" y="7393"/>
                    </a:cubicBezTo>
                    <a:cubicBezTo>
                      <a:pt x="18466" y="6963"/>
                      <a:pt x="18202" y="6628"/>
                      <a:pt x="17886" y="6443"/>
                    </a:cubicBezTo>
                    <a:lnTo>
                      <a:pt x="17218" y="5830"/>
                    </a:lnTo>
                    <a:lnTo>
                      <a:pt x="17030" y="5628"/>
                    </a:lnTo>
                    <a:lnTo>
                      <a:pt x="16513" y="5379"/>
                    </a:lnTo>
                    <a:lnTo>
                      <a:pt x="16208" y="5209"/>
                    </a:lnTo>
                    <a:lnTo>
                      <a:pt x="15862" y="4869"/>
                    </a:lnTo>
                    <a:lnTo>
                      <a:pt x="15516" y="4632"/>
                    </a:lnTo>
                    <a:lnTo>
                      <a:pt x="15304" y="3986"/>
                    </a:lnTo>
                    <a:lnTo>
                      <a:pt x="14889" y="3727"/>
                    </a:lnTo>
                    <a:lnTo>
                      <a:pt x="14606" y="3168"/>
                    </a:lnTo>
                    <a:lnTo>
                      <a:pt x="14215" y="2823"/>
                    </a:lnTo>
                    <a:lnTo>
                      <a:pt x="13904" y="2916"/>
                    </a:lnTo>
                    <a:lnTo>
                      <a:pt x="14115" y="3368"/>
                    </a:lnTo>
                    <a:lnTo>
                      <a:pt x="14373" y="3705"/>
                    </a:lnTo>
                    <a:lnTo>
                      <a:pt x="13832" y="3433"/>
                    </a:lnTo>
                    <a:lnTo>
                      <a:pt x="13486" y="3229"/>
                    </a:lnTo>
                    <a:lnTo>
                      <a:pt x="13109" y="3127"/>
                    </a:lnTo>
                    <a:lnTo>
                      <a:pt x="13376" y="2869"/>
                    </a:lnTo>
                    <a:lnTo>
                      <a:pt x="13633" y="2667"/>
                    </a:lnTo>
                    <a:lnTo>
                      <a:pt x="13224" y="2262"/>
                    </a:lnTo>
                    <a:lnTo>
                      <a:pt x="12902" y="2205"/>
                    </a:lnTo>
                    <a:lnTo>
                      <a:pt x="12369" y="2310"/>
                    </a:lnTo>
                    <a:cubicBezTo>
                      <a:pt x="12246" y="2320"/>
                      <a:pt x="12125" y="2273"/>
                      <a:pt x="12024" y="2175"/>
                    </a:cubicBezTo>
                    <a:cubicBezTo>
                      <a:pt x="11913" y="2069"/>
                      <a:pt x="11834" y="1912"/>
                      <a:pt x="11740" y="1777"/>
                    </a:cubicBezTo>
                    <a:cubicBezTo>
                      <a:pt x="11554" y="1508"/>
                      <a:pt x="11315" y="1328"/>
                      <a:pt x="11056" y="1261"/>
                    </a:cubicBezTo>
                    <a:cubicBezTo>
                      <a:pt x="10964" y="1225"/>
                      <a:pt x="10868" y="1298"/>
                      <a:pt x="10836" y="1427"/>
                    </a:cubicBezTo>
                    <a:cubicBezTo>
                      <a:pt x="10791" y="1608"/>
                      <a:pt x="10883" y="1799"/>
                      <a:pt x="11016" y="1802"/>
                    </a:cubicBezTo>
                    <a:lnTo>
                      <a:pt x="10545" y="1702"/>
                    </a:lnTo>
                    <a:lnTo>
                      <a:pt x="10279" y="1238"/>
                    </a:lnTo>
                    <a:lnTo>
                      <a:pt x="9981" y="768"/>
                    </a:lnTo>
                    <a:cubicBezTo>
                      <a:pt x="9877" y="581"/>
                      <a:pt x="9753" y="421"/>
                      <a:pt x="9612" y="294"/>
                    </a:cubicBezTo>
                    <a:cubicBezTo>
                      <a:pt x="9446" y="145"/>
                      <a:pt x="9262" y="45"/>
                      <a:pt x="9069" y="0"/>
                    </a:cubicBezTo>
                    <a:lnTo>
                      <a:pt x="8724" y="38"/>
                    </a:lnTo>
                    <a:lnTo>
                      <a:pt x="8676" y="704"/>
                    </a:lnTo>
                    <a:lnTo>
                      <a:pt x="8559" y="1135"/>
                    </a:lnTo>
                    <a:lnTo>
                      <a:pt x="7961" y="999"/>
                    </a:lnTo>
                    <a:lnTo>
                      <a:pt x="7560" y="933"/>
                    </a:lnTo>
                    <a:lnTo>
                      <a:pt x="7443" y="1306"/>
                    </a:lnTo>
                    <a:lnTo>
                      <a:pt x="7127" y="1309"/>
                    </a:lnTo>
                    <a:lnTo>
                      <a:pt x="6632" y="1751"/>
                    </a:lnTo>
                    <a:lnTo>
                      <a:pt x="6491" y="2171"/>
                    </a:lnTo>
                    <a:lnTo>
                      <a:pt x="6349" y="2646"/>
                    </a:lnTo>
                    <a:lnTo>
                      <a:pt x="6396" y="3143"/>
                    </a:lnTo>
                    <a:lnTo>
                      <a:pt x="6679" y="3404"/>
                    </a:lnTo>
                    <a:lnTo>
                      <a:pt x="6539" y="3969"/>
                    </a:lnTo>
                    <a:lnTo>
                      <a:pt x="6273" y="3957"/>
                    </a:lnTo>
                    <a:lnTo>
                      <a:pt x="6187" y="4296"/>
                    </a:lnTo>
                    <a:lnTo>
                      <a:pt x="6053" y="4782"/>
                    </a:lnTo>
                    <a:lnTo>
                      <a:pt x="6124" y="5338"/>
                    </a:lnTo>
                    <a:lnTo>
                      <a:pt x="5983" y="5717"/>
                    </a:lnTo>
                    <a:lnTo>
                      <a:pt x="5828" y="5062"/>
                    </a:lnTo>
                    <a:lnTo>
                      <a:pt x="5828" y="4723"/>
                    </a:lnTo>
                    <a:lnTo>
                      <a:pt x="5455" y="4385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394" name="í$ľíḋé">
                <a:extLst>
                  <a:ext uri="{FF2B5EF4-FFF2-40B4-BE49-F238E27FC236}">
                    <a16:creationId xmlns:a16="http://schemas.microsoft.com/office/drawing/2014/main" id="{99BD1EC4-EDB2-4DE8-B1C9-6541302EE2D7}"/>
                  </a:ext>
                </a:extLst>
              </p:cNvPr>
              <p:cNvSpPr/>
              <p:nvPr/>
            </p:nvSpPr>
            <p:spPr>
              <a:xfrm>
                <a:off x="6074035" y="4201144"/>
                <a:ext cx="30144" cy="3775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4554" y="0"/>
                    </a:moveTo>
                    <a:lnTo>
                      <a:pt x="12145" y="2252"/>
                    </a:lnTo>
                    <a:lnTo>
                      <a:pt x="17508" y="4147"/>
                    </a:lnTo>
                    <a:lnTo>
                      <a:pt x="21305" y="11063"/>
                    </a:lnTo>
                    <a:lnTo>
                      <a:pt x="21600" y="19260"/>
                    </a:lnTo>
                    <a:lnTo>
                      <a:pt x="16900" y="20658"/>
                    </a:lnTo>
                    <a:lnTo>
                      <a:pt x="10708" y="21600"/>
                    </a:lnTo>
                    <a:lnTo>
                      <a:pt x="6468" y="17037"/>
                    </a:lnTo>
                    <a:lnTo>
                      <a:pt x="0" y="12815"/>
                    </a:lnTo>
                    <a:lnTo>
                      <a:pt x="1830" y="6252"/>
                    </a:lnTo>
                    <a:lnTo>
                      <a:pt x="576" y="2013"/>
                    </a:lnTo>
                    <a:lnTo>
                      <a:pt x="4554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395" name="îṧ1ïďé">
                <a:extLst>
                  <a:ext uri="{FF2B5EF4-FFF2-40B4-BE49-F238E27FC236}">
                    <a16:creationId xmlns:a16="http://schemas.microsoft.com/office/drawing/2014/main" id="{184E7B92-5E3E-4532-ADA4-54C2E8822E9F}"/>
                  </a:ext>
                </a:extLst>
              </p:cNvPr>
              <p:cNvSpPr/>
              <p:nvPr/>
            </p:nvSpPr>
            <p:spPr>
              <a:xfrm>
                <a:off x="6099335" y="4183502"/>
                <a:ext cx="11192" cy="176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7065" y="0"/>
                    </a:moveTo>
                    <a:lnTo>
                      <a:pt x="19230" y="6996"/>
                    </a:lnTo>
                    <a:lnTo>
                      <a:pt x="21600" y="18575"/>
                    </a:lnTo>
                    <a:lnTo>
                      <a:pt x="7846" y="21600"/>
                    </a:lnTo>
                    <a:lnTo>
                      <a:pt x="0" y="15332"/>
                    </a:lnTo>
                    <a:lnTo>
                      <a:pt x="7065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396" name="ïşḻiďè">
                <a:extLst>
                  <a:ext uri="{FF2B5EF4-FFF2-40B4-BE49-F238E27FC236}">
                    <a16:creationId xmlns:a16="http://schemas.microsoft.com/office/drawing/2014/main" id="{68C5B2D6-D18D-4D5F-9B7E-646D1683C2E9}"/>
                  </a:ext>
                </a:extLst>
              </p:cNvPr>
              <p:cNvSpPr/>
              <p:nvPr/>
            </p:nvSpPr>
            <p:spPr>
              <a:xfrm>
                <a:off x="6026387" y="4205343"/>
                <a:ext cx="32040" cy="354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7034" y="4084"/>
                    </a:moveTo>
                    <a:lnTo>
                      <a:pt x="14037" y="951"/>
                    </a:lnTo>
                    <a:lnTo>
                      <a:pt x="20768" y="0"/>
                    </a:lnTo>
                    <a:lnTo>
                      <a:pt x="21600" y="4466"/>
                    </a:lnTo>
                    <a:lnTo>
                      <a:pt x="21600" y="9462"/>
                    </a:lnTo>
                    <a:lnTo>
                      <a:pt x="18270" y="14709"/>
                    </a:lnTo>
                    <a:lnTo>
                      <a:pt x="11767" y="21600"/>
                    </a:lnTo>
                    <a:lnTo>
                      <a:pt x="5959" y="21600"/>
                    </a:lnTo>
                    <a:lnTo>
                      <a:pt x="4656" y="12656"/>
                    </a:lnTo>
                    <a:lnTo>
                      <a:pt x="987" y="11920"/>
                    </a:lnTo>
                    <a:lnTo>
                      <a:pt x="0" y="7424"/>
                    </a:lnTo>
                    <a:lnTo>
                      <a:pt x="7034" y="4084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397" name="iśḻiḓé">
                <a:extLst>
                  <a:ext uri="{FF2B5EF4-FFF2-40B4-BE49-F238E27FC236}">
                    <a16:creationId xmlns:a16="http://schemas.microsoft.com/office/drawing/2014/main" id="{DEE380A4-7A19-4F6E-B600-779644F5FDFC}"/>
                  </a:ext>
                </a:extLst>
              </p:cNvPr>
              <p:cNvSpPr/>
              <p:nvPr/>
            </p:nvSpPr>
            <p:spPr>
              <a:xfrm>
                <a:off x="5970791" y="4225214"/>
                <a:ext cx="95167" cy="6740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135" y="116"/>
                    </a:moveTo>
                    <a:lnTo>
                      <a:pt x="7736" y="0"/>
                    </a:lnTo>
                    <a:lnTo>
                      <a:pt x="5503" y="1867"/>
                    </a:lnTo>
                    <a:lnTo>
                      <a:pt x="3311" y="3631"/>
                    </a:lnTo>
                    <a:lnTo>
                      <a:pt x="0" y="5601"/>
                    </a:lnTo>
                    <a:lnTo>
                      <a:pt x="553" y="8428"/>
                    </a:lnTo>
                    <a:lnTo>
                      <a:pt x="3528" y="11857"/>
                    </a:lnTo>
                    <a:lnTo>
                      <a:pt x="4929" y="13233"/>
                    </a:lnTo>
                    <a:lnTo>
                      <a:pt x="8513" y="9615"/>
                    </a:lnTo>
                    <a:lnTo>
                      <a:pt x="6289" y="14923"/>
                    </a:lnTo>
                    <a:lnTo>
                      <a:pt x="6937" y="17404"/>
                    </a:lnTo>
                    <a:lnTo>
                      <a:pt x="9406" y="17404"/>
                    </a:lnTo>
                    <a:lnTo>
                      <a:pt x="8624" y="20231"/>
                    </a:lnTo>
                    <a:lnTo>
                      <a:pt x="12079" y="21600"/>
                    </a:lnTo>
                    <a:cubicBezTo>
                      <a:pt x="12715" y="21450"/>
                      <a:pt x="13354" y="21318"/>
                      <a:pt x="13994" y="21204"/>
                    </a:cubicBezTo>
                    <a:cubicBezTo>
                      <a:pt x="14954" y="21034"/>
                      <a:pt x="15918" y="20905"/>
                      <a:pt x="16883" y="20817"/>
                    </a:cubicBezTo>
                    <a:cubicBezTo>
                      <a:pt x="17565" y="20989"/>
                      <a:pt x="18268" y="20853"/>
                      <a:pt x="18892" y="20429"/>
                    </a:cubicBezTo>
                    <a:cubicBezTo>
                      <a:pt x="19533" y="19993"/>
                      <a:pt x="20057" y="19276"/>
                      <a:pt x="20386" y="18385"/>
                    </a:cubicBezTo>
                    <a:lnTo>
                      <a:pt x="21600" y="14899"/>
                    </a:lnTo>
                    <a:lnTo>
                      <a:pt x="21180" y="11865"/>
                    </a:lnTo>
                    <a:lnTo>
                      <a:pt x="18798" y="12063"/>
                    </a:lnTo>
                    <a:lnTo>
                      <a:pt x="17958" y="8907"/>
                    </a:lnTo>
                    <a:lnTo>
                      <a:pt x="15762" y="9558"/>
                    </a:lnTo>
                    <a:lnTo>
                      <a:pt x="14689" y="13250"/>
                    </a:lnTo>
                    <a:lnTo>
                      <a:pt x="13714" y="10490"/>
                    </a:lnTo>
                    <a:lnTo>
                      <a:pt x="13159" y="8132"/>
                    </a:lnTo>
                    <a:lnTo>
                      <a:pt x="13585" y="4909"/>
                    </a:lnTo>
                    <a:lnTo>
                      <a:pt x="13445" y="2799"/>
                    </a:lnTo>
                    <a:lnTo>
                      <a:pt x="10836" y="6483"/>
                    </a:lnTo>
                    <a:lnTo>
                      <a:pt x="10001" y="4769"/>
                    </a:lnTo>
                    <a:lnTo>
                      <a:pt x="11116" y="3393"/>
                    </a:lnTo>
                    <a:lnTo>
                      <a:pt x="11945" y="928"/>
                    </a:lnTo>
                    <a:lnTo>
                      <a:pt x="10135" y="116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398" name="ïşḻíďé">
                <a:extLst>
                  <a:ext uri="{FF2B5EF4-FFF2-40B4-BE49-F238E27FC236}">
                    <a16:creationId xmlns:a16="http://schemas.microsoft.com/office/drawing/2014/main" id="{E08D4972-FF9E-4C77-A058-44CB08F1C0A5}"/>
                  </a:ext>
                </a:extLst>
              </p:cNvPr>
              <p:cNvSpPr/>
              <p:nvPr/>
            </p:nvSpPr>
            <p:spPr>
              <a:xfrm>
                <a:off x="6072613" y="4302882"/>
                <a:ext cx="48095" cy="6354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16" h="21281" extrusionOk="0">
                    <a:moveTo>
                      <a:pt x="16062" y="145"/>
                    </a:moveTo>
                    <a:lnTo>
                      <a:pt x="18559" y="1996"/>
                    </a:lnTo>
                    <a:lnTo>
                      <a:pt x="18755" y="4746"/>
                    </a:lnTo>
                    <a:lnTo>
                      <a:pt x="21516" y="7829"/>
                    </a:lnTo>
                    <a:lnTo>
                      <a:pt x="20964" y="11197"/>
                    </a:lnTo>
                    <a:lnTo>
                      <a:pt x="19031" y="14918"/>
                    </a:lnTo>
                    <a:lnTo>
                      <a:pt x="18479" y="18087"/>
                    </a:lnTo>
                    <a:lnTo>
                      <a:pt x="15084" y="20077"/>
                    </a:lnTo>
                    <a:cubicBezTo>
                      <a:pt x="14091" y="20966"/>
                      <a:pt x="12556" y="21409"/>
                      <a:pt x="11023" y="21249"/>
                    </a:cubicBezTo>
                    <a:cubicBezTo>
                      <a:pt x="7381" y="20867"/>
                      <a:pt x="5464" y="17810"/>
                      <a:pt x="7399" y="15469"/>
                    </a:cubicBezTo>
                    <a:lnTo>
                      <a:pt x="1984" y="15469"/>
                    </a:lnTo>
                    <a:lnTo>
                      <a:pt x="10" y="10379"/>
                    </a:lnTo>
                    <a:cubicBezTo>
                      <a:pt x="-84" y="9375"/>
                      <a:pt x="478" y="8398"/>
                      <a:pt x="1518" y="7760"/>
                    </a:cubicBezTo>
                    <a:cubicBezTo>
                      <a:pt x="3296" y="6669"/>
                      <a:pt x="5899" y="6789"/>
                      <a:pt x="7484" y="8036"/>
                    </a:cubicBezTo>
                    <a:cubicBezTo>
                      <a:pt x="7545" y="9180"/>
                      <a:pt x="9290" y="9808"/>
                      <a:pt x="10523" y="9130"/>
                    </a:cubicBezTo>
                    <a:cubicBezTo>
                      <a:pt x="11635" y="8518"/>
                      <a:pt x="11430" y="7310"/>
                      <a:pt x="10799" y="6305"/>
                    </a:cubicBezTo>
                    <a:cubicBezTo>
                      <a:pt x="9787" y="4695"/>
                      <a:pt x="8151" y="3351"/>
                      <a:pt x="6104" y="2446"/>
                    </a:cubicBezTo>
                    <a:cubicBezTo>
                      <a:pt x="6962" y="1800"/>
                      <a:pt x="7958" y="1265"/>
                      <a:pt x="9050" y="862"/>
                    </a:cubicBezTo>
                    <a:cubicBezTo>
                      <a:pt x="11222" y="61"/>
                      <a:pt x="13682" y="-191"/>
                      <a:pt x="16062" y="145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399" name="iṧḷïdê">
                <a:extLst>
                  <a:ext uri="{FF2B5EF4-FFF2-40B4-BE49-F238E27FC236}">
                    <a16:creationId xmlns:a16="http://schemas.microsoft.com/office/drawing/2014/main" id="{B31610A6-F606-4703-BB51-FBAA7E19A370}"/>
                  </a:ext>
                </a:extLst>
              </p:cNvPr>
              <p:cNvSpPr/>
              <p:nvPr/>
            </p:nvSpPr>
            <p:spPr>
              <a:xfrm>
                <a:off x="5330683" y="4200603"/>
                <a:ext cx="1913282" cy="179648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982" y="827"/>
                    </a:moveTo>
                    <a:lnTo>
                      <a:pt x="7131" y="835"/>
                    </a:lnTo>
                    <a:lnTo>
                      <a:pt x="7235" y="824"/>
                    </a:lnTo>
                    <a:lnTo>
                      <a:pt x="7298" y="913"/>
                    </a:lnTo>
                    <a:lnTo>
                      <a:pt x="7325" y="1000"/>
                    </a:lnTo>
                    <a:lnTo>
                      <a:pt x="7441" y="1022"/>
                    </a:lnTo>
                    <a:lnTo>
                      <a:pt x="7487" y="1088"/>
                    </a:lnTo>
                    <a:lnTo>
                      <a:pt x="7527" y="1212"/>
                    </a:lnTo>
                    <a:lnTo>
                      <a:pt x="7603" y="1298"/>
                    </a:lnTo>
                    <a:lnTo>
                      <a:pt x="7603" y="1387"/>
                    </a:lnTo>
                    <a:lnTo>
                      <a:pt x="7656" y="1456"/>
                    </a:lnTo>
                    <a:lnTo>
                      <a:pt x="7774" y="1483"/>
                    </a:lnTo>
                    <a:lnTo>
                      <a:pt x="7846" y="1517"/>
                    </a:lnTo>
                    <a:lnTo>
                      <a:pt x="7900" y="1570"/>
                    </a:lnTo>
                    <a:cubicBezTo>
                      <a:pt x="7875" y="1614"/>
                      <a:pt x="7901" y="1671"/>
                      <a:pt x="7949" y="1678"/>
                    </a:cubicBezTo>
                    <a:cubicBezTo>
                      <a:pt x="8022" y="1689"/>
                      <a:pt x="8065" y="1593"/>
                      <a:pt x="8011" y="1539"/>
                    </a:cubicBezTo>
                    <a:lnTo>
                      <a:pt x="8004" y="1414"/>
                    </a:lnTo>
                    <a:lnTo>
                      <a:pt x="8064" y="1310"/>
                    </a:lnTo>
                    <a:lnTo>
                      <a:pt x="8148" y="1280"/>
                    </a:lnTo>
                    <a:lnTo>
                      <a:pt x="8245" y="1273"/>
                    </a:lnTo>
                    <a:lnTo>
                      <a:pt x="8314" y="1372"/>
                    </a:lnTo>
                    <a:lnTo>
                      <a:pt x="8307" y="1465"/>
                    </a:lnTo>
                    <a:lnTo>
                      <a:pt x="8250" y="1544"/>
                    </a:lnTo>
                    <a:lnTo>
                      <a:pt x="8238" y="1638"/>
                    </a:lnTo>
                    <a:lnTo>
                      <a:pt x="8280" y="1741"/>
                    </a:lnTo>
                    <a:lnTo>
                      <a:pt x="8252" y="1852"/>
                    </a:lnTo>
                    <a:lnTo>
                      <a:pt x="8315" y="2016"/>
                    </a:lnTo>
                    <a:lnTo>
                      <a:pt x="8370" y="2072"/>
                    </a:lnTo>
                    <a:lnTo>
                      <a:pt x="8444" y="2116"/>
                    </a:lnTo>
                    <a:lnTo>
                      <a:pt x="8525" y="2102"/>
                    </a:lnTo>
                    <a:lnTo>
                      <a:pt x="8606" y="2124"/>
                    </a:lnTo>
                    <a:lnTo>
                      <a:pt x="8558" y="2220"/>
                    </a:lnTo>
                    <a:lnTo>
                      <a:pt x="8485" y="2205"/>
                    </a:lnTo>
                    <a:lnTo>
                      <a:pt x="8462" y="2284"/>
                    </a:lnTo>
                    <a:lnTo>
                      <a:pt x="8441" y="2449"/>
                    </a:lnTo>
                    <a:lnTo>
                      <a:pt x="8379" y="2618"/>
                    </a:lnTo>
                    <a:lnTo>
                      <a:pt x="8312" y="2588"/>
                    </a:lnTo>
                    <a:lnTo>
                      <a:pt x="8203" y="2531"/>
                    </a:lnTo>
                    <a:lnTo>
                      <a:pt x="8124" y="2598"/>
                    </a:lnTo>
                    <a:lnTo>
                      <a:pt x="8205" y="2699"/>
                    </a:lnTo>
                    <a:cubicBezTo>
                      <a:pt x="8263" y="2733"/>
                      <a:pt x="8323" y="2760"/>
                      <a:pt x="8386" y="2780"/>
                    </a:cubicBezTo>
                    <a:cubicBezTo>
                      <a:pt x="8432" y="2794"/>
                      <a:pt x="8479" y="2805"/>
                      <a:pt x="8525" y="2795"/>
                    </a:cubicBezTo>
                    <a:cubicBezTo>
                      <a:pt x="8571" y="2785"/>
                      <a:pt x="8611" y="2757"/>
                      <a:pt x="8637" y="2716"/>
                    </a:cubicBezTo>
                    <a:lnTo>
                      <a:pt x="8664" y="2637"/>
                    </a:lnTo>
                    <a:lnTo>
                      <a:pt x="8584" y="2645"/>
                    </a:lnTo>
                    <a:cubicBezTo>
                      <a:pt x="8554" y="2675"/>
                      <a:pt x="8510" y="2681"/>
                      <a:pt x="8473" y="2662"/>
                    </a:cubicBezTo>
                    <a:cubicBezTo>
                      <a:pt x="8359" y="2599"/>
                      <a:pt x="8398" y="2415"/>
                      <a:pt x="8527" y="2412"/>
                    </a:cubicBezTo>
                    <a:lnTo>
                      <a:pt x="8630" y="2449"/>
                    </a:lnTo>
                    <a:lnTo>
                      <a:pt x="8693" y="2335"/>
                    </a:lnTo>
                    <a:lnTo>
                      <a:pt x="8728" y="2264"/>
                    </a:lnTo>
                    <a:lnTo>
                      <a:pt x="8813" y="2264"/>
                    </a:lnTo>
                    <a:lnTo>
                      <a:pt x="8883" y="2328"/>
                    </a:lnTo>
                    <a:lnTo>
                      <a:pt x="8913" y="2180"/>
                    </a:lnTo>
                    <a:lnTo>
                      <a:pt x="8888" y="2034"/>
                    </a:lnTo>
                    <a:lnTo>
                      <a:pt x="8901" y="1920"/>
                    </a:lnTo>
                    <a:lnTo>
                      <a:pt x="8955" y="1834"/>
                    </a:lnTo>
                    <a:cubicBezTo>
                      <a:pt x="8964" y="1773"/>
                      <a:pt x="8971" y="1712"/>
                      <a:pt x="8975" y="1651"/>
                    </a:cubicBezTo>
                    <a:cubicBezTo>
                      <a:pt x="8979" y="1601"/>
                      <a:pt x="8982" y="1552"/>
                      <a:pt x="8982" y="1502"/>
                    </a:cubicBezTo>
                    <a:lnTo>
                      <a:pt x="8975" y="1347"/>
                    </a:lnTo>
                    <a:cubicBezTo>
                      <a:pt x="8984" y="1319"/>
                      <a:pt x="9001" y="1296"/>
                      <a:pt x="9024" y="1280"/>
                    </a:cubicBezTo>
                    <a:cubicBezTo>
                      <a:pt x="9068" y="1251"/>
                      <a:pt x="9123" y="1256"/>
                      <a:pt x="9175" y="1258"/>
                    </a:cubicBezTo>
                    <a:cubicBezTo>
                      <a:pt x="9214" y="1260"/>
                      <a:pt x="9254" y="1260"/>
                      <a:pt x="9293" y="1258"/>
                    </a:cubicBezTo>
                    <a:lnTo>
                      <a:pt x="9383" y="1324"/>
                    </a:lnTo>
                    <a:lnTo>
                      <a:pt x="9342" y="1409"/>
                    </a:lnTo>
                    <a:lnTo>
                      <a:pt x="9274" y="1569"/>
                    </a:lnTo>
                    <a:lnTo>
                      <a:pt x="9178" y="1638"/>
                    </a:lnTo>
                    <a:lnTo>
                      <a:pt x="9194" y="1866"/>
                    </a:lnTo>
                    <a:lnTo>
                      <a:pt x="9194" y="1997"/>
                    </a:lnTo>
                    <a:lnTo>
                      <a:pt x="9264" y="2101"/>
                    </a:lnTo>
                    <a:cubicBezTo>
                      <a:pt x="9307" y="2131"/>
                      <a:pt x="9342" y="2173"/>
                      <a:pt x="9366" y="2222"/>
                    </a:cubicBezTo>
                    <a:cubicBezTo>
                      <a:pt x="9382" y="2255"/>
                      <a:pt x="9393" y="2291"/>
                      <a:pt x="9399" y="2328"/>
                    </a:cubicBezTo>
                    <a:lnTo>
                      <a:pt x="9482" y="2336"/>
                    </a:lnTo>
                    <a:lnTo>
                      <a:pt x="9556" y="2400"/>
                    </a:lnTo>
                    <a:cubicBezTo>
                      <a:pt x="9583" y="2419"/>
                      <a:pt x="9608" y="2443"/>
                      <a:pt x="9630" y="2469"/>
                    </a:cubicBezTo>
                    <a:cubicBezTo>
                      <a:pt x="9660" y="2506"/>
                      <a:pt x="9685" y="2549"/>
                      <a:pt x="9702" y="2595"/>
                    </a:cubicBezTo>
                    <a:cubicBezTo>
                      <a:pt x="9712" y="2619"/>
                      <a:pt x="9722" y="2644"/>
                      <a:pt x="9732" y="2668"/>
                    </a:cubicBezTo>
                    <a:cubicBezTo>
                      <a:pt x="9742" y="2692"/>
                      <a:pt x="9752" y="2716"/>
                      <a:pt x="9762" y="2740"/>
                    </a:cubicBezTo>
                    <a:lnTo>
                      <a:pt x="9811" y="2856"/>
                    </a:lnTo>
                    <a:lnTo>
                      <a:pt x="9887" y="2814"/>
                    </a:lnTo>
                    <a:lnTo>
                      <a:pt x="9859" y="2582"/>
                    </a:lnTo>
                    <a:lnTo>
                      <a:pt x="9928" y="2479"/>
                    </a:lnTo>
                    <a:lnTo>
                      <a:pt x="9921" y="2310"/>
                    </a:lnTo>
                    <a:lnTo>
                      <a:pt x="9875" y="2239"/>
                    </a:lnTo>
                    <a:lnTo>
                      <a:pt x="9712" y="2214"/>
                    </a:lnTo>
                    <a:lnTo>
                      <a:pt x="9622" y="2125"/>
                    </a:lnTo>
                    <a:lnTo>
                      <a:pt x="9548" y="1994"/>
                    </a:lnTo>
                    <a:lnTo>
                      <a:pt x="9500" y="1935"/>
                    </a:lnTo>
                    <a:lnTo>
                      <a:pt x="9451" y="1765"/>
                    </a:lnTo>
                    <a:lnTo>
                      <a:pt x="9437" y="1636"/>
                    </a:lnTo>
                    <a:lnTo>
                      <a:pt x="9444" y="1522"/>
                    </a:lnTo>
                    <a:lnTo>
                      <a:pt x="9505" y="1384"/>
                    </a:lnTo>
                    <a:lnTo>
                      <a:pt x="9539" y="1305"/>
                    </a:lnTo>
                    <a:lnTo>
                      <a:pt x="9644" y="1275"/>
                    </a:lnTo>
                    <a:lnTo>
                      <a:pt x="9776" y="1268"/>
                    </a:lnTo>
                    <a:lnTo>
                      <a:pt x="9843" y="1297"/>
                    </a:lnTo>
                    <a:lnTo>
                      <a:pt x="9987" y="1259"/>
                    </a:lnTo>
                    <a:lnTo>
                      <a:pt x="10085" y="1215"/>
                    </a:lnTo>
                    <a:lnTo>
                      <a:pt x="10208" y="1215"/>
                    </a:lnTo>
                    <a:lnTo>
                      <a:pt x="10317" y="1280"/>
                    </a:lnTo>
                    <a:lnTo>
                      <a:pt x="10446" y="1371"/>
                    </a:lnTo>
                    <a:lnTo>
                      <a:pt x="10527" y="1403"/>
                    </a:lnTo>
                    <a:lnTo>
                      <a:pt x="10673" y="1499"/>
                    </a:lnTo>
                    <a:lnTo>
                      <a:pt x="10750" y="1507"/>
                    </a:lnTo>
                    <a:lnTo>
                      <a:pt x="10903" y="1507"/>
                    </a:lnTo>
                    <a:lnTo>
                      <a:pt x="10965" y="1558"/>
                    </a:lnTo>
                    <a:lnTo>
                      <a:pt x="11043" y="1622"/>
                    </a:lnTo>
                    <a:lnTo>
                      <a:pt x="11141" y="1642"/>
                    </a:lnTo>
                    <a:cubicBezTo>
                      <a:pt x="11167" y="1646"/>
                      <a:pt x="11193" y="1654"/>
                      <a:pt x="11218" y="1664"/>
                    </a:cubicBezTo>
                    <a:cubicBezTo>
                      <a:pt x="11254" y="1680"/>
                      <a:pt x="11287" y="1703"/>
                      <a:pt x="11315" y="1731"/>
                    </a:cubicBezTo>
                    <a:lnTo>
                      <a:pt x="11396" y="1808"/>
                    </a:lnTo>
                    <a:lnTo>
                      <a:pt x="11452" y="1948"/>
                    </a:lnTo>
                    <a:lnTo>
                      <a:pt x="11505" y="2034"/>
                    </a:lnTo>
                    <a:lnTo>
                      <a:pt x="11670" y="2064"/>
                    </a:lnTo>
                    <a:lnTo>
                      <a:pt x="11784" y="2091"/>
                    </a:lnTo>
                    <a:lnTo>
                      <a:pt x="12021" y="2143"/>
                    </a:lnTo>
                    <a:lnTo>
                      <a:pt x="12188" y="2173"/>
                    </a:lnTo>
                    <a:cubicBezTo>
                      <a:pt x="12226" y="2161"/>
                      <a:pt x="12267" y="2168"/>
                      <a:pt x="12299" y="2193"/>
                    </a:cubicBezTo>
                    <a:cubicBezTo>
                      <a:pt x="12345" y="2228"/>
                      <a:pt x="12365" y="2291"/>
                      <a:pt x="12348" y="2348"/>
                    </a:cubicBezTo>
                    <a:lnTo>
                      <a:pt x="12320" y="2499"/>
                    </a:lnTo>
                    <a:lnTo>
                      <a:pt x="12307" y="2647"/>
                    </a:lnTo>
                    <a:lnTo>
                      <a:pt x="12353" y="2763"/>
                    </a:lnTo>
                    <a:lnTo>
                      <a:pt x="12265" y="2812"/>
                    </a:lnTo>
                    <a:cubicBezTo>
                      <a:pt x="12226" y="2799"/>
                      <a:pt x="12189" y="2782"/>
                      <a:pt x="12154" y="2760"/>
                    </a:cubicBezTo>
                    <a:cubicBezTo>
                      <a:pt x="12092" y="2723"/>
                      <a:pt x="12039" y="2672"/>
                      <a:pt x="11996" y="2612"/>
                    </a:cubicBezTo>
                    <a:lnTo>
                      <a:pt x="11906" y="2598"/>
                    </a:lnTo>
                    <a:lnTo>
                      <a:pt x="11869" y="2672"/>
                    </a:lnTo>
                    <a:lnTo>
                      <a:pt x="11943" y="2778"/>
                    </a:lnTo>
                    <a:lnTo>
                      <a:pt x="12073" y="2842"/>
                    </a:lnTo>
                    <a:lnTo>
                      <a:pt x="12196" y="2870"/>
                    </a:lnTo>
                    <a:cubicBezTo>
                      <a:pt x="12252" y="2881"/>
                      <a:pt x="12306" y="2906"/>
                      <a:pt x="12352" y="2941"/>
                    </a:cubicBezTo>
                    <a:cubicBezTo>
                      <a:pt x="12395" y="2975"/>
                      <a:pt x="12431" y="3017"/>
                      <a:pt x="12459" y="3065"/>
                    </a:cubicBezTo>
                    <a:lnTo>
                      <a:pt x="12466" y="3161"/>
                    </a:lnTo>
                    <a:cubicBezTo>
                      <a:pt x="12485" y="3191"/>
                      <a:pt x="12502" y="3222"/>
                      <a:pt x="12517" y="3255"/>
                    </a:cubicBezTo>
                    <a:cubicBezTo>
                      <a:pt x="12534" y="3294"/>
                      <a:pt x="12548" y="3335"/>
                      <a:pt x="12558" y="3378"/>
                    </a:cubicBezTo>
                    <a:lnTo>
                      <a:pt x="12459" y="3479"/>
                    </a:lnTo>
                    <a:lnTo>
                      <a:pt x="12328" y="3383"/>
                    </a:lnTo>
                    <a:lnTo>
                      <a:pt x="12360" y="3497"/>
                    </a:lnTo>
                    <a:lnTo>
                      <a:pt x="12388" y="3606"/>
                    </a:lnTo>
                    <a:lnTo>
                      <a:pt x="12168" y="3614"/>
                    </a:lnTo>
                    <a:lnTo>
                      <a:pt x="11947" y="3586"/>
                    </a:lnTo>
                    <a:lnTo>
                      <a:pt x="11769" y="3586"/>
                    </a:lnTo>
                    <a:lnTo>
                      <a:pt x="11618" y="3490"/>
                    </a:lnTo>
                    <a:cubicBezTo>
                      <a:pt x="11588" y="3446"/>
                      <a:pt x="11548" y="3411"/>
                      <a:pt x="11502" y="3389"/>
                    </a:cubicBezTo>
                    <a:cubicBezTo>
                      <a:pt x="11446" y="3361"/>
                      <a:pt x="11382" y="3353"/>
                      <a:pt x="11321" y="3367"/>
                    </a:cubicBezTo>
                    <a:lnTo>
                      <a:pt x="11148" y="3411"/>
                    </a:lnTo>
                    <a:lnTo>
                      <a:pt x="11080" y="3520"/>
                    </a:lnTo>
                    <a:lnTo>
                      <a:pt x="11173" y="3562"/>
                    </a:lnTo>
                    <a:lnTo>
                      <a:pt x="11173" y="3658"/>
                    </a:lnTo>
                    <a:lnTo>
                      <a:pt x="11041" y="3688"/>
                    </a:lnTo>
                    <a:cubicBezTo>
                      <a:pt x="11002" y="3696"/>
                      <a:pt x="10964" y="3668"/>
                      <a:pt x="10957" y="3626"/>
                    </a:cubicBezTo>
                    <a:cubicBezTo>
                      <a:pt x="10950" y="3580"/>
                      <a:pt x="10984" y="3542"/>
                      <a:pt x="10992" y="3497"/>
                    </a:cubicBezTo>
                    <a:cubicBezTo>
                      <a:pt x="11001" y="3449"/>
                      <a:pt x="10979" y="3400"/>
                      <a:pt x="10939" y="3377"/>
                    </a:cubicBezTo>
                    <a:lnTo>
                      <a:pt x="10871" y="3214"/>
                    </a:lnTo>
                    <a:lnTo>
                      <a:pt x="10927" y="3087"/>
                    </a:lnTo>
                    <a:lnTo>
                      <a:pt x="11099" y="3058"/>
                    </a:lnTo>
                    <a:cubicBezTo>
                      <a:pt x="11143" y="3095"/>
                      <a:pt x="11209" y="3081"/>
                      <a:pt x="11236" y="3028"/>
                    </a:cubicBezTo>
                    <a:cubicBezTo>
                      <a:pt x="11261" y="2979"/>
                      <a:pt x="11242" y="2918"/>
                      <a:pt x="11194" y="2895"/>
                    </a:cubicBezTo>
                    <a:lnTo>
                      <a:pt x="11162" y="2836"/>
                    </a:lnTo>
                    <a:lnTo>
                      <a:pt x="11197" y="2733"/>
                    </a:lnTo>
                    <a:lnTo>
                      <a:pt x="11222" y="2589"/>
                    </a:lnTo>
                    <a:lnTo>
                      <a:pt x="11197" y="2443"/>
                    </a:lnTo>
                    <a:lnTo>
                      <a:pt x="11053" y="2409"/>
                    </a:lnTo>
                    <a:lnTo>
                      <a:pt x="10999" y="2596"/>
                    </a:lnTo>
                    <a:lnTo>
                      <a:pt x="10942" y="2690"/>
                    </a:lnTo>
                    <a:lnTo>
                      <a:pt x="10865" y="2727"/>
                    </a:lnTo>
                    <a:lnTo>
                      <a:pt x="10817" y="2660"/>
                    </a:lnTo>
                    <a:lnTo>
                      <a:pt x="10754" y="2500"/>
                    </a:lnTo>
                    <a:lnTo>
                      <a:pt x="10781" y="2399"/>
                    </a:lnTo>
                    <a:lnTo>
                      <a:pt x="10830" y="2332"/>
                    </a:lnTo>
                    <a:lnTo>
                      <a:pt x="10781" y="2275"/>
                    </a:lnTo>
                    <a:lnTo>
                      <a:pt x="10684" y="2238"/>
                    </a:lnTo>
                    <a:lnTo>
                      <a:pt x="10600" y="2181"/>
                    </a:lnTo>
                    <a:lnTo>
                      <a:pt x="10517" y="2122"/>
                    </a:lnTo>
                    <a:lnTo>
                      <a:pt x="10552" y="2262"/>
                    </a:lnTo>
                    <a:lnTo>
                      <a:pt x="10607" y="2328"/>
                    </a:lnTo>
                    <a:lnTo>
                      <a:pt x="10633" y="2419"/>
                    </a:lnTo>
                    <a:lnTo>
                      <a:pt x="10639" y="2505"/>
                    </a:lnTo>
                    <a:lnTo>
                      <a:pt x="10498" y="2436"/>
                    </a:lnTo>
                    <a:lnTo>
                      <a:pt x="10463" y="2355"/>
                    </a:lnTo>
                    <a:lnTo>
                      <a:pt x="10421" y="2254"/>
                    </a:lnTo>
                    <a:lnTo>
                      <a:pt x="10345" y="2231"/>
                    </a:lnTo>
                    <a:lnTo>
                      <a:pt x="10299" y="2312"/>
                    </a:lnTo>
                    <a:lnTo>
                      <a:pt x="10338" y="2436"/>
                    </a:lnTo>
                    <a:lnTo>
                      <a:pt x="10382" y="2609"/>
                    </a:lnTo>
                    <a:lnTo>
                      <a:pt x="10389" y="2728"/>
                    </a:lnTo>
                    <a:lnTo>
                      <a:pt x="10389" y="2839"/>
                    </a:lnTo>
                    <a:lnTo>
                      <a:pt x="10361" y="2940"/>
                    </a:lnTo>
                    <a:lnTo>
                      <a:pt x="10333" y="3026"/>
                    </a:lnTo>
                    <a:lnTo>
                      <a:pt x="10284" y="3159"/>
                    </a:lnTo>
                    <a:lnTo>
                      <a:pt x="10277" y="3241"/>
                    </a:lnTo>
                    <a:lnTo>
                      <a:pt x="10356" y="3317"/>
                    </a:lnTo>
                    <a:lnTo>
                      <a:pt x="10495" y="3376"/>
                    </a:lnTo>
                    <a:lnTo>
                      <a:pt x="10586" y="3406"/>
                    </a:lnTo>
                    <a:lnTo>
                      <a:pt x="10704" y="3512"/>
                    </a:lnTo>
                    <a:lnTo>
                      <a:pt x="10778" y="3620"/>
                    </a:lnTo>
                    <a:lnTo>
                      <a:pt x="10737" y="3709"/>
                    </a:lnTo>
                    <a:lnTo>
                      <a:pt x="10654" y="3714"/>
                    </a:lnTo>
                    <a:lnTo>
                      <a:pt x="10517" y="3662"/>
                    </a:lnTo>
                    <a:lnTo>
                      <a:pt x="10380" y="3677"/>
                    </a:lnTo>
                    <a:cubicBezTo>
                      <a:pt x="10381" y="3717"/>
                      <a:pt x="10367" y="3755"/>
                      <a:pt x="10343" y="3785"/>
                    </a:cubicBezTo>
                    <a:cubicBezTo>
                      <a:pt x="10311" y="3826"/>
                      <a:pt x="10262" y="3848"/>
                      <a:pt x="10211" y="3845"/>
                    </a:cubicBezTo>
                    <a:lnTo>
                      <a:pt x="10102" y="3793"/>
                    </a:lnTo>
                    <a:lnTo>
                      <a:pt x="9970" y="3800"/>
                    </a:lnTo>
                    <a:cubicBezTo>
                      <a:pt x="9960" y="3762"/>
                      <a:pt x="9953" y="3723"/>
                      <a:pt x="9952" y="3684"/>
                    </a:cubicBezTo>
                    <a:cubicBezTo>
                      <a:pt x="9947" y="3578"/>
                      <a:pt x="9975" y="3473"/>
                      <a:pt x="10031" y="3385"/>
                    </a:cubicBezTo>
                    <a:cubicBezTo>
                      <a:pt x="10030" y="3354"/>
                      <a:pt x="10014" y="3327"/>
                      <a:pt x="9989" y="3313"/>
                    </a:cubicBezTo>
                    <a:cubicBezTo>
                      <a:pt x="9848" y="3235"/>
                      <a:pt x="9741" y="3476"/>
                      <a:pt x="9887" y="3542"/>
                    </a:cubicBezTo>
                    <a:lnTo>
                      <a:pt x="9827" y="3688"/>
                    </a:lnTo>
                    <a:lnTo>
                      <a:pt x="9732" y="3812"/>
                    </a:lnTo>
                    <a:lnTo>
                      <a:pt x="9628" y="3864"/>
                    </a:lnTo>
                    <a:cubicBezTo>
                      <a:pt x="9618" y="3904"/>
                      <a:pt x="9599" y="3942"/>
                      <a:pt x="9575" y="3975"/>
                    </a:cubicBezTo>
                    <a:cubicBezTo>
                      <a:pt x="9539" y="4021"/>
                      <a:pt x="9492" y="4056"/>
                      <a:pt x="9438" y="4074"/>
                    </a:cubicBezTo>
                    <a:cubicBezTo>
                      <a:pt x="9430" y="4101"/>
                      <a:pt x="9420" y="4127"/>
                      <a:pt x="9407" y="4152"/>
                    </a:cubicBezTo>
                    <a:cubicBezTo>
                      <a:pt x="9381" y="4206"/>
                      <a:pt x="9343" y="4252"/>
                      <a:pt x="9298" y="4288"/>
                    </a:cubicBezTo>
                    <a:lnTo>
                      <a:pt x="9263" y="4415"/>
                    </a:lnTo>
                    <a:lnTo>
                      <a:pt x="9187" y="4486"/>
                    </a:lnTo>
                    <a:cubicBezTo>
                      <a:pt x="9179" y="4525"/>
                      <a:pt x="9172" y="4564"/>
                      <a:pt x="9166" y="4602"/>
                    </a:cubicBezTo>
                    <a:cubicBezTo>
                      <a:pt x="9156" y="4659"/>
                      <a:pt x="9148" y="4716"/>
                      <a:pt x="9140" y="4773"/>
                    </a:cubicBezTo>
                    <a:cubicBezTo>
                      <a:pt x="9148" y="4808"/>
                      <a:pt x="9158" y="4842"/>
                      <a:pt x="9168" y="4876"/>
                    </a:cubicBezTo>
                    <a:cubicBezTo>
                      <a:pt x="9180" y="4914"/>
                      <a:pt x="9193" y="4951"/>
                      <a:pt x="9207" y="4988"/>
                    </a:cubicBezTo>
                    <a:cubicBezTo>
                      <a:pt x="9233" y="5010"/>
                      <a:pt x="9256" y="5035"/>
                      <a:pt x="9277" y="5061"/>
                    </a:cubicBezTo>
                    <a:cubicBezTo>
                      <a:pt x="9326" y="5123"/>
                      <a:pt x="9362" y="5194"/>
                      <a:pt x="9384" y="5272"/>
                    </a:cubicBezTo>
                    <a:lnTo>
                      <a:pt x="9452" y="5434"/>
                    </a:lnTo>
                    <a:lnTo>
                      <a:pt x="9547" y="5508"/>
                    </a:lnTo>
                    <a:cubicBezTo>
                      <a:pt x="9551" y="5474"/>
                      <a:pt x="9565" y="5443"/>
                      <a:pt x="9589" y="5419"/>
                    </a:cubicBezTo>
                    <a:cubicBezTo>
                      <a:pt x="9650" y="5357"/>
                      <a:pt x="9747" y="5360"/>
                      <a:pt x="9804" y="5427"/>
                    </a:cubicBezTo>
                    <a:lnTo>
                      <a:pt x="9972" y="5464"/>
                    </a:lnTo>
                    <a:lnTo>
                      <a:pt x="10020" y="5560"/>
                    </a:lnTo>
                    <a:lnTo>
                      <a:pt x="10113" y="5567"/>
                    </a:lnTo>
                    <a:lnTo>
                      <a:pt x="10248" y="5653"/>
                    </a:lnTo>
                    <a:lnTo>
                      <a:pt x="10422" y="5737"/>
                    </a:lnTo>
                    <a:lnTo>
                      <a:pt x="10522" y="5745"/>
                    </a:lnTo>
                    <a:lnTo>
                      <a:pt x="10694" y="5750"/>
                    </a:lnTo>
                    <a:cubicBezTo>
                      <a:pt x="10727" y="5745"/>
                      <a:pt x="10760" y="5748"/>
                      <a:pt x="10792" y="5757"/>
                    </a:cubicBezTo>
                    <a:cubicBezTo>
                      <a:pt x="10842" y="5772"/>
                      <a:pt x="10887" y="5803"/>
                      <a:pt x="10924" y="5841"/>
                    </a:cubicBezTo>
                    <a:cubicBezTo>
                      <a:pt x="10976" y="5894"/>
                      <a:pt x="11014" y="5959"/>
                      <a:pt x="11036" y="6032"/>
                    </a:cubicBezTo>
                    <a:cubicBezTo>
                      <a:pt x="11037" y="6070"/>
                      <a:pt x="11050" y="6106"/>
                      <a:pt x="11073" y="6136"/>
                    </a:cubicBezTo>
                    <a:cubicBezTo>
                      <a:pt x="11105" y="6176"/>
                      <a:pt x="11151" y="6197"/>
                      <a:pt x="11198" y="6215"/>
                    </a:cubicBezTo>
                    <a:cubicBezTo>
                      <a:pt x="11235" y="6228"/>
                      <a:pt x="11272" y="6240"/>
                      <a:pt x="11309" y="6249"/>
                    </a:cubicBezTo>
                    <a:lnTo>
                      <a:pt x="11323" y="6403"/>
                    </a:lnTo>
                    <a:lnTo>
                      <a:pt x="11329" y="6534"/>
                    </a:lnTo>
                    <a:lnTo>
                      <a:pt x="11403" y="6648"/>
                    </a:lnTo>
                    <a:lnTo>
                      <a:pt x="11547" y="6749"/>
                    </a:lnTo>
                    <a:cubicBezTo>
                      <a:pt x="11589" y="6765"/>
                      <a:pt x="11635" y="6760"/>
                      <a:pt x="11672" y="6735"/>
                    </a:cubicBezTo>
                    <a:cubicBezTo>
                      <a:pt x="11760" y="6675"/>
                      <a:pt x="11771" y="6543"/>
                      <a:pt x="11695" y="6467"/>
                    </a:cubicBezTo>
                    <a:cubicBezTo>
                      <a:pt x="11673" y="6413"/>
                      <a:pt x="11648" y="6361"/>
                      <a:pt x="11621" y="6309"/>
                    </a:cubicBezTo>
                    <a:cubicBezTo>
                      <a:pt x="11573" y="6217"/>
                      <a:pt x="11519" y="6128"/>
                      <a:pt x="11458" y="6044"/>
                    </a:cubicBezTo>
                    <a:lnTo>
                      <a:pt x="11458" y="5953"/>
                    </a:lnTo>
                    <a:lnTo>
                      <a:pt x="11505" y="5842"/>
                    </a:lnTo>
                    <a:lnTo>
                      <a:pt x="11491" y="5746"/>
                    </a:lnTo>
                    <a:lnTo>
                      <a:pt x="11394" y="5687"/>
                    </a:lnTo>
                    <a:lnTo>
                      <a:pt x="11255" y="5608"/>
                    </a:lnTo>
                    <a:lnTo>
                      <a:pt x="11234" y="5437"/>
                    </a:lnTo>
                    <a:lnTo>
                      <a:pt x="11292" y="5363"/>
                    </a:lnTo>
                    <a:lnTo>
                      <a:pt x="11359" y="5363"/>
                    </a:lnTo>
                    <a:lnTo>
                      <a:pt x="11442" y="5413"/>
                    </a:lnTo>
                    <a:lnTo>
                      <a:pt x="11484" y="5501"/>
                    </a:lnTo>
                    <a:lnTo>
                      <a:pt x="11496" y="5603"/>
                    </a:lnTo>
                    <a:lnTo>
                      <a:pt x="11546" y="5684"/>
                    </a:lnTo>
                    <a:lnTo>
                      <a:pt x="11602" y="5755"/>
                    </a:lnTo>
                    <a:cubicBezTo>
                      <a:pt x="11632" y="5747"/>
                      <a:pt x="11659" y="5729"/>
                      <a:pt x="11678" y="5703"/>
                    </a:cubicBezTo>
                    <a:cubicBezTo>
                      <a:pt x="11720" y="5647"/>
                      <a:pt x="11720" y="5567"/>
                      <a:pt x="11678" y="5510"/>
                    </a:cubicBezTo>
                    <a:lnTo>
                      <a:pt x="11687" y="5305"/>
                    </a:lnTo>
                    <a:lnTo>
                      <a:pt x="11631" y="5137"/>
                    </a:lnTo>
                    <a:lnTo>
                      <a:pt x="11504" y="5001"/>
                    </a:lnTo>
                    <a:lnTo>
                      <a:pt x="11355" y="4959"/>
                    </a:lnTo>
                    <a:lnTo>
                      <a:pt x="11334" y="4831"/>
                    </a:lnTo>
                    <a:lnTo>
                      <a:pt x="11341" y="4729"/>
                    </a:lnTo>
                    <a:lnTo>
                      <a:pt x="11348" y="4507"/>
                    </a:lnTo>
                    <a:lnTo>
                      <a:pt x="11294" y="4448"/>
                    </a:lnTo>
                    <a:lnTo>
                      <a:pt x="11212" y="4396"/>
                    </a:lnTo>
                    <a:lnTo>
                      <a:pt x="11184" y="4307"/>
                    </a:lnTo>
                    <a:lnTo>
                      <a:pt x="11212" y="4203"/>
                    </a:lnTo>
                    <a:lnTo>
                      <a:pt x="11142" y="4028"/>
                    </a:lnTo>
                    <a:lnTo>
                      <a:pt x="11149" y="3859"/>
                    </a:lnTo>
                    <a:lnTo>
                      <a:pt x="11226" y="3845"/>
                    </a:lnTo>
                    <a:lnTo>
                      <a:pt x="11432" y="3859"/>
                    </a:lnTo>
                    <a:lnTo>
                      <a:pt x="11485" y="3771"/>
                    </a:lnTo>
                    <a:lnTo>
                      <a:pt x="11550" y="3741"/>
                    </a:lnTo>
                    <a:lnTo>
                      <a:pt x="11760" y="3790"/>
                    </a:lnTo>
                    <a:lnTo>
                      <a:pt x="11845" y="3861"/>
                    </a:lnTo>
                    <a:lnTo>
                      <a:pt x="11924" y="3913"/>
                    </a:lnTo>
                    <a:lnTo>
                      <a:pt x="12056" y="3943"/>
                    </a:lnTo>
                    <a:lnTo>
                      <a:pt x="12235" y="3948"/>
                    </a:lnTo>
                    <a:lnTo>
                      <a:pt x="12277" y="4074"/>
                    </a:lnTo>
                    <a:lnTo>
                      <a:pt x="12320" y="4299"/>
                    </a:lnTo>
                    <a:lnTo>
                      <a:pt x="12439" y="4425"/>
                    </a:lnTo>
                    <a:lnTo>
                      <a:pt x="12576" y="4455"/>
                    </a:lnTo>
                    <a:lnTo>
                      <a:pt x="12685" y="4418"/>
                    </a:lnTo>
                    <a:cubicBezTo>
                      <a:pt x="12703" y="4385"/>
                      <a:pt x="12717" y="4350"/>
                      <a:pt x="12727" y="4314"/>
                    </a:cubicBezTo>
                    <a:cubicBezTo>
                      <a:pt x="12750" y="4222"/>
                      <a:pt x="12742" y="4125"/>
                      <a:pt x="12706" y="4039"/>
                    </a:cubicBezTo>
                    <a:lnTo>
                      <a:pt x="12706" y="3894"/>
                    </a:lnTo>
                    <a:lnTo>
                      <a:pt x="12724" y="3822"/>
                    </a:lnTo>
                    <a:lnTo>
                      <a:pt x="12840" y="3889"/>
                    </a:lnTo>
                    <a:lnTo>
                      <a:pt x="12901" y="3933"/>
                    </a:lnTo>
                    <a:cubicBezTo>
                      <a:pt x="12943" y="3970"/>
                      <a:pt x="12987" y="4005"/>
                      <a:pt x="13033" y="4037"/>
                    </a:cubicBezTo>
                    <a:cubicBezTo>
                      <a:pt x="13072" y="4063"/>
                      <a:pt x="13112" y="4088"/>
                      <a:pt x="13153" y="4111"/>
                    </a:cubicBezTo>
                    <a:lnTo>
                      <a:pt x="13279" y="4204"/>
                    </a:lnTo>
                    <a:lnTo>
                      <a:pt x="13409" y="4320"/>
                    </a:lnTo>
                    <a:lnTo>
                      <a:pt x="13497" y="4426"/>
                    </a:lnTo>
                    <a:lnTo>
                      <a:pt x="13646" y="4604"/>
                    </a:lnTo>
                    <a:lnTo>
                      <a:pt x="13736" y="4662"/>
                    </a:lnTo>
                    <a:lnTo>
                      <a:pt x="13914" y="4702"/>
                    </a:lnTo>
                    <a:lnTo>
                      <a:pt x="14011" y="4724"/>
                    </a:lnTo>
                    <a:lnTo>
                      <a:pt x="14211" y="4717"/>
                    </a:lnTo>
                    <a:lnTo>
                      <a:pt x="14343" y="4746"/>
                    </a:lnTo>
                    <a:lnTo>
                      <a:pt x="14331" y="4858"/>
                    </a:lnTo>
                    <a:lnTo>
                      <a:pt x="14487" y="4917"/>
                    </a:lnTo>
                    <a:lnTo>
                      <a:pt x="14563" y="4932"/>
                    </a:lnTo>
                    <a:lnTo>
                      <a:pt x="14665" y="5055"/>
                    </a:lnTo>
                    <a:cubicBezTo>
                      <a:pt x="14686" y="5090"/>
                      <a:pt x="14708" y="5125"/>
                      <a:pt x="14730" y="5159"/>
                    </a:cubicBezTo>
                    <a:cubicBezTo>
                      <a:pt x="14787" y="5245"/>
                      <a:pt x="14849" y="5328"/>
                      <a:pt x="14916" y="5406"/>
                    </a:cubicBezTo>
                    <a:lnTo>
                      <a:pt x="14958" y="5478"/>
                    </a:lnTo>
                    <a:lnTo>
                      <a:pt x="14951" y="5594"/>
                    </a:lnTo>
                    <a:cubicBezTo>
                      <a:pt x="14966" y="5643"/>
                      <a:pt x="15001" y="5682"/>
                      <a:pt x="15046" y="5700"/>
                    </a:cubicBezTo>
                    <a:cubicBezTo>
                      <a:pt x="15081" y="5714"/>
                      <a:pt x="15120" y="5714"/>
                      <a:pt x="15155" y="5700"/>
                    </a:cubicBezTo>
                    <a:lnTo>
                      <a:pt x="15241" y="5610"/>
                    </a:lnTo>
                    <a:lnTo>
                      <a:pt x="15354" y="5635"/>
                    </a:lnTo>
                    <a:lnTo>
                      <a:pt x="15403" y="5723"/>
                    </a:lnTo>
                    <a:lnTo>
                      <a:pt x="15521" y="5750"/>
                    </a:lnTo>
                    <a:lnTo>
                      <a:pt x="15616" y="5755"/>
                    </a:lnTo>
                    <a:lnTo>
                      <a:pt x="15674" y="5874"/>
                    </a:lnTo>
                    <a:lnTo>
                      <a:pt x="15716" y="5943"/>
                    </a:lnTo>
                    <a:lnTo>
                      <a:pt x="15756" y="6020"/>
                    </a:lnTo>
                    <a:lnTo>
                      <a:pt x="15769" y="6098"/>
                    </a:lnTo>
                    <a:lnTo>
                      <a:pt x="15797" y="6229"/>
                    </a:lnTo>
                    <a:lnTo>
                      <a:pt x="15651" y="6288"/>
                    </a:lnTo>
                    <a:lnTo>
                      <a:pt x="15538" y="6288"/>
                    </a:lnTo>
                    <a:lnTo>
                      <a:pt x="15480" y="6363"/>
                    </a:lnTo>
                    <a:lnTo>
                      <a:pt x="15427" y="6491"/>
                    </a:lnTo>
                    <a:lnTo>
                      <a:pt x="15305" y="6481"/>
                    </a:lnTo>
                    <a:lnTo>
                      <a:pt x="15263" y="6414"/>
                    </a:lnTo>
                    <a:cubicBezTo>
                      <a:pt x="15274" y="6398"/>
                      <a:pt x="15284" y="6382"/>
                      <a:pt x="15295" y="6366"/>
                    </a:cubicBezTo>
                    <a:cubicBezTo>
                      <a:pt x="15305" y="6350"/>
                      <a:pt x="15315" y="6334"/>
                      <a:pt x="15326" y="6318"/>
                    </a:cubicBezTo>
                    <a:lnTo>
                      <a:pt x="15136" y="6399"/>
                    </a:lnTo>
                    <a:lnTo>
                      <a:pt x="15055" y="6480"/>
                    </a:lnTo>
                    <a:lnTo>
                      <a:pt x="14951" y="6532"/>
                    </a:lnTo>
                    <a:lnTo>
                      <a:pt x="14820" y="6525"/>
                    </a:lnTo>
                    <a:lnTo>
                      <a:pt x="14820" y="6431"/>
                    </a:lnTo>
                    <a:lnTo>
                      <a:pt x="14799" y="6330"/>
                    </a:lnTo>
                    <a:lnTo>
                      <a:pt x="14780" y="6258"/>
                    </a:lnTo>
                    <a:lnTo>
                      <a:pt x="14780" y="6120"/>
                    </a:lnTo>
                    <a:cubicBezTo>
                      <a:pt x="14775" y="6084"/>
                      <a:pt x="14770" y="6047"/>
                      <a:pt x="14766" y="6011"/>
                    </a:cubicBezTo>
                    <a:cubicBezTo>
                      <a:pt x="14757" y="5930"/>
                      <a:pt x="14751" y="5848"/>
                      <a:pt x="14748" y="5767"/>
                    </a:cubicBezTo>
                    <a:lnTo>
                      <a:pt x="14692" y="5626"/>
                    </a:lnTo>
                    <a:lnTo>
                      <a:pt x="14680" y="5534"/>
                    </a:lnTo>
                    <a:lnTo>
                      <a:pt x="14581" y="5665"/>
                    </a:lnTo>
                    <a:lnTo>
                      <a:pt x="14539" y="5840"/>
                    </a:lnTo>
                    <a:lnTo>
                      <a:pt x="14478" y="5951"/>
                    </a:lnTo>
                    <a:cubicBezTo>
                      <a:pt x="14456" y="5983"/>
                      <a:pt x="14429" y="6010"/>
                      <a:pt x="14397" y="6030"/>
                    </a:cubicBezTo>
                    <a:cubicBezTo>
                      <a:pt x="14341" y="6066"/>
                      <a:pt x="14276" y="6080"/>
                      <a:pt x="14214" y="6102"/>
                    </a:cubicBezTo>
                    <a:cubicBezTo>
                      <a:pt x="14166" y="6118"/>
                      <a:pt x="14120" y="6140"/>
                      <a:pt x="14077" y="6166"/>
                    </a:cubicBezTo>
                    <a:lnTo>
                      <a:pt x="14144" y="6237"/>
                    </a:lnTo>
                    <a:cubicBezTo>
                      <a:pt x="14183" y="6237"/>
                      <a:pt x="14222" y="6242"/>
                      <a:pt x="14260" y="6252"/>
                    </a:cubicBezTo>
                    <a:cubicBezTo>
                      <a:pt x="14308" y="6264"/>
                      <a:pt x="14354" y="6284"/>
                      <a:pt x="14397" y="6311"/>
                    </a:cubicBezTo>
                    <a:lnTo>
                      <a:pt x="14302" y="6422"/>
                    </a:lnTo>
                    <a:lnTo>
                      <a:pt x="14116" y="6399"/>
                    </a:lnTo>
                    <a:lnTo>
                      <a:pt x="14014" y="6392"/>
                    </a:lnTo>
                    <a:lnTo>
                      <a:pt x="13938" y="6311"/>
                    </a:lnTo>
                    <a:lnTo>
                      <a:pt x="13796" y="6355"/>
                    </a:lnTo>
                    <a:lnTo>
                      <a:pt x="13720" y="6390"/>
                    </a:lnTo>
                    <a:lnTo>
                      <a:pt x="13666" y="6473"/>
                    </a:lnTo>
                    <a:lnTo>
                      <a:pt x="13648" y="6629"/>
                    </a:lnTo>
                    <a:cubicBezTo>
                      <a:pt x="13623" y="6645"/>
                      <a:pt x="13599" y="6664"/>
                      <a:pt x="13579" y="6686"/>
                    </a:cubicBezTo>
                    <a:cubicBezTo>
                      <a:pt x="13547" y="6718"/>
                      <a:pt x="13521" y="6757"/>
                      <a:pt x="13502" y="6799"/>
                    </a:cubicBezTo>
                    <a:lnTo>
                      <a:pt x="13471" y="6886"/>
                    </a:lnTo>
                    <a:lnTo>
                      <a:pt x="13598" y="6791"/>
                    </a:lnTo>
                    <a:lnTo>
                      <a:pt x="13761" y="6628"/>
                    </a:lnTo>
                    <a:lnTo>
                      <a:pt x="13863" y="6539"/>
                    </a:lnTo>
                    <a:lnTo>
                      <a:pt x="14007" y="6524"/>
                    </a:lnTo>
                    <a:cubicBezTo>
                      <a:pt x="14032" y="6528"/>
                      <a:pt x="14056" y="6540"/>
                      <a:pt x="14076" y="6557"/>
                    </a:cubicBezTo>
                    <a:cubicBezTo>
                      <a:pt x="14122" y="6595"/>
                      <a:pt x="14143" y="6659"/>
                      <a:pt x="14130" y="6720"/>
                    </a:cubicBezTo>
                    <a:lnTo>
                      <a:pt x="14220" y="6892"/>
                    </a:lnTo>
                    <a:lnTo>
                      <a:pt x="14227" y="6989"/>
                    </a:lnTo>
                    <a:cubicBezTo>
                      <a:pt x="14208" y="7016"/>
                      <a:pt x="14211" y="7055"/>
                      <a:pt x="14234" y="7079"/>
                    </a:cubicBezTo>
                    <a:cubicBezTo>
                      <a:pt x="14303" y="7152"/>
                      <a:pt x="14415" y="7066"/>
                      <a:pt x="14371" y="6973"/>
                    </a:cubicBezTo>
                    <a:lnTo>
                      <a:pt x="14498" y="6973"/>
                    </a:lnTo>
                    <a:lnTo>
                      <a:pt x="14700" y="7015"/>
                    </a:lnTo>
                    <a:lnTo>
                      <a:pt x="14697" y="6827"/>
                    </a:lnTo>
                    <a:lnTo>
                      <a:pt x="14739" y="6696"/>
                    </a:lnTo>
                    <a:lnTo>
                      <a:pt x="14818" y="6696"/>
                    </a:lnTo>
                    <a:lnTo>
                      <a:pt x="14882" y="6777"/>
                    </a:lnTo>
                    <a:lnTo>
                      <a:pt x="14965" y="6878"/>
                    </a:lnTo>
                    <a:cubicBezTo>
                      <a:pt x="15005" y="6910"/>
                      <a:pt x="15027" y="6961"/>
                      <a:pt x="15025" y="7013"/>
                    </a:cubicBezTo>
                    <a:cubicBezTo>
                      <a:pt x="15023" y="7087"/>
                      <a:pt x="14976" y="7152"/>
                      <a:pt x="14909" y="7172"/>
                    </a:cubicBezTo>
                    <a:lnTo>
                      <a:pt x="14863" y="7275"/>
                    </a:lnTo>
                    <a:lnTo>
                      <a:pt x="14759" y="7388"/>
                    </a:lnTo>
                    <a:lnTo>
                      <a:pt x="14713" y="7589"/>
                    </a:lnTo>
                    <a:lnTo>
                      <a:pt x="14646" y="7618"/>
                    </a:lnTo>
                    <a:lnTo>
                      <a:pt x="14597" y="7756"/>
                    </a:lnTo>
                    <a:cubicBezTo>
                      <a:pt x="14605" y="7815"/>
                      <a:pt x="14590" y="7873"/>
                      <a:pt x="14556" y="7919"/>
                    </a:cubicBezTo>
                    <a:cubicBezTo>
                      <a:pt x="14517" y="7972"/>
                      <a:pt x="14457" y="8003"/>
                      <a:pt x="14394" y="8003"/>
                    </a:cubicBezTo>
                    <a:cubicBezTo>
                      <a:pt x="14339" y="8054"/>
                      <a:pt x="14257" y="8049"/>
                      <a:pt x="14208" y="7993"/>
                    </a:cubicBezTo>
                    <a:cubicBezTo>
                      <a:pt x="14161" y="7939"/>
                      <a:pt x="14161" y="7855"/>
                      <a:pt x="14208" y="7801"/>
                    </a:cubicBezTo>
                    <a:cubicBezTo>
                      <a:pt x="14245" y="7760"/>
                      <a:pt x="14270" y="7709"/>
                      <a:pt x="14278" y="7653"/>
                    </a:cubicBezTo>
                    <a:cubicBezTo>
                      <a:pt x="14287" y="7592"/>
                      <a:pt x="14276" y="7530"/>
                      <a:pt x="14248" y="7477"/>
                    </a:cubicBezTo>
                    <a:lnTo>
                      <a:pt x="14129" y="7739"/>
                    </a:lnTo>
                    <a:cubicBezTo>
                      <a:pt x="14099" y="7772"/>
                      <a:pt x="14069" y="7805"/>
                      <a:pt x="14038" y="7838"/>
                    </a:cubicBezTo>
                    <a:cubicBezTo>
                      <a:pt x="13983" y="7899"/>
                      <a:pt x="13927" y="7960"/>
                      <a:pt x="13874" y="8023"/>
                    </a:cubicBezTo>
                    <a:cubicBezTo>
                      <a:pt x="13811" y="8097"/>
                      <a:pt x="13750" y="8173"/>
                      <a:pt x="13692" y="8251"/>
                    </a:cubicBezTo>
                    <a:cubicBezTo>
                      <a:pt x="13674" y="8300"/>
                      <a:pt x="13662" y="8353"/>
                      <a:pt x="13658" y="8406"/>
                    </a:cubicBezTo>
                    <a:cubicBezTo>
                      <a:pt x="13652" y="8468"/>
                      <a:pt x="13657" y="8531"/>
                      <a:pt x="13671" y="8591"/>
                    </a:cubicBezTo>
                    <a:lnTo>
                      <a:pt x="13815" y="8608"/>
                    </a:lnTo>
                    <a:cubicBezTo>
                      <a:pt x="13848" y="8648"/>
                      <a:pt x="13863" y="8702"/>
                      <a:pt x="13854" y="8754"/>
                    </a:cubicBezTo>
                    <a:cubicBezTo>
                      <a:pt x="13842" y="8831"/>
                      <a:pt x="13785" y="8890"/>
                      <a:pt x="13713" y="8902"/>
                    </a:cubicBezTo>
                    <a:cubicBezTo>
                      <a:pt x="13663" y="8907"/>
                      <a:pt x="13617" y="8928"/>
                      <a:pt x="13578" y="8961"/>
                    </a:cubicBezTo>
                    <a:cubicBezTo>
                      <a:pt x="13521" y="9010"/>
                      <a:pt x="13486" y="9080"/>
                      <a:pt x="13457" y="9151"/>
                    </a:cubicBezTo>
                    <a:cubicBezTo>
                      <a:pt x="13436" y="9205"/>
                      <a:pt x="13417" y="9261"/>
                      <a:pt x="13390" y="9312"/>
                    </a:cubicBezTo>
                    <a:cubicBezTo>
                      <a:pt x="13361" y="9365"/>
                      <a:pt x="13323" y="9412"/>
                      <a:pt x="13290" y="9462"/>
                    </a:cubicBezTo>
                    <a:cubicBezTo>
                      <a:pt x="13253" y="9518"/>
                      <a:pt x="13221" y="9578"/>
                      <a:pt x="13195" y="9641"/>
                    </a:cubicBezTo>
                    <a:lnTo>
                      <a:pt x="13153" y="9816"/>
                    </a:lnTo>
                    <a:lnTo>
                      <a:pt x="13113" y="10014"/>
                    </a:lnTo>
                    <a:lnTo>
                      <a:pt x="13227" y="10272"/>
                    </a:lnTo>
                    <a:lnTo>
                      <a:pt x="13282" y="10524"/>
                    </a:lnTo>
                    <a:lnTo>
                      <a:pt x="13227" y="10658"/>
                    </a:lnTo>
                    <a:cubicBezTo>
                      <a:pt x="13128" y="10708"/>
                      <a:pt x="13040" y="10780"/>
                      <a:pt x="12969" y="10870"/>
                    </a:cubicBezTo>
                    <a:cubicBezTo>
                      <a:pt x="12918" y="10934"/>
                      <a:pt x="12878" y="11005"/>
                      <a:pt x="12834" y="11075"/>
                    </a:cubicBezTo>
                    <a:cubicBezTo>
                      <a:pt x="12768" y="11180"/>
                      <a:pt x="12696" y="11282"/>
                      <a:pt x="12646" y="11397"/>
                    </a:cubicBezTo>
                    <a:cubicBezTo>
                      <a:pt x="12614" y="11470"/>
                      <a:pt x="12591" y="11550"/>
                      <a:pt x="12537" y="11607"/>
                    </a:cubicBezTo>
                    <a:cubicBezTo>
                      <a:pt x="12460" y="11689"/>
                      <a:pt x="12338" y="11706"/>
                      <a:pt x="12270" y="11797"/>
                    </a:cubicBezTo>
                    <a:cubicBezTo>
                      <a:pt x="12214" y="11872"/>
                      <a:pt x="12209" y="11977"/>
                      <a:pt x="12258" y="12057"/>
                    </a:cubicBezTo>
                    <a:lnTo>
                      <a:pt x="12300" y="12215"/>
                    </a:lnTo>
                    <a:lnTo>
                      <a:pt x="12404" y="12462"/>
                    </a:lnTo>
                    <a:lnTo>
                      <a:pt x="12515" y="12738"/>
                    </a:lnTo>
                    <a:cubicBezTo>
                      <a:pt x="12556" y="12789"/>
                      <a:pt x="12589" y="12847"/>
                      <a:pt x="12613" y="12909"/>
                    </a:cubicBezTo>
                    <a:cubicBezTo>
                      <a:pt x="12652" y="13010"/>
                      <a:pt x="12665" y="13119"/>
                      <a:pt x="12662" y="13228"/>
                    </a:cubicBezTo>
                    <a:cubicBezTo>
                      <a:pt x="12659" y="13331"/>
                      <a:pt x="12641" y="13436"/>
                      <a:pt x="12587" y="13522"/>
                    </a:cubicBezTo>
                    <a:cubicBezTo>
                      <a:pt x="12538" y="13603"/>
                      <a:pt x="12461" y="13661"/>
                      <a:pt x="12374" y="13685"/>
                    </a:cubicBezTo>
                    <a:cubicBezTo>
                      <a:pt x="12357" y="13669"/>
                      <a:pt x="12345" y="13649"/>
                      <a:pt x="12339" y="13626"/>
                    </a:cubicBezTo>
                    <a:cubicBezTo>
                      <a:pt x="12321" y="13557"/>
                      <a:pt x="12355" y="13485"/>
                      <a:pt x="12418" y="13461"/>
                    </a:cubicBezTo>
                    <a:cubicBezTo>
                      <a:pt x="12408" y="13436"/>
                      <a:pt x="12396" y="13412"/>
                      <a:pt x="12384" y="13389"/>
                    </a:cubicBezTo>
                    <a:cubicBezTo>
                      <a:pt x="12346" y="13322"/>
                      <a:pt x="12297" y="13263"/>
                      <a:pt x="12240" y="13214"/>
                    </a:cubicBezTo>
                    <a:lnTo>
                      <a:pt x="12143" y="13081"/>
                    </a:lnTo>
                    <a:cubicBezTo>
                      <a:pt x="12128" y="13006"/>
                      <a:pt x="12114" y="12931"/>
                      <a:pt x="12101" y="12856"/>
                    </a:cubicBezTo>
                    <a:cubicBezTo>
                      <a:pt x="12089" y="12787"/>
                      <a:pt x="12076" y="12716"/>
                      <a:pt x="12043" y="12656"/>
                    </a:cubicBezTo>
                    <a:cubicBezTo>
                      <a:pt x="11992" y="12563"/>
                      <a:pt x="11903" y="12506"/>
                      <a:pt x="11804" y="12487"/>
                    </a:cubicBezTo>
                    <a:cubicBezTo>
                      <a:pt x="11728" y="12473"/>
                      <a:pt x="11650" y="12483"/>
                      <a:pt x="11578" y="12515"/>
                    </a:cubicBezTo>
                    <a:cubicBezTo>
                      <a:pt x="11541" y="12556"/>
                      <a:pt x="11487" y="12576"/>
                      <a:pt x="11433" y="12566"/>
                    </a:cubicBezTo>
                    <a:cubicBezTo>
                      <a:pt x="11359" y="12553"/>
                      <a:pt x="11303" y="12489"/>
                      <a:pt x="11294" y="12410"/>
                    </a:cubicBezTo>
                    <a:lnTo>
                      <a:pt x="11069" y="12447"/>
                    </a:lnTo>
                    <a:lnTo>
                      <a:pt x="10769" y="12485"/>
                    </a:lnTo>
                    <a:cubicBezTo>
                      <a:pt x="10692" y="12422"/>
                      <a:pt x="10581" y="12447"/>
                      <a:pt x="10533" y="12536"/>
                    </a:cubicBezTo>
                    <a:cubicBezTo>
                      <a:pt x="10477" y="12642"/>
                      <a:pt x="10535" y="12774"/>
                      <a:pt x="10647" y="12796"/>
                    </a:cubicBezTo>
                    <a:cubicBezTo>
                      <a:pt x="10640" y="12843"/>
                      <a:pt x="10601" y="12878"/>
                      <a:pt x="10556" y="12878"/>
                    </a:cubicBezTo>
                    <a:cubicBezTo>
                      <a:pt x="10517" y="12877"/>
                      <a:pt x="10484" y="12849"/>
                      <a:pt x="10448" y="12833"/>
                    </a:cubicBezTo>
                    <a:cubicBezTo>
                      <a:pt x="10387" y="12806"/>
                      <a:pt x="10318" y="12811"/>
                      <a:pt x="10262" y="12848"/>
                    </a:cubicBezTo>
                    <a:lnTo>
                      <a:pt x="9890" y="12736"/>
                    </a:lnTo>
                    <a:lnTo>
                      <a:pt x="9698" y="12744"/>
                    </a:lnTo>
                    <a:lnTo>
                      <a:pt x="9561" y="12781"/>
                    </a:lnTo>
                    <a:cubicBezTo>
                      <a:pt x="9511" y="12813"/>
                      <a:pt x="9459" y="12842"/>
                      <a:pt x="9405" y="12868"/>
                    </a:cubicBezTo>
                    <a:cubicBezTo>
                      <a:pt x="9327" y="12905"/>
                      <a:pt x="9245" y="12935"/>
                      <a:pt x="9161" y="12957"/>
                    </a:cubicBezTo>
                    <a:cubicBezTo>
                      <a:pt x="9135" y="12986"/>
                      <a:pt x="9104" y="13011"/>
                      <a:pt x="9071" y="13031"/>
                    </a:cubicBezTo>
                    <a:cubicBezTo>
                      <a:pt x="8994" y="13076"/>
                      <a:pt x="8903" y="13092"/>
                      <a:pt x="8837" y="13154"/>
                    </a:cubicBezTo>
                    <a:cubicBezTo>
                      <a:pt x="8802" y="13187"/>
                      <a:pt x="8777" y="13230"/>
                      <a:pt x="8765" y="13278"/>
                    </a:cubicBezTo>
                    <a:cubicBezTo>
                      <a:pt x="8753" y="13328"/>
                      <a:pt x="8742" y="13379"/>
                      <a:pt x="8730" y="13429"/>
                    </a:cubicBezTo>
                    <a:cubicBezTo>
                      <a:pt x="8716" y="13488"/>
                      <a:pt x="8701" y="13548"/>
                      <a:pt x="8686" y="13607"/>
                    </a:cubicBezTo>
                    <a:lnTo>
                      <a:pt x="8681" y="13783"/>
                    </a:lnTo>
                    <a:cubicBezTo>
                      <a:pt x="8682" y="13874"/>
                      <a:pt x="8671" y="13964"/>
                      <a:pt x="8649" y="14052"/>
                    </a:cubicBezTo>
                    <a:cubicBezTo>
                      <a:pt x="8626" y="14140"/>
                      <a:pt x="8593" y="14224"/>
                      <a:pt x="8549" y="14302"/>
                    </a:cubicBezTo>
                    <a:cubicBezTo>
                      <a:pt x="8561" y="14389"/>
                      <a:pt x="8581" y="14474"/>
                      <a:pt x="8607" y="14557"/>
                    </a:cubicBezTo>
                    <a:cubicBezTo>
                      <a:pt x="8651" y="14698"/>
                      <a:pt x="8715" y="14833"/>
                      <a:pt x="8795" y="14955"/>
                    </a:cubicBezTo>
                    <a:lnTo>
                      <a:pt x="8872" y="15104"/>
                    </a:lnTo>
                    <a:lnTo>
                      <a:pt x="8990" y="15311"/>
                    </a:lnTo>
                    <a:cubicBezTo>
                      <a:pt x="9060" y="15309"/>
                      <a:pt x="9128" y="15325"/>
                      <a:pt x="9192" y="15356"/>
                    </a:cubicBezTo>
                    <a:cubicBezTo>
                      <a:pt x="9236" y="15378"/>
                      <a:pt x="9277" y="15408"/>
                      <a:pt x="9322" y="15430"/>
                    </a:cubicBezTo>
                    <a:cubicBezTo>
                      <a:pt x="9377" y="15457"/>
                      <a:pt x="9437" y="15472"/>
                      <a:pt x="9498" y="15479"/>
                    </a:cubicBezTo>
                    <a:cubicBezTo>
                      <a:pt x="9657" y="15497"/>
                      <a:pt x="9815" y="15460"/>
                      <a:pt x="9969" y="15415"/>
                    </a:cubicBezTo>
                    <a:cubicBezTo>
                      <a:pt x="10055" y="15390"/>
                      <a:pt x="10140" y="15363"/>
                      <a:pt x="10224" y="15333"/>
                    </a:cubicBezTo>
                    <a:cubicBezTo>
                      <a:pt x="10255" y="15283"/>
                      <a:pt x="10280" y="15230"/>
                      <a:pt x="10298" y="15173"/>
                    </a:cubicBezTo>
                    <a:cubicBezTo>
                      <a:pt x="10323" y="15097"/>
                      <a:pt x="10335" y="15016"/>
                      <a:pt x="10333" y="14936"/>
                    </a:cubicBezTo>
                    <a:lnTo>
                      <a:pt x="10419" y="14730"/>
                    </a:lnTo>
                    <a:lnTo>
                      <a:pt x="10705" y="14612"/>
                    </a:lnTo>
                    <a:lnTo>
                      <a:pt x="10907" y="14582"/>
                    </a:lnTo>
                    <a:lnTo>
                      <a:pt x="11139" y="14560"/>
                    </a:lnTo>
                    <a:lnTo>
                      <a:pt x="11290" y="14604"/>
                    </a:lnTo>
                    <a:lnTo>
                      <a:pt x="11318" y="14728"/>
                    </a:lnTo>
                    <a:cubicBezTo>
                      <a:pt x="11308" y="14764"/>
                      <a:pt x="11292" y="14798"/>
                      <a:pt x="11272" y="14828"/>
                    </a:cubicBezTo>
                    <a:cubicBezTo>
                      <a:pt x="11236" y="14881"/>
                      <a:pt x="11187" y="14922"/>
                      <a:pt x="11130" y="14947"/>
                    </a:cubicBezTo>
                    <a:cubicBezTo>
                      <a:pt x="11128" y="15011"/>
                      <a:pt x="11128" y="15075"/>
                      <a:pt x="11130" y="15139"/>
                    </a:cubicBezTo>
                    <a:cubicBezTo>
                      <a:pt x="11132" y="15208"/>
                      <a:pt x="11137" y="15278"/>
                      <a:pt x="11119" y="15344"/>
                    </a:cubicBezTo>
                    <a:cubicBezTo>
                      <a:pt x="11101" y="15410"/>
                      <a:pt x="11062" y="15466"/>
                      <a:pt x="11009" y="15505"/>
                    </a:cubicBezTo>
                    <a:cubicBezTo>
                      <a:pt x="11037" y="15517"/>
                      <a:pt x="11060" y="15540"/>
                      <a:pt x="11072" y="15569"/>
                    </a:cubicBezTo>
                    <a:cubicBezTo>
                      <a:pt x="11115" y="15670"/>
                      <a:pt x="11039" y="15782"/>
                      <a:pt x="10935" y="15772"/>
                    </a:cubicBezTo>
                    <a:cubicBezTo>
                      <a:pt x="10909" y="15783"/>
                      <a:pt x="10889" y="15807"/>
                      <a:pt x="10882" y="15836"/>
                    </a:cubicBezTo>
                    <a:cubicBezTo>
                      <a:pt x="10871" y="15877"/>
                      <a:pt x="10886" y="15921"/>
                      <a:pt x="10916" y="15949"/>
                    </a:cubicBezTo>
                    <a:cubicBezTo>
                      <a:pt x="10994" y="16022"/>
                      <a:pt x="11116" y="15982"/>
                      <a:pt x="11142" y="15875"/>
                    </a:cubicBezTo>
                    <a:lnTo>
                      <a:pt x="11369" y="15757"/>
                    </a:lnTo>
                    <a:cubicBezTo>
                      <a:pt x="11387" y="15722"/>
                      <a:pt x="11410" y="15692"/>
                      <a:pt x="11439" y="15668"/>
                    </a:cubicBezTo>
                    <a:cubicBezTo>
                      <a:pt x="11497" y="15617"/>
                      <a:pt x="11572" y="15593"/>
                      <a:pt x="11647" y="15601"/>
                    </a:cubicBezTo>
                    <a:cubicBezTo>
                      <a:pt x="11673" y="15627"/>
                      <a:pt x="11685" y="15663"/>
                      <a:pt x="11682" y="15700"/>
                    </a:cubicBezTo>
                    <a:cubicBezTo>
                      <a:pt x="11679" y="15738"/>
                      <a:pt x="11662" y="15770"/>
                      <a:pt x="11634" y="15789"/>
                    </a:cubicBezTo>
                    <a:cubicBezTo>
                      <a:pt x="11584" y="15823"/>
                      <a:pt x="11514" y="15805"/>
                      <a:pt x="11487" y="15742"/>
                    </a:cubicBezTo>
                    <a:lnTo>
                      <a:pt x="11471" y="15865"/>
                    </a:lnTo>
                    <a:lnTo>
                      <a:pt x="11715" y="15865"/>
                    </a:lnTo>
                    <a:lnTo>
                      <a:pt x="11945" y="15842"/>
                    </a:lnTo>
                    <a:lnTo>
                      <a:pt x="12161" y="15860"/>
                    </a:lnTo>
                    <a:lnTo>
                      <a:pt x="12272" y="15949"/>
                    </a:lnTo>
                    <a:cubicBezTo>
                      <a:pt x="12282" y="15999"/>
                      <a:pt x="12277" y="16052"/>
                      <a:pt x="12259" y="16099"/>
                    </a:cubicBezTo>
                    <a:cubicBezTo>
                      <a:pt x="12238" y="16156"/>
                      <a:pt x="12199" y="16203"/>
                      <a:pt x="12150" y="16233"/>
                    </a:cubicBezTo>
                    <a:lnTo>
                      <a:pt x="12124" y="16495"/>
                    </a:lnTo>
                    <a:lnTo>
                      <a:pt x="12150" y="16676"/>
                    </a:lnTo>
                    <a:lnTo>
                      <a:pt x="12166" y="16791"/>
                    </a:lnTo>
                    <a:lnTo>
                      <a:pt x="12236" y="16910"/>
                    </a:lnTo>
                    <a:lnTo>
                      <a:pt x="12340" y="17004"/>
                    </a:lnTo>
                    <a:lnTo>
                      <a:pt x="12530" y="17140"/>
                    </a:lnTo>
                    <a:lnTo>
                      <a:pt x="12662" y="17184"/>
                    </a:lnTo>
                    <a:cubicBezTo>
                      <a:pt x="12691" y="17185"/>
                      <a:pt x="12720" y="17183"/>
                      <a:pt x="12748" y="17177"/>
                    </a:cubicBezTo>
                    <a:cubicBezTo>
                      <a:pt x="12813" y="17164"/>
                      <a:pt x="12873" y="17133"/>
                      <a:pt x="12924" y="17088"/>
                    </a:cubicBezTo>
                    <a:cubicBezTo>
                      <a:pt x="12961" y="17031"/>
                      <a:pt x="13014" y="16988"/>
                      <a:pt x="13075" y="16965"/>
                    </a:cubicBezTo>
                    <a:cubicBezTo>
                      <a:pt x="13126" y="16945"/>
                      <a:pt x="13182" y="16940"/>
                      <a:pt x="13235" y="16950"/>
                    </a:cubicBezTo>
                    <a:cubicBezTo>
                      <a:pt x="13325" y="16961"/>
                      <a:pt x="13415" y="16973"/>
                      <a:pt x="13505" y="16987"/>
                    </a:cubicBezTo>
                    <a:cubicBezTo>
                      <a:pt x="13590" y="17000"/>
                      <a:pt x="13675" y="17014"/>
                      <a:pt x="13760" y="17029"/>
                    </a:cubicBezTo>
                    <a:cubicBezTo>
                      <a:pt x="13780" y="17020"/>
                      <a:pt x="13800" y="17008"/>
                      <a:pt x="13818" y="16994"/>
                    </a:cubicBezTo>
                    <a:cubicBezTo>
                      <a:pt x="13861" y="16962"/>
                      <a:pt x="13896" y="16918"/>
                      <a:pt x="13920" y="16868"/>
                    </a:cubicBezTo>
                    <a:cubicBezTo>
                      <a:pt x="13958" y="16829"/>
                      <a:pt x="13988" y="16782"/>
                      <a:pt x="14008" y="16730"/>
                    </a:cubicBezTo>
                    <a:cubicBezTo>
                      <a:pt x="14027" y="16682"/>
                      <a:pt x="14036" y="16630"/>
                      <a:pt x="14036" y="16577"/>
                    </a:cubicBezTo>
                    <a:lnTo>
                      <a:pt x="14105" y="16446"/>
                    </a:lnTo>
                    <a:lnTo>
                      <a:pt x="14184" y="16355"/>
                    </a:lnTo>
                    <a:lnTo>
                      <a:pt x="14303" y="16315"/>
                    </a:lnTo>
                    <a:lnTo>
                      <a:pt x="14386" y="16229"/>
                    </a:lnTo>
                    <a:lnTo>
                      <a:pt x="14463" y="16155"/>
                    </a:lnTo>
                    <a:lnTo>
                      <a:pt x="14572" y="16091"/>
                    </a:lnTo>
                    <a:lnTo>
                      <a:pt x="14694" y="16026"/>
                    </a:lnTo>
                    <a:lnTo>
                      <a:pt x="14775" y="15863"/>
                    </a:lnTo>
                    <a:lnTo>
                      <a:pt x="14865" y="15780"/>
                    </a:lnTo>
                    <a:lnTo>
                      <a:pt x="15009" y="15717"/>
                    </a:lnTo>
                    <a:lnTo>
                      <a:pt x="15065" y="15847"/>
                    </a:lnTo>
                    <a:lnTo>
                      <a:pt x="14965" y="15940"/>
                    </a:lnTo>
                    <a:cubicBezTo>
                      <a:pt x="14932" y="15958"/>
                      <a:pt x="14915" y="15998"/>
                      <a:pt x="14924" y="16036"/>
                    </a:cubicBezTo>
                    <a:cubicBezTo>
                      <a:pt x="14946" y="16129"/>
                      <a:pt x="15067" y="16139"/>
                      <a:pt x="15103" y="16051"/>
                    </a:cubicBezTo>
                    <a:lnTo>
                      <a:pt x="15193" y="15920"/>
                    </a:lnTo>
                    <a:lnTo>
                      <a:pt x="15214" y="15722"/>
                    </a:lnTo>
                    <a:cubicBezTo>
                      <a:pt x="15240" y="15695"/>
                      <a:pt x="15275" y="15682"/>
                      <a:pt x="15311" y="15686"/>
                    </a:cubicBezTo>
                    <a:cubicBezTo>
                      <a:pt x="15369" y="15692"/>
                      <a:pt x="15415" y="15740"/>
                      <a:pt x="15472" y="15750"/>
                    </a:cubicBezTo>
                    <a:cubicBezTo>
                      <a:pt x="15522" y="15759"/>
                      <a:pt x="15573" y="15736"/>
                      <a:pt x="15622" y="15750"/>
                    </a:cubicBezTo>
                    <a:cubicBezTo>
                      <a:pt x="15665" y="15761"/>
                      <a:pt x="15697" y="15796"/>
                      <a:pt x="15708" y="15841"/>
                    </a:cubicBezTo>
                    <a:lnTo>
                      <a:pt x="15897" y="15759"/>
                    </a:lnTo>
                    <a:cubicBezTo>
                      <a:pt x="15912" y="15738"/>
                      <a:pt x="15931" y="15720"/>
                      <a:pt x="15952" y="15705"/>
                    </a:cubicBezTo>
                    <a:cubicBezTo>
                      <a:pt x="16001" y="15671"/>
                      <a:pt x="16061" y="15658"/>
                      <a:pt x="16119" y="15668"/>
                    </a:cubicBezTo>
                    <a:cubicBezTo>
                      <a:pt x="16169" y="15681"/>
                      <a:pt x="16221" y="15683"/>
                      <a:pt x="16273" y="15676"/>
                    </a:cubicBezTo>
                    <a:cubicBezTo>
                      <a:pt x="16322" y="15668"/>
                      <a:pt x="16370" y="15652"/>
                      <a:pt x="16414" y="15626"/>
                    </a:cubicBezTo>
                    <a:cubicBezTo>
                      <a:pt x="16471" y="15600"/>
                      <a:pt x="16522" y="15564"/>
                      <a:pt x="16568" y="15520"/>
                    </a:cubicBezTo>
                    <a:cubicBezTo>
                      <a:pt x="16610" y="15478"/>
                      <a:pt x="16646" y="15430"/>
                      <a:pt x="16674" y="15376"/>
                    </a:cubicBezTo>
                    <a:cubicBezTo>
                      <a:pt x="16701" y="15337"/>
                      <a:pt x="16735" y="15305"/>
                      <a:pt x="16774" y="15280"/>
                    </a:cubicBezTo>
                    <a:cubicBezTo>
                      <a:pt x="16825" y="15248"/>
                      <a:pt x="16882" y="15230"/>
                      <a:pt x="16941" y="15228"/>
                    </a:cubicBezTo>
                    <a:lnTo>
                      <a:pt x="16912" y="15376"/>
                    </a:lnTo>
                    <a:lnTo>
                      <a:pt x="17051" y="15371"/>
                    </a:lnTo>
                    <a:lnTo>
                      <a:pt x="17222" y="15364"/>
                    </a:lnTo>
                    <a:lnTo>
                      <a:pt x="17277" y="15457"/>
                    </a:lnTo>
                    <a:lnTo>
                      <a:pt x="17382" y="15457"/>
                    </a:lnTo>
                    <a:lnTo>
                      <a:pt x="17563" y="15484"/>
                    </a:lnTo>
                    <a:cubicBezTo>
                      <a:pt x="17620" y="15517"/>
                      <a:pt x="17682" y="15541"/>
                      <a:pt x="17745" y="15558"/>
                    </a:cubicBezTo>
                    <a:cubicBezTo>
                      <a:pt x="17822" y="15578"/>
                      <a:pt x="17901" y="15585"/>
                      <a:pt x="17980" y="15580"/>
                    </a:cubicBezTo>
                    <a:cubicBezTo>
                      <a:pt x="18020" y="15573"/>
                      <a:pt x="18059" y="15561"/>
                      <a:pt x="18096" y="15543"/>
                    </a:cubicBezTo>
                    <a:cubicBezTo>
                      <a:pt x="18150" y="15518"/>
                      <a:pt x="18199" y="15483"/>
                      <a:pt x="18251" y="15454"/>
                    </a:cubicBezTo>
                    <a:cubicBezTo>
                      <a:pt x="18310" y="15421"/>
                      <a:pt x="18373" y="15396"/>
                      <a:pt x="18437" y="15378"/>
                    </a:cubicBezTo>
                    <a:cubicBezTo>
                      <a:pt x="18482" y="15358"/>
                      <a:pt x="18526" y="15337"/>
                      <a:pt x="18569" y="15316"/>
                    </a:cubicBezTo>
                    <a:cubicBezTo>
                      <a:pt x="18610" y="15296"/>
                      <a:pt x="18651" y="15275"/>
                      <a:pt x="18694" y="15261"/>
                    </a:cubicBezTo>
                    <a:cubicBezTo>
                      <a:pt x="18742" y="15247"/>
                      <a:pt x="18791" y="15242"/>
                      <a:pt x="18840" y="15246"/>
                    </a:cubicBezTo>
                    <a:lnTo>
                      <a:pt x="18942" y="15232"/>
                    </a:lnTo>
                    <a:lnTo>
                      <a:pt x="19062" y="15343"/>
                    </a:lnTo>
                    <a:lnTo>
                      <a:pt x="19037" y="15464"/>
                    </a:lnTo>
                    <a:lnTo>
                      <a:pt x="19096" y="15522"/>
                    </a:lnTo>
                    <a:lnTo>
                      <a:pt x="19177" y="15535"/>
                    </a:lnTo>
                    <a:cubicBezTo>
                      <a:pt x="19178" y="15563"/>
                      <a:pt x="19179" y="15591"/>
                      <a:pt x="19180" y="15619"/>
                    </a:cubicBezTo>
                    <a:cubicBezTo>
                      <a:pt x="19180" y="15657"/>
                      <a:pt x="19180" y="15696"/>
                      <a:pt x="19180" y="15735"/>
                    </a:cubicBezTo>
                    <a:cubicBezTo>
                      <a:pt x="19210" y="15759"/>
                      <a:pt x="19244" y="15776"/>
                      <a:pt x="19281" y="15784"/>
                    </a:cubicBezTo>
                    <a:cubicBezTo>
                      <a:pt x="19315" y="15791"/>
                      <a:pt x="19350" y="15791"/>
                      <a:pt x="19383" y="15784"/>
                    </a:cubicBezTo>
                    <a:lnTo>
                      <a:pt x="19461" y="15703"/>
                    </a:lnTo>
                    <a:lnTo>
                      <a:pt x="19622" y="15601"/>
                    </a:lnTo>
                    <a:lnTo>
                      <a:pt x="19682" y="15557"/>
                    </a:lnTo>
                    <a:lnTo>
                      <a:pt x="19823" y="15461"/>
                    </a:lnTo>
                    <a:lnTo>
                      <a:pt x="19946" y="15414"/>
                    </a:lnTo>
                    <a:lnTo>
                      <a:pt x="20087" y="15436"/>
                    </a:lnTo>
                    <a:lnTo>
                      <a:pt x="20392" y="15113"/>
                    </a:lnTo>
                    <a:cubicBezTo>
                      <a:pt x="20433" y="15083"/>
                      <a:pt x="20473" y="15051"/>
                      <a:pt x="20510" y="15016"/>
                    </a:cubicBezTo>
                    <a:cubicBezTo>
                      <a:pt x="20554" y="14975"/>
                      <a:pt x="20595" y="14931"/>
                      <a:pt x="20633" y="14883"/>
                    </a:cubicBezTo>
                    <a:cubicBezTo>
                      <a:pt x="20671" y="14828"/>
                      <a:pt x="20703" y="14769"/>
                      <a:pt x="20731" y="14708"/>
                    </a:cubicBezTo>
                    <a:cubicBezTo>
                      <a:pt x="20760" y="14642"/>
                      <a:pt x="20782" y="14573"/>
                      <a:pt x="20798" y="14502"/>
                    </a:cubicBezTo>
                    <a:lnTo>
                      <a:pt x="20854" y="14369"/>
                    </a:lnTo>
                    <a:lnTo>
                      <a:pt x="21220" y="14097"/>
                    </a:lnTo>
                    <a:lnTo>
                      <a:pt x="21600" y="13667"/>
                    </a:lnTo>
                    <a:cubicBezTo>
                      <a:pt x="20995" y="15418"/>
                      <a:pt x="20065" y="17021"/>
                      <a:pt x="18866" y="18381"/>
                    </a:cubicBezTo>
                    <a:cubicBezTo>
                      <a:pt x="17655" y="19753"/>
                      <a:pt x="16194" y="20848"/>
                      <a:pt x="14574" y="21600"/>
                    </a:cubicBezTo>
                    <a:lnTo>
                      <a:pt x="14750" y="20991"/>
                    </a:lnTo>
                    <a:lnTo>
                      <a:pt x="14599" y="20978"/>
                    </a:lnTo>
                    <a:lnTo>
                      <a:pt x="14486" y="20965"/>
                    </a:lnTo>
                    <a:lnTo>
                      <a:pt x="14417" y="20987"/>
                    </a:lnTo>
                    <a:lnTo>
                      <a:pt x="14284" y="21002"/>
                    </a:lnTo>
                    <a:lnTo>
                      <a:pt x="14142" y="21022"/>
                    </a:lnTo>
                    <a:cubicBezTo>
                      <a:pt x="14098" y="21025"/>
                      <a:pt x="14053" y="21027"/>
                      <a:pt x="14008" y="21029"/>
                    </a:cubicBezTo>
                    <a:cubicBezTo>
                      <a:pt x="13951" y="21032"/>
                      <a:pt x="13895" y="21035"/>
                      <a:pt x="13838" y="21037"/>
                    </a:cubicBezTo>
                    <a:lnTo>
                      <a:pt x="13664" y="21022"/>
                    </a:lnTo>
                    <a:lnTo>
                      <a:pt x="13606" y="20927"/>
                    </a:lnTo>
                    <a:lnTo>
                      <a:pt x="13627" y="20853"/>
                    </a:lnTo>
                    <a:lnTo>
                      <a:pt x="13627" y="20782"/>
                    </a:lnTo>
                    <a:cubicBezTo>
                      <a:pt x="13595" y="20753"/>
                      <a:pt x="13563" y="20725"/>
                      <a:pt x="13532" y="20695"/>
                    </a:cubicBezTo>
                    <a:cubicBezTo>
                      <a:pt x="13497" y="20661"/>
                      <a:pt x="13462" y="20627"/>
                      <a:pt x="13428" y="20591"/>
                    </a:cubicBezTo>
                    <a:lnTo>
                      <a:pt x="13262" y="20421"/>
                    </a:lnTo>
                    <a:lnTo>
                      <a:pt x="13165" y="20251"/>
                    </a:lnTo>
                    <a:lnTo>
                      <a:pt x="13097" y="20206"/>
                    </a:lnTo>
                    <a:lnTo>
                      <a:pt x="12974" y="20132"/>
                    </a:lnTo>
                    <a:lnTo>
                      <a:pt x="12851" y="20147"/>
                    </a:lnTo>
                    <a:lnTo>
                      <a:pt x="12679" y="20118"/>
                    </a:lnTo>
                    <a:lnTo>
                      <a:pt x="12675" y="20031"/>
                    </a:lnTo>
                    <a:lnTo>
                      <a:pt x="12730" y="19989"/>
                    </a:lnTo>
                    <a:lnTo>
                      <a:pt x="12668" y="19829"/>
                    </a:lnTo>
                    <a:lnTo>
                      <a:pt x="12668" y="19747"/>
                    </a:lnTo>
                    <a:lnTo>
                      <a:pt x="12772" y="19680"/>
                    </a:lnTo>
                    <a:lnTo>
                      <a:pt x="12881" y="19598"/>
                    </a:lnTo>
                    <a:lnTo>
                      <a:pt x="12969" y="19517"/>
                    </a:lnTo>
                    <a:lnTo>
                      <a:pt x="12869" y="19465"/>
                    </a:lnTo>
                    <a:lnTo>
                      <a:pt x="12831" y="19350"/>
                    </a:lnTo>
                    <a:lnTo>
                      <a:pt x="12879" y="19115"/>
                    </a:lnTo>
                    <a:lnTo>
                      <a:pt x="12946" y="19011"/>
                    </a:lnTo>
                    <a:lnTo>
                      <a:pt x="12995" y="18937"/>
                    </a:lnTo>
                    <a:lnTo>
                      <a:pt x="13009" y="18841"/>
                    </a:lnTo>
                    <a:cubicBezTo>
                      <a:pt x="13038" y="18804"/>
                      <a:pt x="13071" y="18771"/>
                      <a:pt x="13108" y="18742"/>
                    </a:cubicBezTo>
                    <a:cubicBezTo>
                      <a:pt x="13140" y="18717"/>
                      <a:pt x="13175" y="18696"/>
                      <a:pt x="13212" y="18678"/>
                    </a:cubicBezTo>
                    <a:lnTo>
                      <a:pt x="13399" y="18498"/>
                    </a:lnTo>
                    <a:lnTo>
                      <a:pt x="13532" y="18261"/>
                    </a:lnTo>
                    <a:lnTo>
                      <a:pt x="13641" y="18101"/>
                    </a:lnTo>
                    <a:lnTo>
                      <a:pt x="13641" y="18005"/>
                    </a:lnTo>
                    <a:lnTo>
                      <a:pt x="13634" y="17908"/>
                    </a:lnTo>
                    <a:lnTo>
                      <a:pt x="13648" y="17834"/>
                    </a:lnTo>
                    <a:lnTo>
                      <a:pt x="13661" y="17694"/>
                    </a:lnTo>
                    <a:lnTo>
                      <a:pt x="13654" y="17501"/>
                    </a:lnTo>
                    <a:cubicBezTo>
                      <a:pt x="13611" y="17467"/>
                      <a:pt x="13568" y="17434"/>
                      <a:pt x="13525" y="17400"/>
                    </a:cubicBezTo>
                    <a:cubicBezTo>
                      <a:pt x="13480" y="17366"/>
                      <a:pt x="13435" y="17332"/>
                      <a:pt x="13390" y="17299"/>
                    </a:cubicBezTo>
                    <a:lnTo>
                      <a:pt x="13335" y="17173"/>
                    </a:lnTo>
                    <a:lnTo>
                      <a:pt x="13154" y="17136"/>
                    </a:lnTo>
                    <a:lnTo>
                      <a:pt x="13110" y="17213"/>
                    </a:lnTo>
                    <a:lnTo>
                      <a:pt x="13008" y="17257"/>
                    </a:lnTo>
                    <a:lnTo>
                      <a:pt x="13002" y="17382"/>
                    </a:lnTo>
                    <a:lnTo>
                      <a:pt x="12925" y="17476"/>
                    </a:lnTo>
                    <a:lnTo>
                      <a:pt x="12807" y="17491"/>
                    </a:lnTo>
                    <a:lnTo>
                      <a:pt x="12693" y="17491"/>
                    </a:lnTo>
                    <a:cubicBezTo>
                      <a:pt x="12657" y="17497"/>
                      <a:pt x="12619" y="17499"/>
                      <a:pt x="12582" y="17498"/>
                    </a:cubicBezTo>
                    <a:cubicBezTo>
                      <a:pt x="12512" y="17497"/>
                      <a:pt x="12442" y="17484"/>
                      <a:pt x="12376" y="17461"/>
                    </a:cubicBezTo>
                    <a:lnTo>
                      <a:pt x="12230" y="17439"/>
                    </a:lnTo>
                    <a:lnTo>
                      <a:pt x="12087" y="17417"/>
                    </a:lnTo>
                    <a:lnTo>
                      <a:pt x="12040" y="17293"/>
                    </a:lnTo>
                    <a:lnTo>
                      <a:pt x="11943" y="17278"/>
                    </a:lnTo>
                    <a:lnTo>
                      <a:pt x="11832" y="17271"/>
                    </a:lnTo>
                    <a:lnTo>
                      <a:pt x="11684" y="17240"/>
                    </a:lnTo>
                    <a:lnTo>
                      <a:pt x="11594" y="17210"/>
                    </a:lnTo>
                    <a:lnTo>
                      <a:pt x="11536" y="17052"/>
                    </a:lnTo>
                    <a:lnTo>
                      <a:pt x="11497" y="16966"/>
                    </a:lnTo>
                    <a:lnTo>
                      <a:pt x="11294" y="16770"/>
                    </a:lnTo>
                    <a:lnTo>
                      <a:pt x="11162" y="16667"/>
                    </a:lnTo>
                    <a:lnTo>
                      <a:pt x="11021" y="16602"/>
                    </a:lnTo>
                    <a:lnTo>
                      <a:pt x="10879" y="16600"/>
                    </a:lnTo>
                    <a:lnTo>
                      <a:pt x="10582" y="16570"/>
                    </a:lnTo>
                    <a:lnTo>
                      <a:pt x="10482" y="16514"/>
                    </a:lnTo>
                    <a:lnTo>
                      <a:pt x="10260" y="16484"/>
                    </a:lnTo>
                    <a:lnTo>
                      <a:pt x="10018" y="16462"/>
                    </a:lnTo>
                    <a:lnTo>
                      <a:pt x="9851" y="16380"/>
                    </a:lnTo>
                    <a:lnTo>
                      <a:pt x="9740" y="16247"/>
                    </a:lnTo>
                    <a:lnTo>
                      <a:pt x="9629" y="16158"/>
                    </a:lnTo>
                    <a:lnTo>
                      <a:pt x="9471" y="16064"/>
                    </a:lnTo>
                    <a:lnTo>
                      <a:pt x="9348" y="16026"/>
                    </a:lnTo>
                    <a:lnTo>
                      <a:pt x="9086" y="16026"/>
                    </a:lnTo>
                    <a:cubicBezTo>
                      <a:pt x="9018" y="16049"/>
                      <a:pt x="8949" y="16069"/>
                      <a:pt x="8880" y="16086"/>
                    </a:cubicBezTo>
                    <a:cubicBezTo>
                      <a:pt x="8816" y="16101"/>
                      <a:pt x="8752" y="16113"/>
                      <a:pt x="8687" y="16123"/>
                    </a:cubicBezTo>
                    <a:cubicBezTo>
                      <a:pt x="8651" y="16123"/>
                      <a:pt x="8616" y="16116"/>
                      <a:pt x="8583" y="16100"/>
                    </a:cubicBezTo>
                    <a:cubicBezTo>
                      <a:pt x="8545" y="16082"/>
                      <a:pt x="8511" y="16054"/>
                      <a:pt x="8486" y="16019"/>
                    </a:cubicBezTo>
                    <a:lnTo>
                      <a:pt x="8304" y="15945"/>
                    </a:lnTo>
                    <a:lnTo>
                      <a:pt x="8244" y="15908"/>
                    </a:lnTo>
                    <a:lnTo>
                      <a:pt x="8146" y="15901"/>
                    </a:lnTo>
                    <a:lnTo>
                      <a:pt x="8051" y="15856"/>
                    </a:lnTo>
                    <a:lnTo>
                      <a:pt x="7947" y="15797"/>
                    </a:lnTo>
                    <a:lnTo>
                      <a:pt x="7787" y="15715"/>
                    </a:lnTo>
                    <a:lnTo>
                      <a:pt x="7692" y="15678"/>
                    </a:lnTo>
                    <a:cubicBezTo>
                      <a:pt x="7650" y="15669"/>
                      <a:pt x="7610" y="15652"/>
                      <a:pt x="7574" y="15627"/>
                    </a:cubicBezTo>
                    <a:cubicBezTo>
                      <a:pt x="7513" y="15584"/>
                      <a:pt x="7467" y="15522"/>
                      <a:pt x="7442" y="15449"/>
                    </a:cubicBezTo>
                    <a:lnTo>
                      <a:pt x="7244" y="15434"/>
                    </a:lnTo>
                    <a:lnTo>
                      <a:pt x="7026" y="15332"/>
                    </a:lnTo>
                    <a:lnTo>
                      <a:pt x="6917" y="15226"/>
                    </a:lnTo>
                    <a:lnTo>
                      <a:pt x="6773" y="15092"/>
                    </a:lnTo>
                    <a:lnTo>
                      <a:pt x="6718" y="14996"/>
                    </a:lnTo>
                    <a:lnTo>
                      <a:pt x="6704" y="14803"/>
                    </a:lnTo>
                    <a:lnTo>
                      <a:pt x="6765" y="14736"/>
                    </a:lnTo>
                    <a:lnTo>
                      <a:pt x="6751" y="14628"/>
                    </a:lnTo>
                    <a:lnTo>
                      <a:pt x="6668" y="14423"/>
                    </a:lnTo>
                    <a:lnTo>
                      <a:pt x="6454" y="14101"/>
                    </a:lnTo>
                    <a:lnTo>
                      <a:pt x="6341" y="13946"/>
                    </a:lnTo>
                    <a:lnTo>
                      <a:pt x="6275" y="13847"/>
                    </a:lnTo>
                    <a:lnTo>
                      <a:pt x="6185" y="13760"/>
                    </a:lnTo>
                    <a:lnTo>
                      <a:pt x="6101" y="13671"/>
                    </a:lnTo>
                    <a:lnTo>
                      <a:pt x="6020" y="13597"/>
                    </a:lnTo>
                    <a:lnTo>
                      <a:pt x="5987" y="13530"/>
                    </a:lnTo>
                    <a:lnTo>
                      <a:pt x="5988" y="13389"/>
                    </a:lnTo>
                    <a:lnTo>
                      <a:pt x="5974" y="13290"/>
                    </a:lnTo>
                    <a:lnTo>
                      <a:pt x="5856" y="13186"/>
                    </a:lnTo>
                    <a:cubicBezTo>
                      <a:pt x="5819" y="13118"/>
                      <a:pt x="5779" y="13052"/>
                      <a:pt x="5736" y="12989"/>
                    </a:cubicBezTo>
                    <a:cubicBezTo>
                      <a:pt x="5704" y="12942"/>
                      <a:pt x="5670" y="12897"/>
                      <a:pt x="5635" y="12853"/>
                    </a:cubicBezTo>
                    <a:lnTo>
                      <a:pt x="5558" y="12742"/>
                    </a:lnTo>
                    <a:lnTo>
                      <a:pt x="5449" y="12628"/>
                    </a:lnTo>
                    <a:cubicBezTo>
                      <a:pt x="5397" y="12606"/>
                      <a:pt x="5362" y="12554"/>
                      <a:pt x="5359" y="12495"/>
                    </a:cubicBezTo>
                    <a:cubicBezTo>
                      <a:pt x="5355" y="12444"/>
                      <a:pt x="5377" y="12395"/>
                      <a:pt x="5415" y="12364"/>
                    </a:cubicBezTo>
                    <a:lnTo>
                      <a:pt x="5394" y="12119"/>
                    </a:lnTo>
                    <a:lnTo>
                      <a:pt x="5325" y="11968"/>
                    </a:lnTo>
                    <a:lnTo>
                      <a:pt x="5166" y="11822"/>
                    </a:lnTo>
                    <a:lnTo>
                      <a:pt x="5013" y="11755"/>
                    </a:lnTo>
                    <a:lnTo>
                      <a:pt x="5012" y="11918"/>
                    </a:lnTo>
                    <a:lnTo>
                      <a:pt x="5039" y="12079"/>
                    </a:lnTo>
                    <a:lnTo>
                      <a:pt x="5109" y="12264"/>
                    </a:lnTo>
                    <a:lnTo>
                      <a:pt x="5150" y="12351"/>
                    </a:lnTo>
                    <a:lnTo>
                      <a:pt x="5247" y="12502"/>
                    </a:lnTo>
                    <a:lnTo>
                      <a:pt x="5321" y="12634"/>
                    </a:lnTo>
                    <a:lnTo>
                      <a:pt x="5314" y="12769"/>
                    </a:lnTo>
                    <a:lnTo>
                      <a:pt x="5389" y="12885"/>
                    </a:lnTo>
                    <a:lnTo>
                      <a:pt x="5472" y="13018"/>
                    </a:lnTo>
                    <a:lnTo>
                      <a:pt x="5565" y="13176"/>
                    </a:lnTo>
                    <a:lnTo>
                      <a:pt x="5577" y="13290"/>
                    </a:lnTo>
                    <a:lnTo>
                      <a:pt x="5639" y="13477"/>
                    </a:lnTo>
                    <a:lnTo>
                      <a:pt x="5667" y="13609"/>
                    </a:lnTo>
                    <a:lnTo>
                      <a:pt x="5667" y="13694"/>
                    </a:lnTo>
                    <a:lnTo>
                      <a:pt x="5774" y="13736"/>
                    </a:lnTo>
                    <a:lnTo>
                      <a:pt x="5875" y="13857"/>
                    </a:lnTo>
                    <a:lnTo>
                      <a:pt x="5943" y="13973"/>
                    </a:lnTo>
                    <a:lnTo>
                      <a:pt x="5943" y="14087"/>
                    </a:lnTo>
                    <a:lnTo>
                      <a:pt x="5875" y="14138"/>
                    </a:lnTo>
                    <a:lnTo>
                      <a:pt x="5725" y="14044"/>
                    </a:lnTo>
                    <a:lnTo>
                      <a:pt x="5598" y="13872"/>
                    </a:lnTo>
                    <a:lnTo>
                      <a:pt x="5544" y="13793"/>
                    </a:lnTo>
                    <a:lnTo>
                      <a:pt x="5454" y="13741"/>
                    </a:lnTo>
                    <a:lnTo>
                      <a:pt x="5352" y="13666"/>
                    </a:lnTo>
                    <a:lnTo>
                      <a:pt x="5296" y="13585"/>
                    </a:lnTo>
                    <a:cubicBezTo>
                      <a:pt x="5309" y="13549"/>
                      <a:pt x="5318" y="13512"/>
                      <a:pt x="5324" y="13474"/>
                    </a:cubicBezTo>
                    <a:cubicBezTo>
                      <a:pt x="5332" y="13417"/>
                      <a:pt x="5332" y="13360"/>
                      <a:pt x="5324" y="13303"/>
                    </a:cubicBezTo>
                    <a:cubicBezTo>
                      <a:pt x="5305" y="13264"/>
                      <a:pt x="5284" y="13226"/>
                      <a:pt x="5261" y="13189"/>
                    </a:cubicBezTo>
                    <a:cubicBezTo>
                      <a:pt x="5223" y="13130"/>
                      <a:pt x="5178" y="13075"/>
                      <a:pt x="5129" y="13026"/>
                    </a:cubicBezTo>
                    <a:lnTo>
                      <a:pt x="4901" y="12863"/>
                    </a:lnTo>
                    <a:lnTo>
                      <a:pt x="4781" y="12722"/>
                    </a:lnTo>
                    <a:lnTo>
                      <a:pt x="4851" y="12663"/>
                    </a:lnTo>
                    <a:lnTo>
                      <a:pt x="5005" y="12678"/>
                    </a:lnTo>
                    <a:lnTo>
                      <a:pt x="5033" y="12515"/>
                    </a:lnTo>
                    <a:cubicBezTo>
                      <a:pt x="5022" y="12432"/>
                      <a:pt x="4988" y="12354"/>
                      <a:pt x="4935" y="12292"/>
                    </a:cubicBezTo>
                    <a:cubicBezTo>
                      <a:pt x="4898" y="12248"/>
                      <a:pt x="4852" y="12213"/>
                      <a:pt x="4801" y="12189"/>
                    </a:cubicBezTo>
                    <a:lnTo>
                      <a:pt x="4715" y="11949"/>
                    </a:lnTo>
                    <a:lnTo>
                      <a:pt x="4662" y="11732"/>
                    </a:lnTo>
                    <a:lnTo>
                      <a:pt x="4648" y="11591"/>
                    </a:lnTo>
                    <a:lnTo>
                      <a:pt x="4627" y="11487"/>
                    </a:lnTo>
                    <a:lnTo>
                      <a:pt x="4586" y="11332"/>
                    </a:lnTo>
                    <a:lnTo>
                      <a:pt x="4532" y="11231"/>
                    </a:lnTo>
                    <a:lnTo>
                      <a:pt x="4469" y="11127"/>
                    </a:lnTo>
                    <a:cubicBezTo>
                      <a:pt x="4455" y="11089"/>
                      <a:pt x="4439" y="11051"/>
                      <a:pt x="4420" y="11016"/>
                    </a:cubicBezTo>
                    <a:cubicBezTo>
                      <a:pt x="4402" y="10980"/>
                      <a:pt x="4380" y="10946"/>
                      <a:pt x="4353" y="10917"/>
                    </a:cubicBezTo>
                    <a:cubicBezTo>
                      <a:pt x="4302" y="10864"/>
                      <a:pt x="4235" y="10834"/>
                      <a:pt x="4169" y="10806"/>
                    </a:cubicBezTo>
                    <a:cubicBezTo>
                      <a:pt x="4118" y="10784"/>
                      <a:pt x="4067" y="10761"/>
                      <a:pt x="4017" y="10739"/>
                    </a:cubicBezTo>
                    <a:lnTo>
                      <a:pt x="4017" y="10628"/>
                    </a:lnTo>
                    <a:cubicBezTo>
                      <a:pt x="4019" y="10594"/>
                      <a:pt x="4020" y="10560"/>
                      <a:pt x="4019" y="10527"/>
                    </a:cubicBezTo>
                    <a:cubicBezTo>
                      <a:pt x="4019" y="10449"/>
                      <a:pt x="4012" y="10373"/>
                      <a:pt x="4001" y="10296"/>
                    </a:cubicBezTo>
                    <a:lnTo>
                      <a:pt x="3910" y="10081"/>
                    </a:lnTo>
                    <a:lnTo>
                      <a:pt x="3815" y="9819"/>
                    </a:lnTo>
                    <a:lnTo>
                      <a:pt x="3821" y="9591"/>
                    </a:lnTo>
                    <a:lnTo>
                      <a:pt x="3843" y="9426"/>
                    </a:lnTo>
                    <a:lnTo>
                      <a:pt x="3805" y="9077"/>
                    </a:lnTo>
                    <a:lnTo>
                      <a:pt x="3761" y="8972"/>
                    </a:lnTo>
                    <a:lnTo>
                      <a:pt x="3858" y="8809"/>
                    </a:lnTo>
                    <a:lnTo>
                      <a:pt x="3886" y="8671"/>
                    </a:lnTo>
                    <a:lnTo>
                      <a:pt x="3900" y="8500"/>
                    </a:lnTo>
                    <a:lnTo>
                      <a:pt x="3933" y="8389"/>
                    </a:lnTo>
                    <a:lnTo>
                      <a:pt x="4014" y="8214"/>
                    </a:lnTo>
                    <a:lnTo>
                      <a:pt x="4056" y="8112"/>
                    </a:lnTo>
                    <a:cubicBezTo>
                      <a:pt x="4089" y="8064"/>
                      <a:pt x="4117" y="8012"/>
                      <a:pt x="4139" y="7956"/>
                    </a:cubicBezTo>
                    <a:cubicBezTo>
                      <a:pt x="4160" y="7903"/>
                      <a:pt x="4176" y="7848"/>
                      <a:pt x="4186" y="7791"/>
                    </a:cubicBezTo>
                    <a:lnTo>
                      <a:pt x="4325" y="7527"/>
                    </a:lnTo>
                    <a:lnTo>
                      <a:pt x="4367" y="7352"/>
                    </a:lnTo>
                    <a:lnTo>
                      <a:pt x="4346" y="7226"/>
                    </a:lnTo>
                    <a:lnTo>
                      <a:pt x="4304" y="7102"/>
                    </a:lnTo>
                    <a:lnTo>
                      <a:pt x="4381" y="6944"/>
                    </a:lnTo>
                    <a:lnTo>
                      <a:pt x="4346" y="6858"/>
                    </a:lnTo>
                    <a:lnTo>
                      <a:pt x="4237" y="6727"/>
                    </a:lnTo>
                    <a:lnTo>
                      <a:pt x="4172" y="6595"/>
                    </a:lnTo>
                    <a:lnTo>
                      <a:pt x="4126" y="6464"/>
                    </a:lnTo>
                    <a:lnTo>
                      <a:pt x="4112" y="6378"/>
                    </a:lnTo>
                    <a:lnTo>
                      <a:pt x="4049" y="6267"/>
                    </a:lnTo>
                    <a:lnTo>
                      <a:pt x="4102" y="6183"/>
                    </a:lnTo>
                    <a:lnTo>
                      <a:pt x="4204" y="6100"/>
                    </a:lnTo>
                    <a:lnTo>
                      <a:pt x="4218" y="6026"/>
                    </a:lnTo>
                    <a:lnTo>
                      <a:pt x="4204" y="5873"/>
                    </a:lnTo>
                    <a:lnTo>
                      <a:pt x="4176" y="5697"/>
                    </a:lnTo>
                    <a:lnTo>
                      <a:pt x="4128" y="5431"/>
                    </a:lnTo>
                    <a:lnTo>
                      <a:pt x="4116" y="5359"/>
                    </a:lnTo>
                    <a:lnTo>
                      <a:pt x="4165" y="5250"/>
                    </a:lnTo>
                    <a:lnTo>
                      <a:pt x="4206" y="5043"/>
                    </a:lnTo>
                    <a:lnTo>
                      <a:pt x="4074" y="5013"/>
                    </a:lnTo>
                    <a:cubicBezTo>
                      <a:pt x="4031" y="5035"/>
                      <a:pt x="3981" y="5026"/>
                      <a:pt x="3947" y="4991"/>
                    </a:cubicBezTo>
                    <a:cubicBezTo>
                      <a:pt x="3897" y="4941"/>
                      <a:pt x="3897" y="4856"/>
                      <a:pt x="3947" y="4806"/>
                    </a:cubicBezTo>
                    <a:lnTo>
                      <a:pt x="3972" y="4719"/>
                    </a:lnTo>
                    <a:lnTo>
                      <a:pt x="4013" y="4535"/>
                    </a:lnTo>
                    <a:lnTo>
                      <a:pt x="3965" y="4446"/>
                    </a:lnTo>
                    <a:cubicBezTo>
                      <a:pt x="3975" y="4384"/>
                      <a:pt x="3981" y="4320"/>
                      <a:pt x="3981" y="4256"/>
                    </a:cubicBezTo>
                    <a:cubicBezTo>
                      <a:pt x="3981" y="4197"/>
                      <a:pt x="3976" y="4137"/>
                      <a:pt x="3967" y="4078"/>
                    </a:cubicBezTo>
                    <a:cubicBezTo>
                      <a:pt x="3978" y="4040"/>
                      <a:pt x="3987" y="4002"/>
                      <a:pt x="3992" y="3962"/>
                    </a:cubicBezTo>
                    <a:cubicBezTo>
                      <a:pt x="3998" y="3922"/>
                      <a:pt x="4000" y="3882"/>
                      <a:pt x="3999" y="3841"/>
                    </a:cubicBezTo>
                    <a:lnTo>
                      <a:pt x="3951" y="3670"/>
                    </a:lnTo>
                    <a:lnTo>
                      <a:pt x="3932" y="3510"/>
                    </a:lnTo>
                    <a:lnTo>
                      <a:pt x="3925" y="3391"/>
                    </a:lnTo>
                    <a:cubicBezTo>
                      <a:pt x="3885" y="3400"/>
                      <a:pt x="3844" y="3392"/>
                      <a:pt x="3809" y="3369"/>
                    </a:cubicBezTo>
                    <a:cubicBezTo>
                      <a:pt x="3762" y="3338"/>
                      <a:pt x="3733" y="3282"/>
                      <a:pt x="3733" y="3223"/>
                    </a:cubicBezTo>
                    <a:lnTo>
                      <a:pt x="3606" y="3139"/>
                    </a:lnTo>
                    <a:lnTo>
                      <a:pt x="3535" y="3122"/>
                    </a:lnTo>
                    <a:lnTo>
                      <a:pt x="3513" y="3031"/>
                    </a:lnTo>
                    <a:lnTo>
                      <a:pt x="3497" y="2935"/>
                    </a:lnTo>
                    <a:lnTo>
                      <a:pt x="3435" y="2863"/>
                    </a:lnTo>
                    <a:lnTo>
                      <a:pt x="3316" y="2856"/>
                    </a:lnTo>
                    <a:lnTo>
                      <a:pt x="3219" y="2871"/>
                    </a:lnTo>
                    <a:lnTo>
                      <a:pt x="3134" y="2780"/>
                    </a:lnTo>
                    <a:lnTo>
                      <a:pt x="2927" y="2750"/>
                    </a:lnTo>
                    <a:lnTo>
                      <a:pt x="2816" y="2683"/>
                    </a:lnTo>
                    <a:lnTo>
                      <a:pt x="2757" y="2787"/>
                    </a:lnTo>
                    <a:lnTo>
                      <a:pt x="2677" y="2878"/>
                    </a:lnTo>
                    <a:cubicBezTo>
                      <a:pt x="2624" y="2900"/>
                      <a:pt x="2570" y="2922"/>
                      <a:pt x="2517" y="2942"/>
                    </a:cubicBezTo>
                    <a:cubicBezTo>
                      <a:pt x="2470" y="2960"/>
                      <a:pt x="2423" y="2978"/>
                      <a:pt x="2376" y="2994"/>
                    </a:cubicBezTo>
                    <a:lnTo>
                      <a:pt x="2156" y="2979"/>
                    </a:lnTo>
                    <a:lnTo>
                      <a:pt x="2099" y="2906"/>
                    </a:lnTo>
                    <a:lnTo>
                      <a:pt x="2230" y="2775"/>
                    </a:lnTo>
                    <a:cubicBezTo>
                      <a:pt x="2285" y="2773"/>
                      <a:pt x="2340" y="2768"/>
                      <a:pt x="2394" y="2760"/>
                    </a:cubicBezTo>
                    <a:cubicBezTo>
                      <a:pt x="2490" y="2746"/>
                      <a:pt x="2584" y="2722"/>
                      <a:pt x="2675" y="2688"/>
                    </a:cubicBezTo>
                    <a:lnTo>
                      <a:pt x="2901" y="2602"/>
                    </a:lnTo>
                    <a:lnTo>
                      <a:pt x="3019" y="2479"/>
                    </a:lnTo>
                    <a:lnTo>
                      <a:pt x="3112" y="2372"/>
                    </a:lnTo>
                    <a:lnTo>
                      <a:pt x="2898" y="2424"/>
                    </a:lnTo>
                    <a:lnTo>
                      <a:pt x="2783" y="2528"/>
                    </a:lnTo>
                    <a:lnTo>
                      <a:pt x="2697" y="2585"/>
                    </a:lnTo>
                    <a:lnTo>
                      <a:pt x="2479" y="2672"/>
                    </a:lnTo>
                    <a:lnTo>
                      <a:pt x="2258" y="2701"/>
                    </a:lnTo>
                    <a:lnTo>
                      <a:pt x="2121" y="2716"/>
                    </a:lnTo>
                    <a:lnTo>
                      <a:pt x="2054" y="2795"/>
                    </a:lnTo>
                    <a:cubicBezTo>
                      <a:pt x="2021" y="2791"/>
                      <a:pt x="1989" y="2782"/>
                      <a:pt x="1959" y="2768"/>
                    </a:cubicBezTo>
                    <a:cubicBezTo>
                      <a:pt x="1907" y="2743"/>
                      <a:pt x="1861" y="2704"/>
                      <a:pt x="1827" y="2654"/>
                    </a:cubicBezTo>
                    <a:lnTo>
                      <a:pt x="1753" y="2654"/>
                    </a:lnTo>
                    <a:lnTo>
                      <a:pt x="1629" y="2679"/>
                    </a:lnTo>
                    <a:lnTo>
                      <a:pt x="1643" y="2812"/>
                    </a:lnTo>
                    <a:lnTo>
                      <a:pt x="1530" y="2782"/>
                    </a:lnTo>
                    <a:lnTo>
                      <a:pt x="1495" y="2713"/>
                    </a:lnTo>
                    <a:lnTo>
                      <a:pt x="1518" y="2587"/>
                    </a:lnTo>
                    <a:lnTo>
                      <a:pt x="1427" y="2565"/>
                    </a:lnTo>
                    <a:lnTo>
                      <a:pt x="1312" y="2551"/>
                    </a:lnTo>
                    <a:lnTo>
                      <a:pt x="1247" y="2571"/>
                    </a:lnTo>
                    <a:lnTo>
                      <a:pt x="1227" y="2482"/>
                    </a:lnTo>
                    <a:lnTo>
                      <a:pt x="1201" y="2390"/>
                    </a:lnTo>
                    <a:lnTo>
                      <a:pt x="1076" y="2390"/>
                    </a:lnTo>
                    <a:lnTo>
                      <a:pt x="964" y="2360"/>
                    </a:lnTo>
                    <a:lnTo>
                      <a:pt x="812" y="2294"/>
                    </a:lnTo>
                    <a:lnTo>
                      <a:pt x="745" y="2192"/>
                    </a:lnTo>
                    <a:lnTo>
                      <a:pt x="630" y="2185"/>
                    </a:lnTo>
                    <a:lnTo>
                      <a:pt x="593" y="2111"/>
                    </a:lnTo>
                    <a:lnTo>
                      <a:pt x="512" y="2002"/>
                    </a:lnTo>
                    <a:lnTo>
                      <a:pt x="428" y="1869"/>
                    </a:lnTo>
                    <a:lnTo>
                      <a:pt x="373" y="1738"/>
                    </a:lnTo>
                    <a:cubicBezTo>
                      <a:pt x="342" y="1717"/>
                      <a:pt x="313" y="1693"/>
                      <a:pt x="287" y="1666"/>
                    </a:cubicBezTo>
                    <a:cubicBezTo>
                      <a:pt x="248" y="1626"/>
                      <a:pt x="215" y="1580"/>
                      <a:pt x="188" y="1530"/>
                    </a:cubicBezTo>
                    <a:lnTo>
                      <a:pt x="140" y="1443"/>
                    </a:lnTo>
                    <a:lnTo>
                      <a:pt x="135" y="1337"/>
                    </a:lnTo>
                    <a:lnTo>
                      <a:pt x="62" y="1243"/>
                    </a:lnTo>
                    <a:lnTo>
                      <a:pt x="0" y="1191"/>
                    </a:lnTo>
                    <a:lnTo>
                      <a:pt x="0" y="1060"/>
                    </a:lnTo>
                    <a:lnTo>
                      <a:pt x="8" y="972"/>
                    </a:lnTo>
                    <a:lnTo>
                      <a:pt x="15" y="861"/>
                    </a:lnTo>
                    <a:lnTo>
                      <a:pt x="82" y="802"/>
                    </a:lnTo>
                    <a:lnTo>
                      <a:pt x="110" y="601"/>
                    </a:lnTo>
                    <a:lnTo>
                      <a:pt x="75" y="468"/>
                    </a:lnTo>
                    <a:lnTo>
                      <a:pt x="130" y="315"/>
                    </a:lnTo>
                    <a:lnTo>
                      <a:pt x="151" y="134"/>
                    </a:lnTo>
                    <a:lnTo>
                      <a:pt x="268" y="140"/>
                    </a:lnTo>
                    <a:lnTo>
                      <a:pt x="196" y="371"/>
                    </a:lnTo>
                    <a:lnTo>
                      <a:pt x="74" y="1050"/>
                    </a:lnTo>
                    <a:lnTo>
                      <a:pt x="247" y="1332"/>
                    </a:lnTo>
                    <a:lnTo>
                      <a:pt x="293" y="1442"/>
                    </a:lnTo>
                    <a:lnTo>
                      <a:pt x="293" y="1523"/>
                    </a:lnTo>
                    <a:lnTo>
                      <a:pt x="393" y="1652"/>
                    </a:lnTo>
                    <a:lnTo>
                      <a:pt x="485" y="1772"/>
                    </a:lnTo>
                    <a:lnTo>
                      <a:pt x="408" y="1986"/>
                    </a:lnTo>
                    <a:lnTo>
                      <a:pt x="588" y="1927"/>
                    </a:lnTo>
                    <a:lnTo>
                      <a:pt x="671" y="1957"/>
                    </a:lnTo>
                    <a:lnTo>
                      <a:pt x="755" y="2061"/>
                    </a:lnTo>
                    <a:lnTo>
                      <a:pt x="836" y="2124"/>
                    </a:lnTo>
                    <a:lnTo>
                      <a:pt x="924" y="2198"/>
                    </a:lnTo>
                    <a:lnTo>
                      <a:pt x="1083" y="2223"/>
                    </a:lnTo>
                    <a:lnTo>
                      <a:pt x="1187" y="2208"/>
                    </a:lnTo>
                    <a:lnTo>
                      <a:pt x="1236" y="2277"/>
                    </a:lnTo>
                    <a:lnTo>
                      <a:pt x="1424" y="2277"/>
                    </a:lnTo>
                    <a:lnTo>
                      <a:pt x="1470" y="2349"/>
                    </a:lnTo>
                    <a:lnTo>
                      <a:pt x="1642" y="2349"/>
                    </a:lnTo>
                    <a:lnTo>
                      <a:pt x="1730" y="2356"/>
                    </a:lnTo>
                    <a:lnTo>
                      <a:pt x="1872" y="2406"/>
                    </a:lnTo>
                    <a:lnTo>
                      <a:pt x="2099" y="2433"/>
                    </a:lnTo>
                    <a:lnTo>
                      <a:pt x="2229" y="2426"/>
                    </a:lnTo>
                    <a:lnTo>
                      <a:pt x="2303" y="2330"/>
                    </a:lnTo>
                    <a:lnTo>
                      <a:pt x="2288" y="2222"/>
                    </a:lnTo>
                    <a:lnTo>
                      <a:pt x="2212" y="2237"/>
                    </a:lnTo>
                    <a:lnTo>
                      <a:pt x="2198" y="2140"/>
                    </a:lnTo>
                    <a:lnTo>
                      <a:pt x="2121" y="2024"/>
                    </a:lnTo>
                    <a:lnTo>
                      <a:pt x="2052" y="1883"/>
                    </a:lnTo>
                    <a:lnTo>
                      <a:pt x="2200" y="1804"/>
                    </a:lnTo>
                    <a:lnTo>
                      <a:pt x="2326" y="1715"/>
                    </a:lnTo>
                    <a:lnTo>
                      <a:pt x="2228" y="1606"/>
                    </a:lnTo>
                    <a:lnTo>
                      <a:pt x="2230" y="1518"/>
                    </a:lnTo>
                    <a:lnTo>
                      <a:pt x="2269" y="1377"/>
                    </a:lnTo>
                    <a:lnTo>
                      <a:pt x="2166" y="1354"/>
                    </a:lnTo>
                    <a:lnTo>
                      <a:pt x="2035" y="1280"/>
                    </a:lnTo>
                    <a:lnTo>
                      <a:pt x="2038" y="1119"/>
                    </a:lnTo>
                    <a:lnTo>
                      <a:pt x="2244" y="1090"/>
                    </a:lnTo>
                    <a:lnTo>
                      <a:pt x="2262" y="1193"/>
                    </a:lnTo>
                    <a:lnTo>
                      <a:pt x="2318" y="1302"/>
                    </a:lnTo>
                    <a:lnTo>
                      <a:pt x="2431" y="1117"/>
                    </a:lnTo>
                    <a:lnTo>
                      <a:pt x="2594" y="1035"/>
                    </a:lnTo>
                    <a:lnTo>
                      <a:pt x="2753" y="998"/>
                    </a:lnTo>
                    <a:lnTo>
                      <a:pt x="2888" y="998"/>
                    </a:lnTo>
                    <a:lnTo>
                      <a:pt x="2923" y="1065"/>
                    </a:lnTo>
                    <a:lnTo>
                      <a:pt x="3069" y="1072"/>
                    </a:lnTo>
                    <a:lnTo>
                      <a:pt x="3108" y="1149"/>
                    </a:lnTo>
                    <a:lnTo>
                      <a:pt x="3239" y="1082"/>
                    </a:lnTo>
                    <a:lnTo>
                      <a:pt x="3274" y="1018"/>
                    </a:lnTo>
                    <a:lnTo>
                      <a:pt x="3225" y="929"/>
                    </a:lnTo>
                    <a:lnTo>
                      <a:pt x="3135" y="825"/>
                    </a:lnTo>
                    <a:cubicBezTo>
                      <a:pt x="3100" y="795"/>
                      <a:pt x="3075" y="755"/>
                      <a:pt x="3061" y="709"/>
                    </a:cubicBezTo>
                    <a:cubicBezTo>
                      <a:pt x="3045" y="658"/>
                      <a:pt x="3045" y="603"/>
                      <a:pt x="3061" y="551"/>
                    </a:cubicBezTo>
                    <a:lnTo>
                      <a:pt x="3114" y="415"/>
                    </a:lnTo>
                    <a:lnTo>
                      <a:pt x="3174" y="331"/>
                    </a:lnTo>
                    <a:lnTo>
                      <a:pt x="3258" y="299"/>
                    </a:lnTo>
                    <a:lnTo>
                      <a:pt x="3443" y="344"/>
                    </a:lnTo>
                    <a:lnTo>
                      <a:pt x="3508" y="405"/>
                    </a:lnTo>
                    <a:lnTo>
                      <a:pt x="3570" y="469"/>
                    </a:lnTo>
                    <a:lnTo>
                      <a:pt x="3623" y="555"/>
                    </a:lnTo>
                    <a:lnTo>
                      <a:pt x="3566" y="680"/>
                    </a:lnTo>
                    <a:lnTo>
                      <a:pt x="3691" y="725"/>
                    </a:lnTo>
                    <a:lnTo>
                      <a:pt x="3724" y="631"/>
                    </a:lnTo>
                    <a:lnTo>
                      <a:pt x="3749" y="451"/>
                    </a:lnTo>
                    <a:lnTo>
                      <a:pt x="3793" y="340"/>
                    </a:lnTo>
                    <a:lnTo>
                      <a:pt x="3814" y="110"/>
                    </a:lnTo>
                    <a:lnTo>
                      <a:pt x="3868" y="0"/>
                    </a:lnTo>
                    <a:lnTo>
                      <a:pt x="4025" y="31"/>
                    </a:lnTo>
                    <a:lnTo>
                      <a:pt x="4108" y="78"/>
                    </a:lnTo>
                    <a:lnTo>
                      <a:pt x="4156" y="181"/>
                    </a:lnTo>
                    <a:lnTo>
                      <a:pt x="4253" y="151"/>
                    </a:lnTo>
                    <a:lnTo>
                      <a:pt x="4367" y="92"/>
                    </a:lnTo>
                    <a:cubicBezTo>
                      <a:pt x="4405" y="76"/>
                      <a:pt x="4445" y="68"/>
                      <a:pt x="4486" y="70"/>
                    </a:cubicBezTo>
                    <a:cubicBezTo>
                      <a:pt x="4528" y="71"/>
                      <a:pt x="4569" y="83"/>
                      <a:pt x="4606" y="104"/>
                    </a:cubicBezTo>
                    <a:lnTo>
                      <a:pt x="4716" y="162"/>
                    </a:lnTo>
                    <a:lnTo>
                      <a:pt x="4781" y="268"/>
                    </a:lnTo>
                    <a:lnTo>
                      <a:pt x="4875" y="254"/>
                    </a:lnTo>
                    <a:lnTo>
                      <a:pt x="4955" y="313"/>
                    </a:lnTo>
                    <a:lnTo>
                      <a:pt x="4934" y="396"/>
                    </a:lnTo>
                    <a:lnTo>
                      <a:pt x="4969" y="492"/>
                    </a:lnTo>
                    <a:lnTo>
                      <a:pt x="5036" y="567"/>
                    </a:lnTo>
                    <a:lnTo>
                      <a:pt x="4983" y="620"/>
                    </a:lnTo>
                    <a:lnTo>
                      <a:pt x="4970" y="701"/>
                    </a:lnTo>
                    <a:lnTo>
                      <a:pt x="5114" y="798"/>
                    </a:lnTo>
                    <a:lnTo>
                      <a:pt x="5178" y="901"/>
                    </a:lnTo>
                    <a:lnTo>
                      <a:pt x="5280" y="1037"/>
                    </a:lnTo>
                    <a:lnTo>
                      <a:pt x="5361" y="1143"/>
                    </a:lnTo>
                    <a:lnTo>
                      <a:pt x="5403" y="1254"/>
                    </a:lnTo>
                    <a:lnTo>
                      <a:pt x="5445" y="1414"/>
                    </a:lnTo>
                    <a:lnTo>
                      <a:pt x="5552" y="1441"/>
                    </a:lnTo>
                    <a:lnTo>
                      <a:pt x="5552" y="1572"/>
                    </a:lnTo>
                    <a:lnTo>
                      <a:pt x="5628" y="1696"/>
                    </a:lnTo>
                    <a:lnTo>
                      <a:pt x="5741" y="1590"/>
                    </a:lnTo>
                    <a:lnTo>
                      <a:pt x="5864" y="1604"/>
                    </a:lnTo>
                    <a:lnTo>
                      <a:pt x="5906" y="1698"/>
                    </a:lnTo>
                    <a:lnTo>
                      <a:pt x="6031" y="1691"/>
                    </a:lnTo>
                    <a:lnTo>
                      <a:pt x="6147" y="1683"/>
                    </a:lnTo>
                    <a:lnTo>
                      <a:pt x="6221" y="1668"/>
                    </a:lnTo>
                    <a:lnTo>
                      <a:pt x="6284" y="1754"/>
                    </a:lnTo>
                    <a:lnTo>
                      <a:pt x="6357" y="1690"/>
                    </a:lnTo>
                    <a:lnTo>
                      <a:pt x="6413" y="1559"/>
                    </a:lnTo>
                    <a:lnTo>
                      <a:pt x="6465" y="1660"/>
                    </a:lnTo>
                    <a:lnTo>
                      <a:pt x="6417" y="1769"/>
                    </a:lnTo>
                    <a:lnTo>
                      <a:pt x="6412" y="1877"/>
                    </a:lnTo>
                    <a:lnTo>
                      <a:pt x="6481" y="1936"/>
                    </a:lnTo>
                    <a:lnTo>
                      <a:pt x="6563" y="1822"/>
                    </a:lnTo>
                    <a:lnTo>
                      <a:pt x="6625" y="1758"/>
                    </a:lnTo>
                    <a:lnTo>
                      <a:pt x="6669" y="1841"/>
                    </a:lnTo>
                    <a:lnTo>
                      <a:pt x="6625" y="1957"/>
                    </a:lnTo>
                    <a:lnTo>
                      <a:pt x="6731" y="1994"/>
                    </a:lnTo>
                    <a:lnTo>
                      <a:pt x="6807" y="2069"/>
                    </a:lnTo>
                    <a:lnTo>
                      <a:pt x="6890" y="2135"/>
                    </a:lnTo>
                    <a:lnTo>
                      <a:pt x="6978" y="2204"/>
                    </a:lnTo>
                    <a:lnTo>
                      <a:pt x="7027" y="2270"/>
                    </a:lnTo>
                    <a:lnTo>
                      <a:pt x="7091" y="2327"/>
                    </a:lnTo>
                    <a:lnTo>
                      <a:pt x="7170" y="2349"/>
                    </a:lnTo>
                    <a:lnTo>
                      <a:pt x="7165" y="2275"/>
                    </a:lnTo>
                    <a:lnTo>
                      <a:pt x="7110" y="2144"/>
                    </a:lnTo>
                    <a:lnTo>
                      <a:pt x="7296" y="2137"/>
                    </a:lnTo>
                    <a:lnTo>
                      <a:pt x="7472" y="2095"/>
                    </a:lnTo>
                    <a:cubicBezTo>
                      <a:pt x="7497" y="2085"/>
                      <a:pt x="7514" y="2059"/>
                      <a:pt x="7514" y="2031"/>
                    </a:cubicBezTo>
                    <a:cubicBezTo>
                      <a:pt x="7514" y="1939"/>
                      <a:pt x="7398" y="1910"/>
                      <a:pt x="7359" y="1991"/>
                    </a:cubicBezTo>
                    <a:lnTo>
                      <a:pt x="7180" y="1932"/>
                    </a:lnTo>
                    <a:lnTo>
                      <a:pt x="7115" y="1848"/>
                    </a:lnTo>
                    <a:lnTo>
                      <a:pt x="7171" y="1788"/>
                    </a:lnTo>
                    <a:lnTo>
                      <a:pt x="7154" y="1702"/>
                    </a:lnTo>
                    <a:lnTo>
                      <a:pt x="7197" y="1532"/>
                    </a:lnTo>
                    <a:lnTo>
                      <a:pt x="7001" y="1616"/>
                    </a:lnTo>
                    <a:lnTo>
                      <a:pt x="6874" y="1710"/>
                    </a:lnTo>
                    <a:lnTo>
                      <a:pt x="6760" y="1730"/>
                    </a:lnTo>
                    <a:lnTo>
                      <a:pt x="6767" y="1582"/>
                    </a:lnTo>
                    <a:lnTo>
                      <a:pt x="6704" y="1510"/>
                    </a:lnTo>
                    <a:lnTo>
                      <a:pt x="6683" y="1398"/>
                    </a:lnTo>
                    <a:lnTo>
                      <a:pt x="6811" y="1298"/>
                    </a:lnTo>
                    <a:lnTo>
                      <a:pt x="6911" y="1176"/>
                    </a:lnTo>
                    <a:lnTo>
                      <a:pt x="6929" y="1048"/>
                    </a:lnTo>
                    <a:lnTo>
                      <a:pt x="6901" y="918"/>
                    </a:lnTo>
                    <a:lnTo>
                      <a:pt x="6982" y="827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400" name="ïŝliḑe">
                <a:extLst>
                  <a:ext uri="{FF2B5EF4-FFF2-40B4-BE49-F238E27FC236}">
                    <a16:creationId xmlns:a16="http://schemas.microsoft.com/office/drawing/2014/main" id="{86602596-CB53-43D2-9823-43DC1E094C21}"/>
                  </a:ext>
                </a:extLst>
              </p:cNvPr>
              <p:cNvSpPr/>
              <p:nvPr/>
            </p:nvSpPr>
            <p:spPr>
              <a:xfrm>
                <a:off x="5389344" y="4113723"/>
                <a:ext cx="23791" cy="2126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8384" y="2101"/>
                    </a:moveTo>
                    <a:lnTo>
                      <a:pt x="0" y="10018"/>
                    </a:lnTo>
                    <a:lnTo>
                      <a:pt x="1924" y="21600"/>
                    </a:lnTo>
                    <a:lnTo>
                      <a:pt x="9832" y="12960"/>
                    </a:lnTo>
                    <a:lnTo>
                      <a:pt x="21600" y="0"/>
                    </a:lnTo>
                    <a:lnTo>
                      <a:pt x="8384" y="2101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401" name="ïṩļíďè">
                <a:extLst>
                  <a:ext uri="{FF2B5EF4-FFF2-40B4-BE49-F238E27FC236}">
                    <a16:creationId xmlns:a16="http://schemas.microsoft.com/office/drawing/2014/main" id="{42FF580F-E8D7-44F0-9AAC-E1129189C621}"/>
                  </a:ext>
                </a:extLst>
              </p:cNvPr>
              <p:cNvSpPr/>
              <p:nvPr/>
            </p:nvSpPr>
            <p:spPr>
              <a:xfrm>
                <a:off x="5452586" y="4304998"/>
                <a:ext cx="11869" cy="1384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695" y="0"/>
                    </a:moveTo>
                    <a:lnTo>
                      <a:pt x="2150" y="1966"/>
                    </a:lnTo>
                    <a:lnTo>
                      <a:pt x="0" y="14899"/>
                    </a:lnTo>
                    <a:lnTo>
                      <a:pt x="13781" y="21600"/>
                    </a:lnTo>
                    <a:lnTo>
                      <a:pt x="21600" y="8558"/>
                    </a:lnTo>
                    <a:lnTo>
                      <a:pt x="14695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402" name="îṣlíḍé">
                <a:extLst>
                  <a:ext uri="{FF2B5EF4-FFF2-40B4-BE49-F238E27FC236}">
                    <a16:creationId xmlns:a16="http://schemas.microsoft.com/office/drawing/2014/main" id="{318C16E7-0E09-49C8-BAF7-E3931001BB4D}"/>
                  </a:ext>
                </a:extLst>
              </p:cNvPr>
              <p:cNvSpPr/>
              <p:nvPr/>
            </p:nvSpPr>
            <p:spPr>
              <a:xfrm>
                <a:off x="5556065" y="4223432"/>
                <a:ext cx="20549" cy="3248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311" y="1188"/>
                    </a:moveTo>
                    <a:lnTo>
                      <a:pt x="2903" y="3754"/>
                    </a:lnTo>
                    <a:lnTo>
                      <a:pt x="6906" y="9918"/>
                    </a:lnTo>
                    <a:lnTo>
                      <a:pt x="0" y="19975"/>
                    </a:lnTo>
                    <a:lnTo>
                      <a:pt x="8431" y="21600"/>
                    </a:lnTo>
                    <a:lnTo>
                      <a:pt x="15976" y="18316"/>
                    </a:lnTo>
                    <a:lnTo>
                      <a:pt x="18572" y="10244"/>
                    </a:lnTo>
                    <a:lnTo>
                      <a:pt x="21600" y="5318"/>
                    </a:lnTo>
                    <a:lnTo>
                      <a:pt x="19816" y="0"/>
                    </a:lnTo>
                    <a:lnTo>
                      <a:pt x="11311" y="1188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403" name="i$ľïḓè">
                <a:extLst>
                  <a:ext uri="{FF2B5EF4-FFF2-40B4-BE49-F238E27FC236}">
                    <a16:creationId xmlns:a16="http://schemas.microsoft.com/office/drawing/2014/main" id="{14A6B3AE-9F9A-46E5-A6E6-07A5CD639A0C}"/>
                  </a:ext>
                </a:extLst>
              </p:cNvPr>
              <p:cNvSpPr/>
              <p:nvPr/>
            </p:nvSpPr>
            <p:spPr>
              <a:xfrm>
                <a:off x="5501182" y="4249119"/>
                <a:ext cx="12965" cy="1513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9701" y="0"/>
                    </a:moveTo>
                    <a:lnTo>
                      <a:pt x="2286" y="8809"/>
                    </a:lnTo>
                    <a:lnTo>
                      <a:pt x="0" y="21600"/>
                    </a:lnTo>
                    <a:lnTo>
                      <a:pt x="15560" y="16644"/>
                    </a:lnTo>
                    <a:lnTo>
                      <a:pt x="21600" y="3209"/>
                    </a:lnTo>
                    <a:lnTo>
                      <a:pt x="9701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404" name="ï$ḷíḓe">
                <a:extLst>
                  <a:ext uri="{FF2B5EF4-FFF2-40B4-BE49-F238E27FC236}">
                    <a16:creationId xmlns:a16="http://schemas.microsoft.com/office/drawing/2014/main" id="{44078C28-03A9-42AA-9634-9A97B6116455}"/>
                  </a:ext>
                </a:extLst>
              </p:cNvPr>
              <p:cNvSpPr/>
              <p:nvPr/>
            </p:nvSpPr>
            <p:spPr>
              <a:xfrm>
                <a:off x="6136426" y="3871137"/>
                <a:ext cx="10658" cy="1461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459" y="0"/>
                    </a:moveTo>
                    <a:lnTo>
                      <a:pt x="0" y="7565"/>
                    </a:lnTo>
                    <a:lnTo>
                      <a:pt x="9131" y="21600"/>
                    </a:lnTo>
                    <a:lnTo>
                      <a:pt x="21600" y="15555"/>
                    </a:lnTo>
                    <a:lnTo>
                      <a:pt x="17459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405" name="ïSḷiḋe">
                <a:extLst>
                  <a:ext uri="{FF2B5EF4-FFF2-40B4-BE49-F238E27FC236}">
                    <a16:creationId xmlns:a16="http://schemas.microsoft.com/office/drawing/2014/main" id="{179AB55B-BD3A-42B2-843E-760CD7FC3748}"/>
                  </a:ext>
                </a:extLst>
              </p:cNvPr>
              <p:cNvSpPr/>
              <p:nvPr/>
            </p:nvSpPr>
            <p:spPr>
              <a:xfrm>
                <a:off x="6123189" y="3891043"/>
                <a:ext cx="12287" cy="115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9589" y="0"/>
                    </a:moveTo>
                    <a:lnTo>
                      <a:pt x="0" y="7324"/>
                    </a:lnTo>
                    <a:lnTo>
                      <a:pt x="11835" y="21600"/>
                    </a:lnTo>
                    <a:lnTo>
                      <a:pt x="21600" y="7437"/>
                    </a:lnTo>
                    <a:lnTo>
                      <a:pt x="9589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406" name="išļïḋè">
                <a:extLst>
                  <a:ext uri="{FF2B5EF4-FFF2-40B4-BE49-F238E27FC236}">
                    <a16:creationId xmlns:a16="http://schemas.microsoft.com/office/drawing/2014/main" id="{C526151E-6E6B-4B40-A724-ACDF7F97EA75}"/>
                  </a:ext>
                </a:extLst>
              </p:cNvPr>
              <p:cNvSpPr/>
              <p:nvPr/>
            </p:nvSpPr>
            <p:spPr>
              <a:xfrm>
                <a:off x="6249637" y="4524877"/>
                <a:ext cx="25560" cy="207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863" y="1314"/>
                    </a:moveTo>
                    <a:lnTo>
                      <a:pt x="3082" y="0"/>
                    </a:lnTo>
                    <a:lnTo>
                      <a:pt x="0" y="13744"/>
                    </a:lnTo>
                    <a:lnTo>
                      <a:pt x="4388" y="21412"/>
                    </a:lnTo>
                    <a:lnTo>
                      <a:pt x="16385" y="21600"/>
                    </a:lnTo>
                    <a:lnTo>
                      <a:pt x="21600" y="6584"/>
                    </a:lnTo>
                    <a:lnTo>
                      <a:pt x="12863" y="1314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407" name="ïṡḻíďè">
                <a:extLst>
                  <a:ext uri="{FF2B5EF4-FFF2-40B4-BE49-F238E27FC236}">
                    <a16:creationId xmlns:a16="http://schemas.microsoft.com/office/drawing/2014/main" id="{3971D6D9-AC8D-4D0A-A9A4-6639C86F55EC}"/>
                  </a:ext>
                </a:extLst>
              </p:cNvPr>
              <p:cNvSpPr/>
              <p:nvPr/>
            </p:nvSpPr>
            <p:spPr>
              <a:xfrm>
                <a:off x="6292784" y="4527242"/>
                <a:ext cx="16215" cy="278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691" y="0"/>
                    </a:moveTo>
                    <a:lnTo>
                      <a:pt x="0" y="3197"/>
                    </a:lnTo>
                    <a:lnTo>
                      <a:pt x="349" y="9792"/>
                    </a:lnTo>
                    <a:lnTo>
                      <a:pt x="3031" y="18244"/>
                    </a:lnTo>
                    <a:lnTo>
                      <a:pt x="15055" y="21600"/>
                    </a:lnTo>
                    <a:lnTo>
                      <a:pt x="21600" y="13149"/>
                    </a:lnTo>
                    <a:lnTo>
                      <a:pt x="17522" y="4680"/>
                    </a:lnTo>
                    <a:lnTo>
                      <a:pt x="10691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408" name="îṣľiḑê">
                <a:extLst>
                  <a:ext uri="{FF2B5EF4-FFF2-40B4-BE49-F238E27FC236}">
                    <a16:creationId xmlns:a16="http://schemas.microsoft.com/office/drawing/2014/main" id="{2E375678-01B5-40D7-AD1C-4B27B480FAF0}"/>
                  </a:ext>
                </a:extLst>
              </p:cNvPr>
              <p:cNvSpPr/>
              <p:nvPr/>
            </p:nvSpPr>
            <p:spPr>
              <a:xfrm>
                <a:off x="6306157" y="4581073"/>
                <a:ext cx="10944" cy="1810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9036" y="0"/>
                    </a:moveTo>
                    <a:lnTo>
                      <a:pt x="0" y="11875"/>
                    </a:lnTo>
                    <a:lnTo>
                      <a:pt x="4136" y="21600"/>
                    </a:lnTo>
                    <a:lnTo>
                      <a:pt x="17945" y="19175"/>
                    </a:lnTo>
                    <a:lnTo>
                      <a:pt x="21600" y="1742"/>
                    </a:lnTo>
                    <a:lnTo>
                      <a:pt x="9036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409" name="íşḻïḋè">
                <a:extLst>
                  <a:ext uri="{FF2B5EF4-FFF2-40B4-BE49-F238E27FC236}">
                    <a16:creationId xmlns:a16="http://schemas.microsoft.com/office/drawing/2014/main" id="{58ADCB89-39A9-46C6-AE5A-580313392145}"/>
                  </a:ext>
                </a:extLst>
              </p:cNvPr>
              <p:cNvSpPr/>
              <p:nvPr/>
            </p:nvSpPr>
            <p:spPr>
              <a:xfrm>
                <a:off x="6426448" y="4527167"/>
                <a:ext cx="12349" cy="2029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910" y="0"/>
                    </a:moveTo>
                    <a:lnTo>
                      <a:pt x="880" y="2109"/>
                    </a:lnTo>
                    <a:lnTo>
                      <a:pt x="0" y="13088"/>
                    </a:lnTo>
                    <a:lnTo>
                      <a:pt x="7921" y="21600"/>
                    </a:lnTo>
                    <a:lnTo>
                      <a:pt x="21600" y="7612"/>
                    </a:lnTo>
                    <a:lnTo>
                      <a:pt x="1191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410" name="íṩḷíḓê">
                <a:extLst>
                  <a:ext uri="{FF2B5EF4-FFF2-40B4-BE49-F238E27FC236}">
                    <a16:creationId xmlns:a16="http://schemas.microsoft.com/office/drawing/2014/main" id="{9732C1A9-253F-4DE6-971A-69706E2DEDD1}"/>
                  </a:ext>
                </a:extLst>
              </p:cNvPr>
              <p:cNvSpPr/>
              <p:nvPr/>
            </p:nvSpPr>
            <p:spPr>
              <a:xfrm>
                <a:off x="6437445" y="4496517"/>
                <a:ext cx="12393" cy="1375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3498" y="0"/>
                    </a:moveTo>
                    <a:lnTo>
                      <a:pt x="0" y="9289"/>
                    </a:lnTo>
                    <a:lnTo>
                      <a:pt x="7613" y="17722"/>
                    </a:lnTo>
                    <a:lnTo>
                      <a:pt x="19807" y="21600"/>
                    </a:lnTo>
                    <a:lnTo>
                      <a:pt x="21600" y="4514"/>
                    </a:lnTo>
                    <a:lnTo>
                      <a:pt x="3498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411" name="îṥľïdé">
                <a:extLst>
                  <a:ext uri="{FF2B5EF4-FFF2-40B4-BE49-F238E27FC236}">
                    <a16:creationId xmlns:a16="http://schemas.microsoft.com/office/drawing/2014/main" id="{64BB7B49-E5C7-49F7-963D-B6850E3E6184}"/>
                  </a:ext>
                </a:extLst>
              </p:cNvPr>
              <p:cNvSpPr/>
              <p:nvPr/>
            </p:nvSpPr>
            <p:spPr>
              <a:xfrm>
                <a:off x="6363503" y="5352513"/>
                <a:ext cx="223839" cy="7004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0258" extrusionOk="0">
                    <a:moveTo>
                      <a:pt x="0" y="14220"/>
                    </a:moveTo>
                    <a:lnTo>
                      <a:pt x="613" y="10143"/>
                    </a:lnTo>
                    <a:lnTo>
                      <a:pt x="2247" y="6258"/>
                    </a:lnTo>
                    <a:lnTo>
                      <a:pt x="3538" y="5398"/>
                    </a:lnTo>
                    <a:lnTo>
                      <a:pt x="5022" y="3450"/>
                    </a:lnTo>
                    <a:lnTo>
                      <a:pt x="6054" y="2255"/>
                    </a:lnTo>
                    <a:lnTo>
                      <a:pt x="7558" y="1542"/>
                    </a:lnTo>
                    <a:lnTo>
                      <a:pt x="9385" y="0"/>
                    </a:lnTo>
                    <a:cubicBezTo>
                      <a:pt x="9830" y="32"/>
                      <a:pt x="10273" y="131"/>
                      <a:pt x="10715" y="295"/>
                    </a:cubicBezTo>
                    <a:cubicBezTo>
                      <a:pt x="11331" y="526"/>
                      <a:pt x="11942" y="884"/>
                      <a:pt x="12542" y="1369"/>
                    </a:cubicBezTo>
                    <a:lnTo>
                      <a:pt x="14366" y="1488"/>
                    </a:lnTo>
                    <a:lnTo>
                      <a:pt x="15018" y="2024"/>
                    </a:lnTo>
                    <a:cubicBezTo>
                      <a:pt x="15400" y="3033"/>
                      <a:pt x="15828" y="3875"/>
                      <a:pt x="16289" y="4524"/>
                    </a:cubicBezTo>
                    <a:cubicBezTo>
                      <a:pt x="16814" y="5262"/>
                      <a:pt x="17376" y="5742"/>
                      <a:pt x="17952" y="5944"/>
                    </a:cubicBezTo>
                    <a:lnTo>
                      <a:pt x="19084" y="6301"/>
                    </a:lnTo>
                    <a:lnTo>
                      <a:pt x="20389" y="7015"/>
                    </a:lnTo>
                    <a:lnTo>
                      <a:pt x="21600" y="8741"/>
                    </a:lnTo>
                    <a:lnTo>
                      <a:pt x="21441" y="11114"/>
                    </a:lnTo>
                    <a:lnTo>
                      <a:pt x="20766" y="12178"/>
                    </a:lnTo>
                    <a:lnTo>
                      <a:pt x="19161" y="13896"/>
                    </a:lnTo>
                    <a:lnTo>
                      <a:pt x="18031" y="15146"/>
                    </a:lnTo>
                    <a:cubicBezTo>
                      <a:pt x="17549" y="14608"/>
                      <a:pt x="17009" y="14808"/>
                      <a:pt x="16584" y="15681"/>
                    </a:cubicBezTo>
                    <a:cubicBezTo>
                      <a:pt x="16194" y="16484"/>
                      <a:pt x="15934" y="17809"/>
                      <a:pt x="15492" y="18345"/>
                    </a:cubicBezTo>
                    <a:cubicBezTo>
                      <a:pt x="15117" y="18799"/>
                      <a:pt x="14689" y="18593"/>
                      <a:pt x="14381" y="17809"/>
                    </a:cubicBezTo>
                    <a:lnTo>
                      <a:pt x="15053" y="13666"/>
                    </a:lnTo>
                    <a:lnTo>
                      <a:pt x="13847" y="14915"/>
                    </a:lnTo>
                    <a:cubicBezTo>
                      <a:pt x="13591" y="14965"/>
                      <a:pt x="13334" y="14965"/>
                      <a:pt x="13078" y="14915"/>
                    </a:cubicBezTo>
                    <a:cubicBezTo>
                      <a:pt x="12502" y="14804"/>
                      <a:pt x="11934" y="14443"/>
                      <a:pt x="11393" y="13844"/>
                    </a:cubicBezTo>
                    <a:lnTo>
                      <a:pt x="11097" y="11716"/>
                    </a:lnTo>
                    <a:lnTo>
                      <a:pt x="12539" y="11478"/>
                    </a:lnTo>
                    <a:lnTo>
                      <a:pt x="13155" y="9455"/>
                    </a:lnTo>
                    <a:lnTo>
                      <a:pt x="11789" y="9455"/>
                    </a:lnTo>
                    <a:lnTo>
                      <a:pt x="10226" y="11173"/>
                    </a:lnTo>
                    <a:lnTo>
                      <a:pt x="8997" y="10638"/>
                    </a:lnTo>
                    <a:lnTo>
                      <a:pt x="8109" y="9931"/>
                    </a:lnTo>
                    <a:lnTo>
                      <a:pt x="7039" y="9931"/>
                    </a:lnTo>
                    <a:lnTo>
                      <a:pt x="5391" y="9574"/>
                    </a:lnTo>
                    <a:cubicBezTo>
                      <a:pt x="5206" y="9574"/>
                      <a:pt x="5021" y="9574"/>
                      <a:pt x="4835" y="9574"/>
                    </a:cubicBezTo>
                    <a:cubicBezTo>
                      <a:pt x="4650" y="9574"/>
                      <a:pt x="4465" y="9574"/>
                      <a:pt x="4280" y="9574"/>
                    </a:cubicBezTo>
                    <a:lnTo>
                      <a:pt x="3270" y="12133"/>
                    </a:lnTo>
                    <a:lnTo>
                      <a:pt x="5669" y="11821"/>
                    </a:lnTo>
                    <a:lnTo>
                      <a:pt x="7258" y="14246"/>
                    </a:lnTo>
                    <a:lnTo>
                      <a:pt x="6069" y="15793"/>
                    </a:lnTo>
                    <a:lnTo>
                      <a:pt x="5237" y="16976"/>
                    </a:lnTo>
                    <a:cubicBezTo>
                      <a:pt x="5476" y="20061"/>
                      <a:pt x="4041" y="21600"/>
                      <a:pt x="3572" y="18761"/>
                    </a:cubicBezTo>
                    <a:cubicBezTo>
                      <a:pt x="3449" y="18015"/>
                      <a:pt x="3506" y="17140"/>
                      <a:pt x="3453" y="16328"/>
                    </a:cubicBezTo>
                    <a:cubicBezTo>
                      <a:pt x="3385" y="15280"/>
                      <a:pt x="3140" y="14398"/>
                      <a:pt x="2798" y="14127"/>
                    </a:cubicBezTo>
                    <a:cubicBezTo>
                      <a:pt x="2476" y="13872"/>
                      <a:pt x="2134" y="14221"/>
                      <a:pt x="1932" y="15012"/>
                    </a:cubicBezTo>
                    <a:lnTo>
                      <a:pt x="1279" y="15719"/>
                    </a:lnTo>
                    <a:lnTo>
                      <a:pt x="108" y="16433"/>
                    </a:lnTo>
                    <a:lnTo>
                      <a:pt x="0" y="1422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412" name="ïṡḻiďè">
                <a:extLst>
                  <a:ext uri="{FF2B5EF4-FFF2-40B4-BE49-F238E27FC236}">
                    <a16:creationId xmlns:a16="http://schemas.microsoft.com/office/drawing/2014/main" id="{0A22BB06-3FDA-44FD-9F77-6C37ED7B66F1}"/>
                  </a:ext>
                </a:extLst>
              </p:cNvPr>
              <p:cNvSpPr/>
              <p:nvPr/>
            </p:nvSpPr>
            <p:spPr>
              <a:xfrm>
                <a:off x="6505491" y="5430087"/>
                <a:ext cx="53478" cy="2363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450" h="21213" extrusionOk="0">
                    <a:moveTo>
                      <a:pt x="9324" y="5830"/>
                    </a:moveTo>
                    <a:lnTo>
                      <a:pt x="4847" y="6015"/>
                    </a:lnTo>
                    <a:lnTo>
                      <a:pt x="0" y="9579"/>
                    </a:lnTo>
                    <a:lnTo>
                      <a:pt x="5079" y="21213"/>
                    </a:lnTo>
                    <a:lnTo>
                      <a:pt x="12286" y="21213"/>
                    </a:lnTo>
                    <a:lnTo>
                      <a:pt x="15990" y="15119"/>
                    </a:lnTo>
                    <a:lnTo>
                      <a:pt x="21426" y="10133"/>
                    </a:lnTo>
                    <a:cubicBezTo>
                      <a:pt x="21600" y="6572"/>
                      <a:pt x="20830" y="3110"/>
                      <a:pt x="19456" y="1272"/>
                    </a:cubicBezTo>
                    <a:cubicBezTo>
                      <a:pt x="18408" y="-129"/>
                      <a:pt x="17133" y="-387"/>
                      <a:pt x="15990" y="571"/>
                    </a:cubicBezTo>
                    <a:lnTo>
                      <a:pt x="9324" y="583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413" name="íṡlíďe">
                <a:extLst>
                  <a:ext uri="{FF2B5EF4-FFF2-40B4-BE49-F238E27FC236}">
                    <a16:creationId xmlns:a16="http://schemas.microsoft.com/office/drawing/2014/main" id="{64984543-81CF-4A8F-9FC3-642759AC4C3F}"/>
                  </a:ext>
                </a:extLst>
              </p:cNvPr>
              <p:cNvSpPr/>
              <p:nvPr/>
            </p:nvSpPr>
            <p:spPr>
              <a:xfrm>
                <a:off x="6463385" y="5418883"/>
                <a:ext cx="19432" cy="1172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636" y="668"/>
                    </a:moveTo>
                    <a:lnTo>
                      <a:pt x="0" y="6733"/>
                    </a:lnTo>
                    <a:lnTo>
                      <a:pt x="107" y="21600"/>
                    </a:lnTo>
                    <a:lnTo>
                      <a:pt x="16082" y="14778"/>
                    </a:lnTo>
                    <a:lnTo>
                      <a:pt x="21600" y="0"/>
                    </a:lnTo>
                    <a:lnTo>
                      <a:pt x="10636" y="668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414" name="ïṣļïḓe">
                <a:extLst>
                  <a:ext uri="{FF2B5EF4-FFF2-40B4-BE49-F238E27FC236}">
                    <a16:creationId xmlns:a16="http://schemas.microsoft.com/office/drawing/2014/main" id="{3BA792CC-3B13-4434-8D8E-97DC7269D49C}"/>
                  </a:ext>
                </a:extLst>
              </p:cNvPr>
              <p:cNvSpPr/>
              <p:nvPr/>
            </p:nvSpPr>
            <p:spPr>
              <a:xfrm>
                <a:off x="6434985" y="5429743"/>
                <a:ext cx="16886" cy="1316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8390" y="0"/>
                    </a:moveTo>
                    <a:lnTo>
                      <a:pt x="0" y="9116"/>
                    </a:lnTo>
                    <a:lnTo>
                      <a:pt x="4193" y="21600"/>
                    </a:lnTo>
                    <a:lnTo>
                      <a:pt x="16108" y="16535"/>
                    </a:lnTo>
                    <a:lnTo>
                      <a:pt x="21600" y="3705"/>
                    </a:lnTo>
                    <a:lnTo>
                      <a:pt x="839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415" name="iśļíḑê">
                <a:extLst>
                  <a:ext uri="{FF2B5EF4-FFF2-40B4-BE49-F238E27FC236}">
                    <a16:creationId xmlns:a16="http://schemas.microsoft.com/office/drawing/2014/main" id="{F85FFD09-1599-4E74-9F83-390168693FB4}"/>
                  </a:ext>
                </a:extLst>
              </p:cNvPr>
              <p:cNvSpPr/>
              <p:nvPr/>
            </p:nvSpPr>
            <p:spPr>
              <a:xfrm>
                <a:off x="6472571" y="5264473"/>
                <a:ext cx="95582" cy="7474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432" h="21600" extrusionOk="0">
                    <a:moveTo>
                      <a:pt x="2011" y="2763"/>
                    </a:moveTo>
                    <a:lnTo>
                      <a:pt x="4225" y="2050"/>
                    </a:lnTo>
                    <a:lnTo>
                      <a:pt x="4801" y="0"/>
                    </a:lnTo>
                    <a:lnTo>
                      <a:pt x="6317" y="125"/>
                    </a:lnTo>
                    <a:lnTo>
                      <a:pt x="8486" y="894"/>
                    </a:lnTo>
                    <a:lnTo>
                      <a:pt x="10100" y="2559"/>
                    </a:lnTo>
                    <a:lnTo>
                      <a:pt x="8722" y="6602"/>
                    </a:lnTo>
                    <a:lnTo>
                      <a:pt x="11161" y="8200"/>
                    </a:lnTo>
                    <a:lnTo>
                      <a:pt x="13007" y="8319"/>
                    </a:lnTo>
                    <a:lnTo>
                      <a:pt x="13745" y="10578"/>
                    </a:lnTo>
                    <a:lnTo>
                      <a:pt x="15077" y="11225"/>
                    </a:lnTo>
                    <a:lnTo>
                      <a:pt x="17845" y="12109"/>
                    </a:lnTo>
                    <a:lnTo>
                      <a:pt x="18814" y="14361"/>
                    </a:lnTo>
                    <a:lnTo>
                      <a:pt x="20924" y="15179"/>
                    </a:lnTo>
                    <a:lnTo>
                      <a:pt x="20094" y="17141"/>
                    </a:lnTo>
                    <a:lnTo>
                      <a:pt x="21063" y="18984"/>
                    </a:lnTo>
                    <a:lnTo>
                      <a:pt x="21432" y="21481"/>
                    </a:lnTo>
                    <a:lnTo>
                      <a:pt x="19691" y="21600"/>
                    </a:lnTo>
                    <a:lnTo>
                      <a:pt x="16507" y="19638"/>
                    </a:lnTo>
                    <a:lnTo>
                      <a:pt x="14345" y="20174"/>
                    </a:lnTo>
                    <a:lnTo>
                      <a:pt x="12228" y="16190"/>
                    </a:lnTo>
                    <a:lnTo>
                      <a:pt x="15504" y="15714"/>
                    </a:lnTo>
                    <a:lnTo>
                      <a:pt x="18272" y="17081"/>
                    </a:lnTo>
                    <a:lnTo>
                      <a:pt x="16427" y="13878"/>
                    </a:lnTo>
                    <a:lnTo>
                      <a:pt x="14212" y="12986"/>
                    </a:lnTo>
                    <a:lnTo>
                      <a:pt x="12389" y="13150"/>
                    </a:lnTo>
                    <a:lnTo>
                      <a:pt x="10313" y="11077"/>
                    </a:lnTo>
                    <a:lnTo>
                      <a:pt x="8618" y="8468"/>
                    </a:lnTo>
                    <a:lnTo>
                      <a:pt x="7107" y="8118"/>
                    </a:lnTo>
                    <a:lnTo>
                      <a:pt x="6143" y="6878"/>
                    </a:lnTo>
                    <a:lnTo>
                      <a:pt x="5867" y="5153"/>
                    </a:lnTo>
                    <a:lnTo>
                      <a:pt x="3796" y="6045"/>
                    </a:lnTo>
                    <a:lnTo>
                      <a:pt x="1818" y="6937"/>
                    </a:lnTo>
                    <a:cubicBezTo>
                      <a:pt x="1194" y="7473"/>
                      <a:pt x="346" y="7126"/>
                      <a:pt x="77" y="6223"/>
                    </a:cubicBezTo>
                    <a:cubicBezTo>
                      <a:pt x="-168" y="5402"/>
                      <a:pt x="194" y="4488"/>
                      <a:pt x="854" y="4261"/>
                    </a:cubicBezTo>
                    <a:lnTo>
                      <a:pt x="2011" y="2763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416" name="îṥḷiďè">
                <a:extLst>
                  <a:ext uri="{FF2B5EF4-FFF2-40B4-BE49-F238E27FC236}">
                    <a16:creationId xmlns:a16="http://schemas.microsoft.com/office/drawing/2014/main" id="{4E3B8C0E-20EC-4118-99B3-A7ABD777B178}"/>
                  </a:ext>
                </a:extLst>
              </p:cNvPr>
              <p:cNvSpPr/>
              <p:nvPr/>
            </p:nvSpPr>
            <p:spPr>
              <a:xfrm>
                <a:off x="6488565" y="5294483"/>
                <a:ext cx="24721" cy="4482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7232" y="0"/>
                    </a:moveTo>
                    <a:lnTo>
                      <a:pt x="6579" y="4363"/>
                    </a:lnTo>
                    <a:lnTo>
                      <a:pt x="409" y="9021"/>
                    </a:lnTo>
                    <a:lnTo>
                      <a:pt x="0" y="12293"/>
                    </a:lnTo>
                    <a:lnTo>
                      <a:pt x="4904" y="15849"/>
                    </a:lnTo>
                    <a:lnTo>
                      <a:pt x="12094" y="19320"/>
                    </a:lnTo>
                    <a:lnTo>
                      <a:pt x="17646" y="21600"/>
                    </a:lnTo>
                    <a:lnTo>
                      <a:pt x="21600" y="18031"/>
                    </a:lnTo>
                    <a:lnTo>
                      <a:pt x="21600" y="12392"/>
                    </a:lnTo>
                    <a:lnTo>
                      <a:pt x="18545" y="9529"/>
                    </a:lnTo>
                    <a:lnTo>
                      <a:pt x="15016" y="6393"/>
                    </a:lnTo>
                    <a:lnTo>
                      <a:pt x="14499" y="3531"/>
                    </a:lnTo>
                    <a:lnTo>
                      <a:pt x="7232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417" name="ïṣļïde">
                <a:extLst>
                  <a:ext uri="{FF2B5EF4-FFF2-40B4-BE49-F238E27FC236}">
                    <a16:creationId xmlns:a16="http://schemas.microsoft.com/office/drawing/2014/main" id="{76698991-188B-4EB9-8237-1CF4D4D616B4}"/>
                  </a:ext>
                </a:extLst>
              </p:cNvPr>
              <p:cNvSpPr/>
              <p:nvPr/>
            </p:nvSpPr>
            <p:spPr>
              <a:xfrm>
                <a:off x="6573542" y="5323388"/>
                <a:ext cx="16876" cy="2820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0973" h="21211" extrusionOk="0">
                    <a:moveTo>
                      <a:pt x="11293" y="0"/>
                    </a:moveTo>
                    <a:lnTo>
                      <a:pt x="6627" y="5552"/>
                    </a:lnTo>
                    <a:lnTo>
                      <a:pt x="112" y="8400"/>
                    </a:lnTo>
                    <a:lnTo>
                      <a:pt x="0" y="15188"/>
                    </a:lnTo>
                    <a:lnTo>
                      <a:pt x="4724" y="20914"/>
                    </a:lnTo>
                    <a:cubicBezTo>
                      <a:pt x="8686" y="21600"/>
                      <a:pt x="12952" y="21081"/>
                      <a:pt x="16167" y="19521"/>
                    </a:cubicBezTo>
                    <a:cubicBezTo>
                      <a:pt x="19834" y="17742"/>
                      <a:pt x="21600" y="14892"/>
                      <a:pt x="20771" y="12093"/>
                    </a:cubicBezTo>
                    <a:lnTo>
                      <a:pt x="18469" y="3584"/>
                    </a:lnTo>
                    <a:lnTo>
                      <a:pt x="11293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418" name="i$1îḍê">
                <a:extLst>
                  <a:ext uri="{FF2B5EF4-FFF2-40B4-BE49-F238E27FC236}">
                    <a16:creationId xmlns:a16="http://schemas.microsoft.com/office/drawing/2014/main" id="{5D34CD6E-C01A-4E4D-82FC-E38203EF4ABB}"/>
                  </a:ext>
                </a:extLst>
              </p:cNvPr>
              <p:cNvSpPr/>
              <p:nvPr/>
            </p:nvSpPr>
            <p:spPr>
              <a:xfrm>
                <a:off x="6609474" y="5333988"/>
                <a:ext cx="35184" cy="1756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0516" h="20408" extrusionOk="0">
                    <a:moveTo>
                      <a:pt x="4937" y="0"/>
                    </a:moveTo>
                    <a:lnTo>
                      <a:pt x="649" y="3882"/>
                    </a:lnTo>
                    <a:lnTo>
                      <a:pt x="0" y="17047"/>
                    </a:lnTo>
                    <a:lnTo>
                      <a:pt x="5619" y="16300"/>
                    </a:lnTo>
                    <a:lnTo>
                      <a:pt x="11978" y="14148"/>
                    </a:lnTo>
                    <a:cubicBezTo>
                      <a:pt x="12597" y="18932"/>
                      <a:pt x="15156" y="21600"/>
                      <a:pt x="17481" y="19887"/>
                    </a:cubicBezTo>
                    <a:cubicBezTo>
                      <a:pt x="21175" y="17165"/>
                      <a:pt x="21600" y="7095"/>
                      <a:pt x="18187" y="3182"/>
                    </a:cubicBezTo>
                    <a:lnTo>
                      <a:pt x="13868" y="313"/>
                    </a:lnTo>
                    <a:lnTo>
                      <a:pt x="4937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419" name="išļîḓe">
                <a:extLst>
                  <a:ext uri="{FF2B5EF4-FFF2-40B4-BE49-F238E27FC236}">
                    <a16:creationId xmlns:a16="http://schemas.microsoft.com/office/drawing/2014/main" id="{BE3FF714-B2EA-4699-89B7-21C0FB074D99}"/>
                  </a:ext>
                </a:extLst>
              </p:cNvPr>
              <p:cNvSpPr/>
              <p:nvPr/>
            </p:nvSpPr>
            <p:spPr>
              <a:xfrm>
                <a:off x="6585292" y="5351606"/>
                <a:ext cx="21517" cy="1845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456" extrusionOk="0">
                    <a:moveTo>
                      <a:pt x="12529" y="0"/>
                    </a:moveTo>
                    <a:lnTo>
                      <a:pt x="9020" y="6402"/>
                    </a:lnTo>
                    <a:lnTo>
                      <a:pt x="0" y="10890"/>
                    </a:lnTo>
                    <a:lnTo>
                      <a:pt x="1726" y="19983"/>
                    </a:lnTo>
                    <a:cubicBezTo>
                      <a:pt x="4112" y="21109"/>
                      <a:pt x="6687" y="21600"/>
                      <a:pt x="9259" y="21419"/>
                    </a:cubicBezTo>
                    <a:cubicBezTo>
                      <a:pt x="14047" y="21082"/>
                      <a:pt x="18507" y="18488"/>
                      <a:pt x="21600" y="14240"/>
                    </a:cubicBezTo>
                    <a:lnTo>
                      <a:pt x="12529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420" name="íṧḻiḓê">
                <a:extLst>
                  <a:ext uri="{FF2B5EF4-FFF2-40B4-BE49-F238E27FC236}">
                    <a16:creationId xmlns:a16="http://schemas.microsoft.com/office/drawing/2014/main" id="{D46B86C7-607F-44C1-B8DE-C05DB795BF46}"/>
                  </a:ext>
                </a:extLst>
              </p:cNvPr>
              <p:cNvSpPr/>
              <p:nvPr/>
            </p:nvSpPr>
            <p:spPr>
              <a:xfrm>
                <a:off x="6542097" y="5346256"/>
                <a:ext cx="10922" cy="1507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532" y="0"/>
                    </a:moveTo>
                    <a:lnTo>
                      <a:pt x="0" y="8076"/>
                    </a:lnTo>
                    <a:lnTo>
                      <a:pt x="7701" y="21600"/>
                    </a:lnTo>
                    <a:lnTo>
                      <a:pt x="21600" y="12165"/>
                    </a:lnTo>
                    <a:lnTo>
                      <a:pt x="10532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421" name="ïŝḻiḑè">
                <a:extLst>
                  <a:ext uri="{FF2B5EF4-FFF2-40B4-BE49-F238E27FC236}">
                    <a16:creationId xmlns:a16="http://schemas.microsoft.com/office/drawing/2014/main" id="{0DA618B2-DF7C-4C5E-97DA-86CED70FB845}"/>
                  </a:ext>
                </a:extLst>
              </p:cNvPr>
              <p:cNvSpPr/>
              <p:nvPr/>
            </p:nvSpPr>
            <p:spPr>
              <a:xfrm>
                <a:off x="6582470" y="5358538"/>
                <a:ext cx="121307" cy="7162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442" h="21600" extrusionOk="0">
                    <a:moveTo>
                      <a:pt x="10688" y="2269"/>
                    </a:moveTo>
                    <a:lnTo>
                      <a:pt x="8365" y="5138"/>
                    </a:lnTo>
                    <a:lnTo>
                      <a:pt x="6581" y="4846"/>
                    </a:lnTo>
                    <a:lnTo>
                      <a:pt x="5179" y="5025"/>
                    </a:lnTo>
                    <a:lnTo>
                      <a:pt x="3513" y="7003"/>
                    </a:lnTo>
                    <a:lnTo>
                      <a:pt x="2812" y="9539"/>
                    </a:lnTo>
                    <a:lnTo>
                      <a:pt x="3993" y="10283"/>
                    </a:lnTo>
                    <a:lnTo>
                      <a:pt x="4866" y="12828"/>
                    </a:lnTo>
                    <a:lnTo>
                      <a:pt x="3561" y="14674"/>
                    </a:lnTo>
                    <a:lnTo>
                      <a:pt x="3379" y="16597"/>
                    </a:lnTo>
                    <a:lnTo>
                      <a:pt x="907" y="17342"/>
                    </a:lnTo>
                    <a:lnTo>
                      <a:pt x="0" y="20483"/>
                    </a:lnTo>
                    <a:lnTo>
                      <a:pt x="1965" y="21600"/>
                    </a:lnTo>
                    <a:cubicBezTo>
                      <a:pt x="2527" y="21022"/>
                      <a:pt x="3095" y="20464"/>
                      <a:pt x="3670" y="19925"/>
                    </a:cubicBezTo>
                    <a:cubicBezTo>
                      <a:pt x="4635" y="19021"/>
                      <a:pt x="5617" y="18172"/>
                      <a:pt x="6616" y="17381"/>
                    </a:cubicBezTo>
                    <a:cubicBezTo>
                      <a:pt x="6992" y="15657"/>
                      <a:pt x="8163" y="14875"/>
                      <a:pt x="9125" y="15705"/>
                    </a:cubicBezTo>
                    <a:cubicBezTo>
                      <a:pt x="9895" y="16371"/>
                      <a:pt x="10265" y="17898"/>
                      <a:pt x="9993" y="19297"/>
                    </a:cubicBezTo>
                    <a:lnTo>
                      <a:pt x="11916" y="15876"/>
                    </a:lnTo>
                    <a:cubicBezTo>
                      <a:pt x="11807" y="14699"/>
                      <a:pt x="12006" y="13499"/>
                      <a:pt x="12461" y="12595"/>
                    </a:cubicBezTo>
                    <a:cubicBezTo>
                      <a:pt x="13240" y="11050"/>
                      <a:pt x="14550" y="10660"/>
                      <a:pt x="15589" y="11665"/>
                    </a:cubicBezTo>
                    <a:lnTo>
                      <a:pt x="18025" y="8500"/>
                    </a:lnTo>
                    <a:cubicBezTo>
                      <a:pt x="18812" y="9933"/>
                      <a:pt x="20144" y="9933"/>
                      <a:pt x="20930" y="8500"/>
                    </a:cubicBezTo>
                    <a:cubicBezTo>
                      <a:pt x="21483" y="7493"/>
                      <a:pt x="21600" y="5997"/>
                      <a:pt x="21221" y="4778"/>
                    </a:cubicBezTo>
                    <a:lnTo>
                      <a:pt x="16857" y="0"/>
                    </a:lnTo>
                    <a:cubicBezTo>
                      <a:pt x="16003" y="558"/>
                      <a:pt x="15155" y="1138"/>
                      <a:pt x="14311" y="1740"/>
                    </a:cubicBezTo>
                    <a:cubicBezTo>
                      <a:pt x="13470" y="2341"/>
                      <a:pt x="12633" y="2964"/>
                      <a:pt x="11802" y="3609"/>
                    </a:cubicBezTo>
                    <a:lnTo>
                      <a:pt x="10688" y="2269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422" name="îṡľïḍe">
                <a:extLst>
                  <a:ext uri="{FF2B5EF4-FFF2-40B4-BE49-F238E27FC236}">
                    <a16:creationId xmlns:a16="http://schemas.microsoft.com/office/drawing/2014/main" id="{76A9CC28-CAC4-4460-BE75-A6860B1FDEE3}"/>
                  </a:ext>
                </a:extLst>
              </p:cNvPr>
              <p:cNvSpPr/>
              <p:nvPr/>
            </p:nvSpPr>
            <p:spPr>
              <a:xfrm>
                <a:off x="6713306" y="5364752"/>
                <a:ext cx="29008" cy="1876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3916" y="0"/>
                    </a:moveTo>
                    <a:lnTo>
                      <a:pt x="7327" y="1214"/>
                    </a:lnTo>
                    <a:lnTo>
                      <a:pt x="0" y="10763"/>
                    </a:lnTo>
                    <a:lnTo>
                      <a:pt x="5173" y="21600"/>
                    </a:lnTo>
                    <a:lnTo>
                      <a:pt x="16698" y="11889"/>
                    </a:lnTo>
                    <a:lnTo>
                      <a:pt x="21600" y="6440"/>
                    </a:lnTo>
                    <a:lnTo>
                      <a:pt x="13916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423" name="îşľíḓè">
                <a:extLst>
                  <a:ext uri="{FF2B5EF4-FFF2-40B4-BE49-F238E27FC236}">
                    <a16:creationId xmlns:a16="http://schemas.microsoft.com/office/drawing/2014/main" id="{59018595-C8A7-46F9-BDB8-254D2E51F4BA}"/>
                  </a:ext>
                </a:extLst>
              </p:cNvPr>
              <p:cNvSpPr/>
              <p:nvPr/>
            </p:nvSpPr>
            <p:spPr>
              <a:xfrm>
                <a:off x="6224843" y="5801248"/>
                <a:ext cx="56330" cy="3125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0918" h="21600" extrusionOk="0">
                    <a:moveTo>
                      <a:pt x="9444" y="0"/>
                    </a:moveTo>
                    <a:cubicBezTo>
                      <a:pt x="8750" y="158"/>
                      <a:pt x="8056" y="316"/>
                      <a:pt x="7362" y="474"/>
                    </a:cubicBezTo>
                    <a:cubicBezTo>
                      <a:pt x="6669" y="632"/>
                      <a:pt x="5975" y="790"/>
                      <a:pt x="5281" y="948"/>
                    </a:cubicBezTo>
                    <a:lnTo>
                      <a:pt x="0" y="7666"/>
                    </a:lnTo>
                    <a:lnTo>
                      <a:pt x="1291" y="12904"/>
                    </a:lnTo>
                    <a:lnTo>
                      <a:pt x="730" y="18969"/>
                    </a:lnTo>
                    <a:lnTo>
                      <a:pt x="4168" y="21600"/>
                    </a:lnTo>
                    <a:lnTo>
                      <a:pt x="6919" y="17642"/>
                    </a:lnTo>
                    <a:lnTo>
                      <a:pt x="11708" y="14231"/>
                    </a:lnTo>
                    <a:lnTo>
                      <a:pt x="14649" y="18187"/>
                    </a:lnTo>
                    <a:cubicBezTo>
                      <a:pt x="15852" y="19903"/>
                      <a:pt x="17488" y="20126"/>
                      <a:pt x="18814" y="18756"/>
                    </a:cubicBezTo>
                    <a:cubicBezTo>
                      <a:pt x="21018" y="16477"/>
                      <a:pt x="21600" y="11064"/>
                      <a:pt x="20036" y="7382"/>
                    </a:cubicBezTo>
                    <a:lnTo>
                      <a:pt x="10281" y="7951"/>
                    </a:lnTo>
                    <a:lnTo>
                      <a:pt x="9444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424" name="iṥḷîḋé">
                <a:extLst>
                  <a:ext uri="{FF2B5EF4-FFF2-40B4-BE49-F238E27FC236}">
                    <a16:creationId xmlns:a16="http://schemas.microsoft.com/office/drawing/2014/main" id="{B757D729-BAB6-42C5-9A63-2A9482CF30A4}"/>
                  </a:ext>
                </a:extLst>
              </p:cNvPr>
              <p:cNvSpPr/>
              <p:nvPr/>
            </p:nvSpPr>
            <p:spPr>
              <a:xfrm>
                <a:off x="5070876" y="4948127"/>
                <a:ext cx="43818" cy="11201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258"/>
                    </a:moveTo>
                    <a:lnTo>
                      <a:pt x="6998" y="0"/>
                    </a:lnTo>
                    <a:lnTo>
                      <a:pt x="7417" y="2219"/>
                    </a:lnTo>
                    <a:lnTo>
                      <a:pt x="11745" y="4335"/>
                    </a:lnTo>
                    <a:lnTo>
                      <a:pt x="14449" y="6610"/>
                    </a:lnTo>
                    <a:lnTo>
                      <a:pt x="16072" y="9777"/>
                    </a:lnTo>
                    <a:lnTo>
                      <a:pt x="16207" y="11728"/>
                    </a:lnTo>
                    <a:lnTo>
                      <a:pt x="18084" y="13467"/>
                    </a:lnTo>
                    <a:lnTo>
                      <a:pt x="18084" y="15319"/>
                    </a:lnTo>
                    <a:lnTo>
                      <a:pt x="20112" y="18168"/>
                    </a:lnTo>
                    <a:lnTo>
                      <a:pt x="21600" y="20602"/>
                    </a:lnTo>
                    <a:lnTo>
                      <a:pt x="17948" y="21600"/>
                    </a:lnTo>
                    <a:lnTo>
                      <a:pt x="14905" y="18863"/>
                    </a:lnTo>
                    <a:lnTo>
                      <a:pt x="13687" y="14313"/>
                    </a:lnTo>
                    <a:cubicBezTo>
                      <a:pt x="12597" y="13444"/>
                      <a:pt x="11654" y="12547"/>
                      <a:pt x="10865" y="11629"/>
                    </a:cubicBezTo>
                    <a:cubicBezTo>
                      <a:pt x="10077" y="10711"/>
                      <a:pt x="9445" y="9775"/>
                      <a:pt x="8972" y="8825"/>
                    </a:cubicBezTo>
                    <a:lnTo>
                      <a:pt x="7501" y="6299"/>
                    </a:lnTo>
                    <a:lnTo>
                      <a:pt x="5522" y="3819"/>
                    </a:lnTo>
                    <a:lnTo>
                      <a:pt x="0" y="258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</p:grpSp>
        <p:sp>
          <p:nvSpPr>
            <p:cNvPr id="350" name="iSḻîḓe">
              <a:extLst>
                <a:ext uri="{FF2B5EF4-FFF2-40B4-BE49-F238E27FC236}">
                  <a16:creationId xmlns:a16="http://schemas.microsoft.com/office/drawing/2014/main" id="{30483A46-609E-45BC-8A9C-893942F487FD}"/>
                </a:ext>
              </a:extLst>
            </p:cNvPr>
            <p:cNvSpPr/>
            <p:nvPr/>
          </p:nvSpPr>
          <p:spPr bwMode="auto">
            <a:xfrm>
              <a:off x="5718991" y="4219743"/>
              <a:ext cx="140509" cy="206739"/>
            </a:xfrm>
            <a:custGeom>
              <a:avLst/>
              <a:gdLst>
                <a:gd name="T0" fmla="*/ 88862 h 440259"/>
                <a:gd name="T1" fmla="*/ 88862 h 440259"/>
                <a:gd name="T2" fmla="*/ 278945 h 440259"/>
                <a:gd name="T3" fmla="*/ 278945 h 440259"/>
                <a:gd name="T4" fmla="*/ 278945 h 440259"/>
                <a:gd name="T5" fmla="*/ 278945 h 440259"/>
                <a:gd name="T6" fmla="*/ 278945 h 440259"/>
                <a:gd name="T7" fmla="*/ 278945 h 440259"/>
                <a:gd name="T8" fmla="*/ 278945 h 440259"/>
                <a:gd name="T9" fmla="*/ 278945 h 440259"/>
                <a:gd name="T10" fmla="*/ 278945 h 440259"/>
                <a:gd name="T11" fmla="*/ 278945 h 440259"/>
                <a:gd name="T12" fmla="*/ 278945 h 440259"/>
                <a:gd name="T13" fmla="*/ 278945 h 440259"/>
                <a:gd name="T14" fmla="*/ 88862 h 440259"/>
                <a:gd name="T15" fmla="*/ 88862 h 440259"/>
                <a:gd name="T16" fmla="*/ 278945 h 440259"/>
                <a:gd name="T17" fmla="*/ 278945 h 440259"/>
                <a:gd name="T18" fmla="*/ 278945 h 440259"/>
                <a:gd name="T19" fmla="*/ 278945 h 440259"/>
                <a:gd name="T20" fmla="*/ 278945 h 440259"/>
                <a:gd name="T21" fmla="*/ 278945 h 440259"/>
                <a:gd name="T22" fmla="*/ 278945 h 440259"/>
                <a:gd name="T23" fmla="*/ 278945 h 440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470">
                  <a:moveTo>
                    <a:pt x="160" y="0"/>
                  </a:moveTo>
                  <a:cubicBezTo>
                    <a:pt x="72" y="0"/>
                    <a:pt x="0" y="71"/>
                    <a:pt x="0" y="158"/>
                  </a:cubicBezTo>
                  <a:cubicBezTo>
                    <a:pt x="0" y="203"/>
                    <a:pt x="44" y="283"/>
                    <a:pt x="44" y="283"/>
                  </a:cubicBezTo>
                  <a:lnTo>
                    <a:pt x="154" y="470"/>
                  </a:lnTo>
                  <a:lnTo>
                    <a:pt x="268" y="286"/>
                  </a:lnTo>
                  <a:cubicBezTo>
                    <a:pt x="268" y="286"/>
                    <a:pt x="319" y="209"/>
                    <a:pt x="319" y="158"/>
                  </a:cubicBezTo>
                  <a:cubicBezTo>
                    <a:pt x="319" y="71"/>
                    <a:pt x="248" y="0"/>
                    <a:pt x="160" y="0"/>
                  </a:cubicBezTo>
                  <a:close/>
                  <a:moveTo>
                    <a:pt x="159" y="246"/>
                  </a:moveTo>
                  <a:cubicBezTo>
                    <a:pt x="109" y="246"/>
                    <a:pt x="68" y="205"/>
                    <a:pt x="68" y="154"/>
                  </a:cubicBezTo>
                  <a:cubicBezTo>
                    <a:pt x="68" y="104"/>
                    <a:pt x="109" y="63"/>
                    <a:pt x="159" y="63"/>
                  </a:cubicBezTo>
                  <a:cubicBezTo>
                    <a:pt x="210" y="63"/>
                    <a:pt x="250" y="104"/>
                    <a:pt x="250" y="154"/>
                  </a:cubicBezTo>
                  <a:cubicBezTo>
                    <a:pt x="250" y="205"/>
                    <a:pt x="210" y="246"/>
                    <a:pt x="159" y="24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51" name="íṧḷîḓè">
              <a:extLst>
                <a:ext uri="{FF2B5EF4-FFF2-40B4-BE49-F238E27FC236}">
                  <a16:creationId xmlns:a16="http://schemas.microsoft.com/office/drawing/2014/main" id="{BDAB2060-97D9-4834-AEB9-B374BC101101}"/>
                </a:ext>
              </a:extLst>
            </p:cNvPr>
            <p:cNvSpPr/>
            <p:nvPr/>
          </p:nvSpPr>
          <p:spPr bwMode="auto">
            <a:xfrm>
              <a:off x="5908249" y="4686664"/>
              <a:ext cx="140509" cy="206739"/>
            </a:xfrm>
            <a:custGeom>
              <a:avLst/>
              <a:gdLst>
                <a:gd name="T0" fmla="*/ 88862 h 440259"/>
                <a:gd name="T1" fmla="*/ 88862 h 440259"/>
                <a:gd name="T2" fmla="*/ 278945 h 440259"/>
                <a:gd name="T3" fmla="*/ 278945 h 440259"/>
                <a:gd name="T4" fmla="*/ 278945 h 440259"/>
                <a:gd name="T5" fmla="*/ 278945 h 440259"/>
                <a:gd name="T6" fmla="*/ 278945 h 440259"/>
                <a:gd name="T7" fmla="*/ 278945 h 440259"/>
                <a:gd name="T8" fmla="*/ 278945 h 440259"/>
                <a:gd name="T9" fmla="*/ 278945 h 440259"/>
                <a:gd name="T10" fmla="*/ 278945 h 440259"/>
                <a:gd name="T11" fmla="*/ 278945 h 440259"/>
                <a:gd name="T12" fmla="*/ 278945 h 440259"/>
                <a:gd name="T13" fmla="*/ 278945 h 440259"/>
                <a:gd name="T14" fmla="*/ 88862 h 440259"/>
                <a:gd name="T15" fmla="*/ 88862 h 440259"/>
                <a:gd name="T16" fmla="*/ 278945 h 440259"/>
                <a:gd name="T17" fmla="*/ 278945 h 440259"/>
                <a:gd name="T18" fmla="*/ 278945 h 440259"/>
                <a:gd name="T19" fmla="*/ 278945 h 440259"/>
                <a:gd name="T20" fmla="*/ 278945 h 440259"/>
                <a:gd name="T21" fmla="*/ 278945 h 440259"/>
                <a:gd name="T22" fmla="*/ 278945 h 440259"/>
                <a:gd name="T23" fmla="*/ 278945 h 440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470">
                  <a:moveTo>
                    <a:pt x="160" y="0"/>
                  </a:moveTo>
                  <a:cubicBezTo>
                    <a:pt x="72" y="0"/>
                    <a:pt x="0" y="71"/>
                    <a:pt x="0" y="158"/>
                  </a:cubicBezTo>
                  <a:cubicBezTo>
                    <a:pt x="0" y="203"/>
                    <a:pt x="44" y="283"/>
                    <a:pt x="44" y="283"/>
                  </a:cubicBezTo>
                  <a:lnTo>
                    <a:pt x="154" y="470"/>
                  </a:lnTo>
                  <a:lnTo>
                    <a:pt x="268" y="286"/>
                  </a:lnTo>
                  <a:cubicBezTo>
                    <a:pt x="268" y="286"/>
                    <a:pt x="319" y="209"/>
                    <a:pt x="319" y="158"/>
                  </a:cubicBezTo>
                  <a:cubicBezTo>
                    <a:pt x="319" y="71"/>
                    <a:pt x="248" y="0"/>
                    <a:pt x="160" y="0"/>
                  </a:cubicBezTo>
                  <a:close/>
                  <a:moveTo>
                    <a:pt x="159" y="246"/>
                  </a:moveTo>
                  <a:cubicBezTo>
                    <a:pt x="109" y="246"/>
                    <a:pt x="68" y="205"/>
                    <a:pt x="68" y="154"/>
                  </a:cubicBezTo>
                  <a:cubicBezTo>
                    <a:pt x="68" y="104"/>
                    <a:pt x="109" y="63"/>
                    <a:pt x="159" y="63"/>
                  </a:cubicBezTo>
                  <a:cubicBezTo>
                    <a:pt x="210" y="63"/>
                    <a:pt x="250" y="104"/>
                    <a:pt x="250" y="154"/>
                  </a:cubicBezTo>
                  <a:cubicBezTo>
                    <a:pt x="250" y="205"/>
                    <a:pt x="210" y="246"/>
                    <a:pt x="159" y="24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52" name="íşļîde">
              <a:extLst>
                <a:ext uri="{FF2B5EF4-FFF2-40B4-BE49-F238E27FC236}">
                  <a16:creationId xmlns:a16="http://schemas.microsoft.com/office/drawing/2014/main" id="{F9425629-C271-408D-AE71-34E512832D14}"/>
                </a:ext>
              </a:extLst>
            </p:cNvPr>
            <p:cNvSpPr/>
            <p:nvPr/>
          </p:nvSpPr>
          <p:spPr bwMode="auto">
            <a:xfrm>
              <a:off x="6432443" y="4153460"/>
              <a:ext cx="140509" cy="206739"/>
            </a:xfrm>
            <a:custGeom>
              <a:avLst/>
              <a:gdLst>
                <a:gd name="T0" fmla="*/ 88862 h 440259"/>
                <a:gd name="T1" fmla="*/ 88862 h 440259"/>
                <a:gd name="T2" fmla="*/ 278945 h 440259"/>
                <a:gd name="T3" fmla="*/ 278945 h 440259"/>
                <a:gd name="T4" fmla="*/ 278945 h 440259"/>
                <a:gd name="T5" fmla="*/ 278945 h 440259"/>
                <a:gd name="T6" fmla="*/ 278945 h 440259"/>
                <a:gd name="T7" fmla="*/ 278945 h 440259"/>
                <a:gd name="T8" fmla="*/ 278945 h 440259"/>
                <a:gd name="T9" fmla="*/ 278945 h 440259"/>
                <a:gd name="T10" fmla="*/ 278945 h 440259"/>
                <a:gd name="T11" fmla="*/ 278945 h 440259"/>
                <a:gd name="T12" fmla="*/ 278945 h 440259"/>
                <a:gd name="T13" fmla="*/ 278945 h 440259"/>
                <a:gd name="T14" fmla="*/ 88862 h 440259"/>
                <a:gd name="T15" fmla="*/ 88862 h 440259"/>
                <a:gd name="T16" fmla="*/ 278945 h 440259"/>
                <a:gd name="T17" fmla="*/ 278945 h 440259"/>
                <a:gd name="T18" fmla="*/ 278945 h 440259"/>
                <a:gd name="T19" fmla="*/ 278945 h 440259"/>
                <a:gd name="T20" fmla="*/ 278945 h 440259"/>
                <a:gd name="T21" fmla="*/ 278945 h 440259"/>
                <a:gd name="T22" fmla="*/ 278945 h 440259"/>
                <a:gd name="T23" fmla="*/ 278945 h 440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470">
                  <a:moveTo>
                    <a:pt x="160" y="0"/>
                  </a:moveTo>
                  <a:cubicBezTo>
                    <a:pt x="72" y="0"/>
                    <a:pt x="0" y="71"/>
                    <a:pt x="0" y="158"/>
                  </a:cubicBezTo>
                  <a:cubicBezTo>
                    <a:pt x="0" y="203"/>
                    <a:pt x="44" y="283"/>
                    <a:pt x="44" y="283"/>
                  </a:cubicBezTo>
                  <a:lnTo>
                    <a:pt x="154" y="470"/>
                  </a:lnTo>
                  <a:lnTo>
                    <a:pt x="268" y="286"/>
                  </a:lnTo>
                  <a:cubicBezTo>
                    <a:pt x="268" y="286"/>
                    <a:pt x="319" y="209"/>
                    <a:pt x="319" y="158"/>
                  </a:cubicBezTo>
                  <a:cubicBezTo>
                    <a:pt x="319" y="71"/>
                    <a:pt x="248" y="0"/>
                    <a:pt x="160" y="0"/>
                  </a:cubicBezTo>
                  <a:close/>
                  <a:moveTo>
                    <a:pt x="159" y="246"/>
                  </a:moveTo>
                  <a:cubicBezTo>
                    <a:pt x="109" y="246"/>
                    <a:pt x="68" y="205"/>
                    <a:pt x="68" y="154"/>
                  </a:cubicBezTo>
                  <a:cubicBezTo>
                    <a:pt x="68" y="104"/>
                    <a:pt x="109" y="63"/>
                    <a:pt x="159" y="63"/>
                  </a:cubicBezTo>
                  <a:cubicBezTo>
                    <a:pt x="210" y="63"/>
                    <a:pt x="250" y="104"/>
                    <a:pt x="250" y="154"/>
                  </a:cubicBezTo>
                  <a:cubicBezTo>
                    <a:pt x="250" y="205"/>
                    <a:pt x="210" y="246"/>
                    <a:pt x="159" y="24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53" name="îsľíďé">
              <a:extLst>
                <a:ext uri="{FF2B5EF4-FFF2-40B4-BE49-F238E27FC236}">
                  <a16:creationId xmlns:a16="http://schemas.microsoft.com/office/drawing/2014/main" id="{5024C8F5-F3DB-4713-98D2-1924F48EBA46}"/>
                </a:ext>
              </a:extLst>
            </p:cNvPr>
            <p:cNvSpPr/>
            <p:nvPr/>
          </p:nvSpPr>
          <p:spPr bwMode="auto">
            <a:xfrm>
              <a:off x="6251530" y="4554914"/>
              <a:ext cx="140509" cy="206739"/>
            </a:xfrm>
            <a:custGeom>
              <a:avLst/>
              <a:gdLst>
                <a:gd name="T0" fmla="*/ 88862 h 440259"/>
                <a:gd name="T1" fmla="*/ 88862 h 440259"/>
                <a:gd name="T2" fmla="*/ 278945 h 440259"/>
                <a:gd name="T3" fmla="*/ 278945 h 440259"/>
                <a:gd name="T4" fmla="*/ 278945 h 440259"/>
                <a:gd name="T5" fmla="*/ 278945 h 440259"/>
                <a:gd name="T6" fmla="*/ 278945 h 440259"/>
                <a:gd name="T7" fmla="*/ 278945 h 440259"/>
                <a:gd name="T8" fmla="*/ 278945 h 440259"/>
                <a:gd name="T9" fmla="*/ 278945 h 440259"/>
                <a:gd name="T10" fmla="*/ 278945 h 440259"/>
                <a:gd name="T11" fmla="*/ 278945 h 440259"/>
                <a:gd name="T12" fmla="*/ 278945 h 440259"/>
                <a:gd name="T13" fmla="*/ 278945 h 440259"/>
                <a:gd name="T14" fmla="*/ 88862 h 440259"/>
                <a:gd name="T15" fmla="*/ 88862 h 440259"/>
                <a:gd name="T16" fmla="*/ 278945 h 440259"/>
                <a:gd name="T17" fmla="*/ 278945 h 440259"/>
                <a:gd name="T18" fmla="*/ 278945 h 440259"/>
                <a:gd name="T19" fmla="*/ 278945 h 440259"/>
                <a:gd name="T20" fmla="*/ 278945 h 440259"/>
                <a:gd name="T21" fmla="*/ 278945 h 440259"/>
                <a:gd name="T22" fmla="*/ 278945 h 440259"/>
                <a:gd name="T23" fmla="*/ 278945 h 440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470">
                  <a:moveTo>
                    <a:pt x="160" y="0"/>
                  </a:moveTo>
                  <a:cubicBezTo>
                    <a:pt x="72" y="0"/>
                    <a:pt x="0" y="71"/>
                    <a:pt x="0" y="158"/>
                  </a:cubicBezTo>
                  <a:cubicBezTo>
                    <a:pt x="0" y="203"/>
                    <a:pt x="44" y="283"/>
                    <a:pt x="44" y="283"/>
                  </a:cubicBezTo>
                  <a:lnTo>
                    <a:pt x="154" y="470"/>
                  </a:lnTo>
                  <a:lnTo>
                    <a:pt x="268" y="286"/>
                  </a:lnTo>
                  <a:cubicBezTo>
                    <a:pt x="268" y="286"/>
                    <a:pt x="319" y="209"/>
                    <a:pt x="319" y="158"/>
                  </a:cubicBezTo>
                  <a:cubicBezTo>
                    <a:pt x="319" y="71"/>
                    <a:pt x="248" y="0"/>
                    <a:pt x="160" y="0"/>
                  </a:cubicBezTo>
                  <a:close/>
                  <a:moveTo>
                    <a:pt x="159" y="246"/>
                  </a:moveTo>
                  <a:cubicBezTo>
                    <a:pt x="109" y="246"/>
                    <a:pt x="68" y="205"/>
                    <a:pt x="68" y="154"/>
                  </a:cubicBezTo>
                  <a:cubicBezTo>
                    <a:pt x="68" y="104"/>
                    <a:pt x="109" y="63"/>
                    <a:pt x="159" y="63"/>
                  </a:cubicBezTo>
                  <a:cubicBezTo>
                    <a:pt x="210" y="63"/>
                    <a:pt x="250" y="104"/>
                    <a:pt x="250" y="154"/>
                  </a:cubicBezTo>
                  <a:cubicBezTo>
                    <a:pt x="250" y="205"/>
                    <a:pt x="210" y="246"/>
                    <a:pt x="159" y="24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54" name="îş1íďe">
              <a:extLst>
                <a:ext uri="{FF2B5EF4-FFF2-40B4-BE49-F238E27FC236}">
                  <a16:creationId xmlns:a16="http://schemas.microsoft.com/office/drawing/2014/main" id="{F0692DDC-5E88-4A77-A593-3C23FAB46109}"/>
                </a:ext>
              </a:extLst>
            </p:cNvPr>
            <p:cNvSpPr txBox="1"/>
            <p:nvPr/>
          </p:nvSpPr>
          <p:spPr>
            <a:xfrm>
              <a:off x="660400" y="1611875"/>
              <a:ext cx="2359025" cy="432521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1600" b="1" dirty="0"/>
                <a:t>Text here</a:t>
              </a:r>
              <a:endParaRPr lang="id-ID" sz="1600" b="1" dirty="0"/>
            </a:p>
          </p:txBody>
        </p:sp>
        <p:sp>
          <p:nvSpPr>
            <p:cNvPr id="355" name="iṡļiďé">
              <a:extLst>
                <a:ext uri="{FF2B5EF4-FFF2-40B4-BE49-F238E27FC236}">
                  <a16:creationId xmlns:a16="http://schemas.microsoft.com/office/drawing/2014/main" id="{A8D40423-84CF-4FFD-A303-A9235B33928A}"/>
                </a:ext>
              </a:extLst>
            </p:cNvPr>
            <p:cNvSpPr/>
            <p:nvPr/>
          </p:nvSpPr>
          <p:spPr bwMode="auto">
            <a:xfrm>
              <a:off x="660400" y="2196798"/>
              <a:ext cx="2359025" cy="6726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tabLst>
                  <a:tab pos="804863" algn="l"/>
                </a:tabLst>
              </a:pPr>
              <a:r>
                <a:rPr lang="en-US" altLang="zh-CN" sz="1100" dirty="0"/>
                <a:t>Supporting text here.</a:t>
              </a:r>
            </a:p>
            <a:p>
              <a:pPr>
                <a:tabLst>
                  <a:tab pos="804863" algn="l"/>
                </a:tabLst>
              </a:pPr>
              <a:r>
                <a:rPr lang="en-US" altLang="zh-CN" sz="1100" dirty="0"/>
                <a:t>… …</a:t>
              </a:r>
            </a:p>
          </p:txBody>
        </p:sp>
        <p:sp>
          <p:nvSpPr>
            <p:cNvPr id="356" name="íSļíḍé">
              <a:extLst>
                <a:ext uri="{FF2B5EF4-FFF2-40B4-BE49-F238E27FC236}">
                  <a16:creationId xmlns:a16="http://schemas.microsoft.com/office/drawing/2014/main" id="{8A3A9133-ADFA-4595-89D8-BDFE37AD12E4}"/>
                </a:ext>
              </a:extLst>
            </p:cNvPr>
            <p:cNvSpPr/>
            <p:nvPr/>
          </p:nvSpPr>
          <p:spPr bwMode="auto">
            <a:xfrm>
              <a:off x="660400" y="2992265"/>
              <a:ext cx="2359025" cy="6726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tabLst>
                  <a:tab pos="804863" algn="l"/>
                </a:tabLst>
              </a:pPr>
              <a:r>
                <a:rPr lang="en-US" altLang="zh-CN" sz="1100" dirty="0"/>
                <a:t>Supporting text here.</a:t>
              </a:r>
            </a:p>
            <a:p>
              <a:pPr>
                <a:tabLst>
                  <a:tab pos="804863" algn="l"/>
                </a:tabLst>
              </a:pPr>
              <a:r>
                <a:rPr lang="en-US" altLang="zh-CN" sz="1100" dirty="0"/>
                <a:t>… …</a:t>
              </a:r>
            </a:p>
          </p:txBody>
        </p:sp>
        <p:sp>
          <p:nvSpPr>
            <p:cNvPr id="357" name="íş1ïdê">
              <a:extLst>
                <a:ext uri="{FF2B5EF4-FFF2-40B4-BE49-F238E27FC236}">
                  <a16:creationId xmlns:a16="http://schemas.microsoft.com/office/drawing/2014/main" id="{7EBFE20E-9E94-48E9-8DC1-2E0D5AF467AE}"/>
                </a:ext>
              </a:extLst>
            </p:cNvPr>
            <p:cNvSpPr txBox="1"/>
            <p:nvPr/>
          </p:nvSpPr>
          <p:spPr>
            <a:xfrm>
              <a:off x="9159875" y="1611875"/>
              <a:ext cx="2359025" cy="432521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altLang="zh-CN" sz="1600" b="1" dirty="0"/>
                <a:t>Text here</a:t>
              </a:r>
              <a:endParaRPr lang="id-ID" sz="1600" b="1" dirty="0"/>
            </a:p>
          </p:txBody>
        </p:sp>
        <p:sp>
          <p:nvSpPr>
            <p:cNvPr id="358" name="ïṥļîde">
              <a:extLst>
                <a:ext uri="{FF2B5EF4-FFF2-40B4-BE49-F238E27FC236}">
                  <a16:creationId xmlns:a16="http://schemas.microsoft.com/office/drawing/2014/main" id="{0937D868-069B-4F61-A5A8-05C064B2B72B}"/>
                </a:ext>
              </a:extLst>
            </p:cNvPr>
            <p:cNvSpPr/>
            <p:nvPr/>
          </p:nvSpPr>
          <p:spPr bwMode="auto">
            <a:xfrm>
              <a:off x="9159875" y="2196798"/>
              <a:ext cx="2359025" cy="6726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tabLst>
                  <a:tab pos="804863" algn="l"/>
                </a:tabLst>
              </a:pPr>
              <a:r>
                <a:rPr lang="en-US" altLang="zh-CN" sz="1100" dirty="0"/>
                <a:t>Supporting text here.</a:t>
              </a:r>
            </a:p>
            <a:p>
              <a:pPr algn="r">
                <a:tabLst>
                  <a:tab pos="804863" algn="l"/>
                </a:tabLst>
              </a:pPr>
              <a:r>
                <a:rPr lang="en-US" altLang="zh-CN" sz="1100" dirty="0"/>
                <a:t>… …</a:t>
              </a:r>
            </a:p>
          </p:txBody>
        </p:sp>
        <p:sp>
          <p:nvSpPr>
            <p:cNvPr id="359" name="íŝ1iďê">
              <a:extLst>
                <a:ext uri="{FF2B5EF4-FFF2-40B4-BE49-F238E27FC236}">
                  <a16:creationId xmlns:a16="http://schemas.microsoft.com/office/drawing/2014/main" id="{CC752DCB-68F2-4F4F-BB57-50812637F2B2}"/>
                </a:ext>
              </a:extLst>
            </p:cNvPr>
            <p:cNvSpPr/>
            <p:nvPr/>
          </p:nvSpPr>
          <p:spPr bwMode="auto">
            <a:xfrm>
              <a:off x="9159875" y="2992265"/>
              <a:ext cx="2359025" cy="6726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tabLst>
                  <a:tab pos="804863" algn="l"/>
                </a:tabLst>
              </a:pPr>
              <a:r>
                <a:rPr lang="en-US" altLang="zh-CN" sz="1100" dirty="0"/>
                <a:t>Supporting text here.</a:t>
              </a:r>
            </a:p>
            <a:p>
              <a:pPr algn="r">
                <a:tabLst>
                  <a:tab pos="804863" algn="l"/>
                </a:tabLst>
              </a:pPr>
              <a:r>
                <a:rPr lang="en-US" altLang="zh-CN" sz="1100" dirty="0"/>
                <a:t>… …</a:t>
              </a:r>
            </a:p>
          </p:txBody>
        </p:sp>
        <p:sp>
          <p:nvSpPr>
            <p:cNvPr id="360" name="isḻîḑè">
              <a:extLst>
                <a:ext uri="{FF2B5EF4-FFF2-40B4-BE49-F238E27FC236}">
                  <a16:creationId xmlns:a16="http://schemas.microsoft.com/office/drawing/2014/main" id="{FE0FF006-A60D-4694-9E5D-C31D63722BE1}"/>
                </a:ext>
              </a:extLst>
            </p:cNvPr>
            <p:cNvSpPr/>
            <p:nvPr/>
          </p:nvSpPr>
          <p:spPr bwMode="auto">
            <a:xfrm>
              <a:off x="660400" y="3787732"/>
              <a:ext cx="2359025" cy="6726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tabLst>
                  <a:tab pos="804863" algn="l"/>
                </a:tabLst>
              </a:pPr>
              <a:r>
                <a:rPr lang="en-US" altLang="zh-CN" sz="1100" dirty="0"/>
                <a:t>Supporting text here.</a:t>
              </a:r>
            </a:p>
            <a:p>
              <a:pPr>
                <a:tabLst>
                  <a:tab pos="804863" algn="l"/>
                </a:tabLst>
              </a:pPr>
              <a:r>
                <a:rPr lang="en-US" altLang="zh-CN" sz="1100" dirty="0"/>
                <a:t>… …</a:t>
              </a:r>
            </a:p>
          </p:txBody>
        </p:sp>
        <p:sp>
          <p:nvSpPr>
            <p:cNvPr id="361" name="ï$1iḋê">
              <a:extLst>
                <a:ext uri="{FF2B5EF4-FFF2-40B4-BE49-F238E27FC236}">
                  <a16:creationId xmlns:a16="http://schemas.microsoft.com/office/drawing/2014/main" id="{CCA93434-87EB-4FB9-8783-A86BCFAC1E1E}"/>
                </a:ext>
              </a:extLst>
            </p:cNvPr>
            <p:cNvSpPr/>
            <p:nvPr/>
          </p:nvSpPr>
          <p:spPr bwMode="auto">
            <a:xfrm>
              <a:off x="9159875" y="3787732"/>
              <a:ext cx="2359025" cy="6726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tabLst>
                  <a:tab pos="804863" algn="l"/>
                </a:tabLst>
              </a:pPr>
              <a:r>
                <a:rPr lang="en-US" altLang="zh-CN" sz="1100" dirty="0"/>
                <a:t>Supporting text here.</a:t>
              </a:r>
            </a:p>
            <a:p>
              <a:pPr algn="r">
                <a:tabLst>
                  <a:tab pos="804863" algn="l"/>
                </a:tabLst>
              </a:pPr>
              <a:r>
                <a:rPr lang="en-US" altLang="zh-CN" sz="1100" dirty="0"/>
                <a:t>… …</a:t>
              </a:r>
            </a:p>
          </p:txBody>
        </p:sp>
        <p:grpSp>
          <p:nvGrpSpPr>
            <p:cNvPr id="362" name="ïṡ1ïḑé">
              <a:extLst>
                <a:ext uri="{FF2B5EF4-FFF2-40B4-BE49-F238E27FC236}">
                  <a16:creationId xmlns:a16="http://schemas.microsoft.com/office/drawing/2014/main" id="{BE266BE0-602B-4FDF-A67C-779E4C28DEDB}"/>
                </a:ext>
              </a:extLst>
            </p:cNvPr>
            <p:cNvGrpSpPr/>
            <p:nvPr/>
          </p:nvGrpSpPr>
          <p:grpSpPr>
            <a:xfrm>
              <a:off x="1250857" y="5092043"/>
              <a:ext cx="473261" cy="473261"/>
              <a:chOff x="6319119" y="1785939"/>
              <a:chExt cx="594360" cy="594360"/>
            </a:xfrm>
          </p:grpSpPr>
          <p:sp>
            <p:nvSpPr>
              <p:cNvPr id="376" name="î$ļîďe">
                <a:extLst>
                  <a:ext uri="{FF2B5EF4-FFF2-40B4-BE49-F238E27FC236}">
                    <a16:creationId xmlns:a16="http://schemas.microsoft.com/office/drawing/2014/main" id="{4DF7527C-A11D-4FEA-A2A7-7A79A388EEE7}"/>
                  </a:ext>
                </a:extLst>
              </p:cNvPr>
              <p:cNvSpPr/>
              <p:nvPr/>
            </p:nvSpPr>
            <p:spPr>
              <a:xfrm>
                <a:off x="6319119" y="1785939"/>
                <a:ext cx="594360" cy="594360"/>
              </a:xfrm>
              <a:prstGeom prst="ellipse">
                <a:avLst/>
              </a:prstGeom>
              <a:solidFill>
                <a:schemeClr val="accent1"/>
              </a:solidFill>
              <a:ln w="285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77" name="îṣḻiḑè">
                <a:extLst>
                  <a:ext uri="{FF2B5EF4-FFF2-40B4-BE49-F238E27FC236}">
                    <a16:creationId xmlns:a16="http://schemas.microsoft.com/office/drawing/2014/main" id="{FD99BBAE-39E0-484C-9C1C-1908FAF3B45C}"/>
                  </a:ext>
                </a:extLst>
              </p:cNvPr>
              <p:cNvSpPr/>
              <p:nvPr/>
            </p:nvSpPr>
            <p:spPr>
              <a:xfrm>
                <a:off x="6484831" y="1939771"/>
                <a:ext cx="262933" cy="286692"/>
              </a:xfrm>
              <a:custGeom>
                <a:avLst/>
                <a:gdLst>
                  <a:gd name="T0" fmla="*/ 168 w 208"/>
                  <a:gd name="T1" fmla="*/ 0 h 224"/>
                  <a:gd name="T2" fmla="*/ 168 w 208"/>
                  <a:gd name="T3" fmla="*/ 68 h 224"/>
                  <a:gd name="T4" fmla="*/ 108 w 208"/>
                  <a:gd name="T5" fmla="*/ 68 h 224"/>
                  <a:gd name="T6" fmla="*/ 108 w 208"/>
                  <a:gd name="T7" fmla="*/ 124 h 224"/>
                  <a:gd name="T8" fmla="*/ 192 w 208"/>
                  <a:gd name="T9" fmla="*/ 124 h 224"/>
                  <a:gd name="T10" fmla="*/ 192 w 208"/>
                  <a:gd name="T11" fmla="*/ 184 h 224"/>
                  <a:gd name="T12" fmla="*/ 208 w 208"/>
                  <a:gd name="T13" fmla="*/ 184 h 224"/>
                  <a:gd name="T14" fmla="*/ 208 w 208"/>
                  <a:gd name="T15" fmla="*/ 224 h 224"/>
                  <a:gd name="T16" fmla="*/ 168 w 208"/>
                  <a:gd name="T17" fmla="*/ 224 h 224"/>
                  <a:gd name="T18" fmla="*/ 168 w 208"/>
                  <a:gd name="T19" fmla="*/ 184 h 224"/>
                  <a:gd name="T20" fmla="*/ 184 w 208"/>
                  <a:gd name="T21" fmla="*/ 184 h 224"/>
                  <a:gd name="T22" fmla="*/ 184 w 208"/>
                  <a:gd name="T23" fmla="*/ 132 h 224"/>
                  <a:gd name="T24" fmla="*/ 108 w 208"/>
                  <a:gd name="T25" fmla="*/ 132 h 224"/>
                  <a:gd name="T26" fmla="*/ 108 w 208"/>
                  <a:gd name="T27" fmla="*/ 184 h 224"/>
                  <a:gd name="T28" fmla="*/ 124 w 208"/>
                  <a:gd name="T29" fmla="*/ 184 h 224"/>
                  <a:gd name="T30" fmla="*/ 124 w 208"/>
                  <a:gd name="T31" fmla="*/ 224 h 224"/>
                  <a:gd name="T32" fmla="*/ 84 w 208"/>
                  <a:gd name="T33" fmla="*/ 224 h 224"/>
                  <a:gd name="T34" fmla="*/ 84 w 208"/>
                  <a:gd name="T35" fmla="*/ 184 h 224"/>
                  <a:gd name="T36" fmla="*/ 100 w 208"/>
                  <a:gd name="T37" fmla="*/ 184 h 224"/>
                  <a:gd name="T38" fmla="*/ 100 w 208"/>
                  <a:gd name="T39" fmla="*/ 132 h 224"/>
                  <a:gd name="T40" fmla="*/ 24 w 208"/>
                  <a:gd name="T41" fmla="*/ 132 h 224"/>
                  <a:gd name="T42" fmla="*/ 24 w 208"/>
                  <a:gd name="T43" fmla="*/ 184 h 224"/>
                  <a:gd name="T44" fmla="*/ 40 w 208"/>
                  <a:gd name="T45" fmla="*/ 184 h 224"/>
                  <a:gd name="T46" fmla="*/ 40 w 208"/>
                  <a:gd name="T47" fmla="*/ 224 h 224"/>
                  <a:gd name="T48" fmla="*/ 0 w 208"/>
                  <a:gd name="T49" fmla="*/ 224 h 224"/>
                  <a:gd name="T50" fmla="*/ 0 w 208"/>
                  <a:gd name="T51" fmla="*/ 184 h 224"/>
                  <a:gd name="T52" fmla="*/ 16 w 208"/>
                  <a:gd name="T53" fmla="*/ 184 h 224"/>
                  <a:gd name="T54" fmla="*/ 16 w 208"/>
                  <a:gd name="T55" fmla="*/ 124 h 224"/>
                  <a:gd name="T56" fmla="*/ 100 w 208"/>
                  <a:gd name="T57" fmla="*/ 124 h 224"/>
                  <a:gd name="T58" fmla="*/ 100 w 208"/>
                  <a:gd name="T59" fmla="*/ 68 h 224"/>
                  <a:gd name="T60" fmla="*/ 40 w 208"/>
                  <a:gd name="T61" fmla="*/ 68 h 224"/>
                  <a:gd name="T62" fmla="*/ 40 w 208"/>
                  <a:gd name="T63" fmla="*/ 0 h 224"/>
                  <a:gd name="T64" fmla="*/ 168 w 208"/>
                  <a:gd name="T65" fmla="*/ 0 h 224"/>
                  <a:gd name="T66" fmla="*/ 32 w 208"/>
                  <a:gd name="T67" fmla="*/ 192 h 224"/>
                  <a:gd name="T68" fmla="*/ 8 w 208"/>
                  <a:gd name="T69" fmla="*/ 192 h 224"/>
                  <a:gd name="T70" fmla="*/ 8 w 208"/>
                  <a:gd name="T71" fmla="*/ 216 h 224"/>
                  <a:gd name="T72" fmla="*/ 32 w 208"/>
                  <a:gd name="T73" fmla="*/ 216 h 224"/>
                  <a:gd name="T74" fmla="*/ 32 w 208"/>
                  <a:gd name="T75" fmla="*/ 192 h 224"/>
                  <a:gd name="T76" fmla="*/ 116 w 208"/>
                  <a:gd name="T77" fmla="*/ 192 h 224"/>
                  <a:gd name="T78" fmla="*/ 92 w 208"/>
                  <a:gd name="T79" fmla="*/ 192 h 224"/>
                  <a:gd name="T80" fmla="*/ 92 w 208"/>
                  <a:gd name="T81" fmla="*/ 216 h 224"/>
                  <a:gd name="T82" fmla="*/ 116 w 208"/>
                  <a:gd name="T83" fmla="*/ 216 h 224"/>
                  <a:gd name="T84" fmla="*/ 116 w 208"/>
                  <a:gd name="T85" fmla="*/ 192 h 224"/>
                  <a:gd name="T86" fmla="*/ 200 w 208"/>
                  <a:gd name="T87" fmla="*/ 192 h 224"/>
                  <a:gd name="T88" fmla="*/ 176 w 208"/>
                  <a:gd name="T89" fmla="*/ 192 h 224"/>
                  <a:gd name="T90" fmla="*/ 176 w 208"/>
                  <a:gd name="T91" fmla="*/ 216 h 224"/>
                  <a:gd name="T92" fmla="*/ 200 w 208"/>
                  <a:gd name="T93" fmla="*/ 216 h 224"/>
                  <a:gd name="T94" fmla="*/ 200 w 208"/>
                  <a:gd name="T95" fmla="*/ 192 h 224"/>
                  <a:gd name="T96" fmla="*/ 160 w 208"/>
                  <a:gd name="T97" fmla="*/ 8 h 224"/>
                  <a:gd name="T98" fmla="*/ 48 w 208"/>
                  <a:gd name="T99" fmla="*/ 8 h 224"/>
                  <a:gd name="T100" fmla="*/ 48 w 208"/>
                  <a:gd name="T101" fmla="*/ 60 h 224"/>
                  <a:gd name="T102" fmla="*/ 160 w 208"/>
                  <a:gd name="T103" fmla="*/ 60 h 224"/>
                  <a:gd name="T104" fmla="*/ 160 w 208"/>
                  <a:gd name="T105" fmla="*/ 8 h 224"/>
                  <a:gd name="T106" fmla="*/ 66 w 208"/>
                  <a:gd name="T107" fmla="*/ 36 h 224"/>
                  <a:gd name="T108" fmla="*/ 72 w 208"/>
                  <a:gd name="T109" fmla="*/ 42 h 224"/>
                  <a:gd name="T110" fmla="*/ 66 w 208"/>
                  <a:gd name="T111" fmla="*/ 48 h 224"/>
                  <a:gd name="T112" fmla="*/ 60 w 208"/>
                  <a:gd name="T113" fmla="*/ 42 h 224"/>
                  <a:gd name="T114" fmla="*/ 66 w 208"/>
                  <a:gd name="T115" fmla="*/ 36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08" h="224">
                    <a:moveTo>
                      <a:pt x="168" y="0"/>
                    </a:moveTo>
                    <a:cubicBezTo>
                      <a:pt x="168" y="68"/>
                      <a:pt x="168" y="68"/>
                      <a:pt x="168" y="68"/>
                    </a:cubicBezTo>
                    <a:cubicBezTo>
                      <a:pt x="108" y="68"/>
                      <a:pt x="108" y="68"/>
                      <a:pt x="108" y="68"/>
                    </a:cubicBezTo>
                    <a:cubicBezTo>
                      <a:pt x="108" y="124"/>
                      <a:pt x="108" y="124"/>
                      <a:pt x="108" y="124"/>
                    </a:cubicBezTo>
                    <a:cubicBezTo>
                      <a:pt x="192" y="124"/>
                      <a:pt x="192" y="124"/>
                      <a:pt x="192" y="124"/>
                    </a:cubicBezTo>
                    <a:cubicBezTo>
                      <a:pt x="192" y="184"/>
                      <a:pt x="192" y="184"/>
                      <a:pt x="192" y="184"/>
                    </a:cubicBezTo>
                    <a:cubicBezTo>
                      <a:pt x="208" y="184"/>
                      <a:pt x="208" y="184"/>
                      <a:pt x="208" y="184"/>
                    </a:cubicBezTo>
                    <a:cubicBezTo>
                      <a:pt x="208" y="224"/>
                      <a:pt x="208" y="224"/>
                      <a:pt x="208" y="224"/>
                    </a:cubicBezTo>
                    <a:cubicBezTo>
                      <a:pt x="168" y="224"/>
                      <a:pt x="168" y="224"/>
                      <a:pt x="168" y="224"/>
                    </a:cubicBezTo>
                    <a:cubicBezTo>
                      <a:pt x="168" y="184"/>
                      <a:pt x="168" y="184"/>
                      <a:pt x="168" y="184"/>
                    </a:cubicBezTo>
                    <a:cubicBezTo>
                      <a:pt x="184" y="184"/>
                      <a:pt x="184" y="184"/>
                      <a:pt x="184" y="184"/>
                    </a:cubicBezTo>
                    <a:cubicBezTo>
                      <a:pt x="184" y="132"/>
                      <a:pt x="184" y="132"/>
                      <a:pt x="184" y="132"/>
                    </a:cubicBezTo>
                    <a:cubicBezTo>
                      <a:pt x="108" y="132"/>
                      <a:pt x="108" y="132"/>
                      <a:pt x="108" y="132"/>
                    </a:cubicBezTo>
                    <a:cubicBezTo>
                      <a:pt x="108" y="184"/>
                      <a:pt x="108" y="184"/>
                      <a:pt x="108" y="184"/>
                    </a:cubicBezTo>
                    <a:cubicBezTo>
                      <a:pt x="124" y="184"/>
                      <a:pt x="124" y="184"/>
                      <a:pt x="124" y="184"/>
                    </a:cubicBezTo>
                    <a:cubicBezTo>
                      <a:pt x="124" y="224"/>
                      <a:pt x="124" y="224"/>
                      <a:pt x="124" y="224"/>
                    </a:cubicBezTo>
                    <a:cubicBezTo>
                      <a:pt x="84" y="224"/>
                      <a:pt x="84" y="224"/>
                      <a:pt x="84" y="224"/>
                    </a:cubicBezTo>
                    <a:cubicBezTo>
                      <a:pt x="84" y="184"/>
                      <a:pt x="84" y="184"/>
                      <a:pt x="84" y="184"/>
                    </a:cubicBezTo>
                    <a:cubicBezTo>
                      <a:pt x="100" y="184"/>
                      <a:pt x="100" y="184"/>
                      <a:pt x="100" y="184"/>
                    </a:cubicBezTo>
                    <a:cubicBezTo>
                      <a:pt x="100" y="132"/>
                      <a:pt x="100" y="132"/>
                      <a:pt x="100" y="132"/>
                    </a:cubicBezTo>
                    <a:cubicBezTo>
                      <a:pt x="24" y="132"/>
                      <a:pt x="24" y="132"/>
                      <a:pt x="24" y="132"/>
                    </a:cubicBezTo>
                    <a:cubicBezTo>
                      <a:pt x="24" y="184"/>
                      <a:pt x="24" y="184"/>
                      <a:pt x="24" y="184"/>
                    </a:cubicBezTo>
                    <a:cubicBezTo>
                      <a:pt x="40" y="184"/>
                      <a:pt x="40" y="184"/>
                      <a:pt x="40" y="184"/>
                    </a:cubicBezTo>
                    <a:cubicBezTo>
                      <a:pt x="40" y="224"/>
                      <a:pt x="40" y="224"/>
                      <a:pt x="40" y="224"/>
                    </a:cubicBezTo>
                    <a:cubicBezTo>
                      <a:pt x="0" y="224"/>
                      <a:pt x="0" y="224"/>
                      <a:pt x="0" y="224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16" y="184"/>
                      <a:pt x="16" y="184"/>
                      <a:pt x="16" y="184"/>
                    </a:cubicBezTo>
                    <a:cubicBezTo>
                      <a:pt x="16" y="124"/>
                      <a:pt x="16" y="124"/>
                      <a:pt x="16" y="124"/>
                    </a:cubicBezTo>
                    <a:cubicBezTo>
                      <a:pt x="100" y="124"/>
                      <a:pt x="100" y="124"/>
                      <a:pt x="100" y="124"/>
                    </a:cubicBezTo>
                    <a:cubicBezTo>
                      <a:pt x="100" y="68"/>
                      <a:pt x="100" y="68"/>
                      <a:pt x="100" y="68"/>
                    </a:cubicBezTo>
                    <a:cubicBezTo>
                      <a:pt x="40" y="68"/>
                      <a:pt x="40" y="68"/>
                      <a:pt x="40" y="68"/>
                    </a:cubicBezTo>
                    <a:cubicBezTo>
                      <a:pt x="40" y="0"/>
                      <a:pt x="40" y="0"/>
                      <a:pt x="40" y="0"/>
                    </a:cubicBezTo>
                    <a:lnTo>
                      <a:pt x="168" y="0"/>
                    </a:lnTo>
                    <a:close/>
                    <a:moveTo>
                      <a:pt x="32" y="192"/>
                    </a:moveTo>
                    <a:cubicBezTo>
                      <a:pt x="8" y="192"/>
                      <a:pt x="8" y="192"/>
                      <a:pt x="8" y="192"/>
                    </a:cubicBezTo>
                    <a:cubicBezTo>
                      <a:pt x="8" y="216"/>
                      <a:pt x="8" y="216"/>
                      <a:pt x="8" y="216"/>
                    </a:cubicBezTo>
                    <a:cubicBezTo>
                      <a:pt x="32" y="216"/>
                      <a:pt x="32" y="216"/>
                      <a:pt x="32" y="216"/>
                    </a:cubicBezTo>
                    <a:lnTo>
                      <a:pt x="32" y="192"/>
                    </a:lnTo>
                    <a:close/>
                    <a:moveTo>
                      <a:pt x="116" y="192"/>
                    </a:moveTo>
                    <a:cubicBezTo>
                      <a:pt x="92" y="192"/>
                      <a:pt x="92" y="192"/>
                      <a:pt x="92" y="192"/>
                    </a:cubicBezTo>
                    <a:cubicBezTo>
                      <a:pt x="92" y="216"/>
                      <a:pt x="92" y="216"/>
                      <a:pt x="92" y="216"/>
                    </a:cubicBezTo>
                    <a:cubicBezTo>
                      <a:pt x="116" y="216"/>
                      <a:pt x="116" y="216"/>
                      <a:pt x="116" y="216"/>
                    </a:cubicBezTo>
                    <a:lnTo>
                      <a:pt x="116" y="192"/>
                    </a:lnTo>
                    <a:close/>
                    <a:moveTo>
                      <a:pt x="200" y="192"/>
                    </a:moveTo>
                    <a:cubicBezTo>
                      <a:pt x="176" y="192"/>
                      <a:pt x="176" y="192"/>
                      <a:pt x="176" y="192"/>
                    </a:cubicBezTo>
                    <a:cubicBezTo>
                      <a:pt x="176" y="216"/>
                      <a:pt x="176" y="216"/>
                      <a:pt x="176" y="216"/>
                    </a:cubicBezTo>
                    <a:cubicBezTo>
                      <a:pt x="200" y="216"/>
                      <a:pt x="200" y="216"/>
                      <a:pt x="200" y="216"/>
                    </a:cubicBezTo>
                    <a:lnTo>
                      <a:pt x="200" y="192"/>
                    </a:lnTo>
                    <a:close/>
                    <a:moveTo>
                      <a:pt x="160" y="8"/>
                    </a:moveTo>
                    <a:cubicBezTo>
                      <a:pt x="48" y="8"/>
                      <a:pt x="48" y="8"/>
                      <a:pt x="48" y="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160" y="60"/>
                      <a:pt x="160" y="60"/>
                      <a:pt x="160" y="60"/>
                    </a:cubicBezTo>
                    <a:lnTo>
                      <a:pt x="160" y="8"/>
                    </a:lnTo>
                    <a:close/>
                    <a:moveTo>
                      <a:pt x="66" y="36"/>
                    </a:moveTo>
                    <a:cubicBezTo>
                      <a:pt x="69" y="36"/>
                      <a:pt x="72" y="39"/>
                      <a:pt x="72" y="42"/>
                    </a:cubicBezTo>
                    <a:cubicBezTo>
                      <a:pt x="72" y="45"/>
                      <a:pt x="69" y="48"/>
                      <a:pt x="66" y="48"/>
                    </a:cubicBezTo>
                    <a:cubicBezTo>
                      <a:pt x="63" y="48"/>
                      <a:pt x="60" y="45"/>
                      <a:pt x="60" y="42"/>
                    </a:cubicBezTo>
                    <a:cubicBezTo>
                      <a:pt x="60" y="39"/>
                      <a:pt x="63" y="36"/>
                      <a:pt x="66" y="36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63" name="îślíḓe">
              <a:extLst>
                <a:ext uri="{FF2B5EF4-FFF2-40B4-BE49-F238E27FC236}">
                  <a16:creationId xmlns:a16="http://schemas.microsoft.com/office/drawing/2014/main" id="{2B88699E-EE7B-4FCF-ABBC-AA8B22CFFD7F}"/>
                </a:ext>
              </a:extLst>
            </p:cNvPr>
            <p:cNvSpPr txBox="1"/>
            <p:nvPr/>
          </p:nvSpPr>
          <p:spPr>
            <a:xfrm>
              <a:off x="660400" y="5598979"/>
              <a:ext cx="1654175" cy="432521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600" b="1" dirty="0"/>
                <a:t>... </a:t>
              </a:r>
              <a:r>
                <a:rPr lang="zh-CN" altLang="en-US" sz="1600" b="1"/>
                <a:t>￥ </a:t>
              </a:r>
              <a:r>
                <a:rPr lang="en-US" altLang="zh-CN" sz="1600" b="1" dirty="0"/>
                <a:t>| 27 %</a:t>
              </a:r>
            </a:p>
          </p:txBody>
        </p:sp>
        <p:grpSp>
          <p:nvGrpSpPr>
            <p:cNvPr id="364" name="íşḻîḓè">
              <a:extLst>
                <a:ext uri="{FF2B5EF4-FFF2-40B4-BE49-F238E27FC236}">
                  <a16:creationId xmlns:a16="http://schemas.microsoft.com/office/drawing/2014/main" id="{1FEF21DA-28A9-4703-9286-63E6CFDA478D}"/>
                </a:ext>
              </a:extLst>
            </p:cNvPr>
            <p:cNvGrpSpPr/>
            <p:nvPr/>
          </p:nvGrpSpPr>
          <p:grpSpPr>
            <a:xfrm>
              <a:off x="3454304" y="5092043"/>
              <a:ext cx="473261" cy="473261"/>
              <a:chOff x="6319119" y="1785939"/>
              <a:chExt cx="594360" cy="594360"/>
            </a:xfrm>
          </p:grpSpPr>
          <p:sp>
            <p:nvSpPr>
              <p:cNvPr id="374" name="íṡ1ïḋè">
                <a:extLst>
                  <a:ext uri="{FF2B5EF4-FFF2-40B4-BE49-F238E27FC236}">
                    <a16:creationId xmlns:a16="http://schemas.microsoft.com/office/drawing/2014/main" id="{8CE9ED52-52FF-4026-89AF-E3EF72F2B8EC}"/>
                  </a:ext>
                </a:extLst>
              </p:cNvPr>
              <p:cNvSpPr/>
              <p:nvPr/>
            </p:nvSpPr>
            <p:spPr>
              <a:xfrm>
                <a:off x="6319119" y="1785939"/>
                <a:ext cx="594360" cy="594360"/>
              </a:xfrm>
              <a:prstGeom prst="ellipse">
                <a:avLst/>
              </a:prstGeom>
              <a:solidFill>
                <a:schemeClr val="accent2"/>
              </a:solidFill>
              <a:ln w="285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75" name="ïšlîdê">
                <a:extLst>
                  <a:ext uri="{FF2B5EF4-FFF2-40B4-BE49-F238E27FC236}">
                    <a16:creationId xmlns:a16="http://schemas.microsoft.com/office/drawing/2014/main" id="{DDC8B9E5-E024-4E73-B416-477C655647BD}"/>
                  </a:ext>
                </a:extLst>
              </p:cNvPr>
              <p:cNvSpPr/>
              <p:nvPr/>
            </p:nvSpPr>
            <p:spPr>
              <a:xfrm>
                <a:off x="6472952" y="1974206"/>
                <a:ext cx="286692" cy="217821"/>
              </a:xfrm>
              <a:custGeom>
                <a:avLst/>
                <a:gdLst>
                  <a:gd name="T0" fmla="*/ 224 w 224"/>
                  <a:gd name="T1" fmla="*/ 0 h 168"/>
                  <a:gd name="T2" fmla="*/ 224 w 224"/>
                  <a:gd name="T3" fmla="*/ 168 h 168"/>
                  <a:gd name="T4" fmla="*/ 0 w 224"/>
                  <a:gd name="T5" fmla="*/ 168 h 168"/>
                  <a:gd name="T6" fmla="*/ 0 w 224"/>
                  <a:gd name="T7" fmla="*/ 0 h 168"/>
                  <a:gd name="T8" fmla="*/ 224 w 224"/>
                  <a:gd name="T9" fmla="*/ 0 h 168"/>
                  <a:gd name="T10" fmla="*/ 157 w 224"/>
                  <a:gd name="T11" fmla="*/ 64 h 168"/>
                  <a:gd name="T12" fmla="*/ 104 w 224"/>
                  <a:gd name="T13" fmla="*/ 134 h 168"/>
                  <a:gd name="T14" fmla="*/ 59 w 224"/>
                  <a:gd name="T15" fmla="*/ 90 h 168"/>
                  <a:gd name="T16" fmla="*/ 8 w 224"/>
                  <a:gd name="T17" fmla="*/ 149 h 168"/>
                  <a:gd name="T18" fmla="*/ 8 w 224"/>
                  <a:gd name="T19" fmla="*/ 160 h 168"/>
                  <a:gd name="T20" fmla="*/ 216 w 224"/>
                  <a:gd name="T21" fmla="*/ 160 h 168"/>
                  <a:gd name="T22" fmla="*/ 216 w 224"/>
                  <a:gd name="T23" fmla="*/ 142 h 168"/>
                  <a:gd name="T24" fmla="*/ 157 w 224"/>
                  <a:gd name="T25" fmla="*/ 64 h 168"/>
                  <a:gd name="T26" fmla="*/ 216 w 224"/>
                  <a:gd name="T27" fmla="*/ 8 h 168"/>
                  <a:gd name="T28" fmla="*/ 8 w 224"/>
                  <a:gd name="T29" fmla="*/ 8 h 168"/>
                  <a:gd name="T30" fmla="*/ 8 w 224"/>
                  <a:gd name="T31" fmla="*/ 137 h 168"/>
                  <a:gd name="T32" fmla="*/ 58 w 224"/>
                  <a:gd name="T33" fmla="*/ 78 h 168"/>
                  <a:gd name="T34" fmla="*/ 103 w 224"/>
                  <a:gd name="T35" fmla="*/ 122 h 168"/>
                  <a:gd name="T36" fmla="*/ 158 w 224"/>
                  <a:gd name="T37" fmla="*/ 51 h 168"/>
                  <a:gd name="T38" fmla="*/ 216 w 224"/>
                  <a:gd name="T39" fmla="*/ 129 h 168"/>
                  <a:gd name="T40" fmla="*/ 216 w 224"/>
                  <a:gd name="T41" fmla="*/ 8 h 168"/>
                  <a:gd name="T42" fmla="*/ 40 w 224"/>
                  <a:gd name="T43" fmla="*/ 20 h 168"/>
                  <a:gd name="T44" fmla="*/ 60 w 224"/>
                  <a:gd name="T45" fmla="*/ 40 h 168"/>
                  <a:gd name="T46" fmla="*/ 40 w 224"/>
                  <a:gd name="T47" fmla="*/ 60 h 168"/>
                  <a:gd name="T48" fmla="*/ 20 w 224"/>
                  <a:gd name="T49" fmla="*/ 40 h 168"/>
                  <a:gd name="T50" fmla="*/ 40 w 224"/>
                  <a:gd name="T51" fmla="*/ 20 h 168"/>
                  <a:gd name="T52" fmla="*/ 40 w 224"/>
                  <a:gd name="T53" fmla="*/ 28 h 168"/>
                  <a:gd name="T54" fmla="*/ 28 w 224"/>
                  <a:gd name="T55" fmla="*/ 40 h 168"/>
                  <a:gd name="T56" fmla="*/ 40 w 224"/>
                  <a:gd name="T57" fmla="*/ 52 h 168"/>
                  <a:gd name="T58" fmla="*/ 52 w 224"/>
                  <a:gd name="T59" fmla="*/ 40 h 168"/>
                  <a:gd name="T60" fmla="*/ 40 w 224"/>
                  <a:gd name="T61" fmla="*/ 2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24" h="168">
                    <a:moveTo>
                      <a:pt x="224" y="0"/>
                    </a:moveTo>
                    <a:cubicBezTo>
                      <a:pt x="224" y="168"/>
                      <a:pt x="224" y="168"/>
                      <a:pt x="224" y="168"/>
                    </a:cubicBezTo>
                    <a:cubicBezTo>
                      <a:pt x="0" y="168"/>
                      <a:pt x="0" y="168"/>
                      <a:pt x="0" y="168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224" y="0"/>
                    </a:lnTo>
                    <a:close/>
                    <a:moveTo>
                      <a:pt x="157" y="64"/>
                    </a:moveTo>
                    <a:cubicBezTo>
                      <a:pt x="104" y="134"/>
                      <a:pt x="104" y="134"/>
                      <a:pt x="104" y="134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8" y="149"/>
                      <a:pt x="8" y="149"/>
                      <a:pt x="8" y="149"/>
                    </a:cubicBezTo>
                    <a:cubicBezTo>
                      <a:pt x="8" y="160"/>
                      <a:pt x="8" y="160"/>
                      <a:pt x="8" y="160"/>
                    </a:cubicBezTo>
                    <a:cubicBezTo>
                      <a:pt x="216" y="160"/>
                      <a:pt x="216" y="160"/>
                      <a:pt x="216" y="160"/>
                    </a:cubicBezTo>
                    <a:cubicBezTo>
                      <a:pt x="216" y="142"/>
                      <a:pt x="216" y="142"/>
                      <a:pt x="216" y="142"/>
                    </a:cubicBezTo>
                    <a:lnTo>
                      <a:pt x="157" y="64"/>
                    </a:lnTo>
                    <a:close/>
                    <a:moveTo>
                      <a:pt x="216" y="8"/>
                    </a:moveTo>
                    <a:cubicBezTo>
                      <a:pt x="8" y="8"/>
                      <a:pt x="8" y="8"/>
                      <a:pt x="8" y="8"/>
                    </a:cubicBezTo>
                    <a:cubicBezTo>
                      <a:pt x="8" y="137"/>
                      <a:pt x="8" y="137"/>
                      <a:pt x="8" y="137"/>
                    </a:cubicBezTo>
                    <a:cubicBezTo>
                      <a:pt x="58" y="78"/>
                      <a:pt x="58" y="78"/>
                      <a:pt x="58" y="78"/>
                    </a:cubicBezTo>
                    <a:cubicBezTo>
                      <a:pt x="103" y="122"/>
                      <a:pt x="103" y="122"/>
                      <a:pt x="103" y="122"/>
                    </a:cubicBezTo>
                    <a:cubicBezTo>
                      <a:pt x="158" y="51"/>
                      <a:pt x="158" y="51"/>
                      <a:pt x="158" y="51"/>
                    </a:cubicBezTo>
                    <a:cubicBezTo>
                      <a:pt x="216" y="129"/>
                      <a:pt x="216" y="129"/>
                      <a:pt x="216" y="129"/>
                    </a:cubicBezTo>
                    <a:lnTo>
                      <a:pt x="216" y="8"/>
                    </a:lnTo>
                    <a:close/>
                    <a:moveTo>
                      <a:pt x="40" y="20"/>
                    </a:moveTo>
                    <a:cubicBezTo>
                      <a:pt x="51" y="20"/>
                      <a:pt x="60" y="29"/>
                      <a:pt x="60" y="40"/>
                    </a:cubicBezTo>
                    <a:cubicBezTo>
                      <a:pt x="60" y="51"/>
                      <a:pt x="51" y="60"/>
                      <a:pt x="40" y="60"/>
                    </a:cubicBezTo>
                    <a:cubicBezTo>
                      <a:pt x="29" y="60"/>
                      <a:pt x="20" y="51"/>
                      <a:pt x="20" y="40"/>
                    </a:cubicBezTo>
                    <a:cubicBezTo>
                      <a:pt x="20" y="29"/>
                      <a:pt x="29" y="20"/>
                      <a:pt x="40" y="20"/>
                    </a:cubicBezTo>
                    <a:close/>
                    <a:moveTo>
                      <a:pt x="40" y="28"/>
                    </a:moveTo>
                    <a:cubicBezTo>
                      <a:pt x="33" y="28"/>
                      <a:pt x="28" y="33"/>
                      <a:pt x="28" y="40"/>
                    </a:cubicBezTo>
                    <a:cubicBezTo>
                      <a:pt x="28" y="47"/>
                      <a:pt x="33" y="52"/>
                      <a:pt x="40" y="52"/>
                    </a:cubicBezTo>
                    <a:cubicBezTo>
                      <a:pt x="47" y="52"/>
                      <a:pt x="52" y="47"/>
                      <a:pt x="52" y="40"/>
                    </a:cubicBezTo>
                    <a:cubicBezTo>
                      <a:pt x="52" y="33"/>
                      <a:pt x="47" y="28"/>
                      <a:pt x="40" y="28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65" name="ïŝľîdê">
              <a:extLst>
                <a:ext uri="{FF2B5EF4-FFF2-40B4-BE49-F238E27FC236}">
                  <a16:creationId xmlns:a16="http://schemas.microsoft.com/office/drawing/2014/main" id="{6A796ED1-E939-45B7-AA1B-4AD7ABF8E180}"/>
                </a:ext>
              </a:extLst>
            </p:cNvPr>
            <p:cNvSpPr txBox="1"/>
            <p:nvPr/>
          </p:nvSpPr>
          <p:spPr>
            <a:xfrm>
              <a:off x="2863847" y="5598979"/>
              <a:ext cx="1654175" cy="432521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600" b="1" dirty="0"/>
                <a:t>... </a:t>
              </a:r>
              <a:r>
                <a:rPr lang="zh-CN" altLang="en-US" sz="1600" b="1"/>
                <a:t>￥ </a:t>
              </a:r>
              <a:r>
                <a:rPr lang="en-US" altLang="zh-CN" sz="1600" b="1" dirty="0"/>
                <a:t>| 27 %</a:t>
              </a:r>
            </a:p>
          </p:txBody>
        </p:sp>
        <p:grpSp>
          <p:nvGrpSpPr>
            <p:cNvPr id="366" name="ï$ḻîḋé">
              <a:extLst>
                <a:ext uri="{FF2B5EF4-FFF2-40B4-BE49-F238E27FC236}">
                  <a16:creationId xmlns:a16="http://schemas.microsoft.com/office/drawing/2014/main" id="{1D31459F-7613-420F-B157-82ABBC1CAEED}"/>
                </a:ext>
              </a:extLst>
            </p:cNvPr>
            <p:cNvGrpSpPr/>
            <p:nvPr/>
          </p:nvGrpSpPr>
          <p:grpSpPr>
            <a:xfrm>
              <a:off x="8251732" y="5092043"/>
              <a:ext cx="473261" cy="473261"/>
              <a:chOff x="6319119" y="1785939"/>
              <a:chExt cx="594360" cy="594360"/>
            </a:xfrm>
          </p:grpSpPr>
          <p:sp>
            <p:nvSpPr>
              <p:cNvPr id="372" name="íŝḷiḑè">
                <a:extLst>
                  <a:ext uri="{FF2B5EF4-FFF2-40B4-BE49-F238E27FC236}">
                    <a16:creationId xmlns:a16="http://schemas.microsoft.com/office/drawing/2014/main" id="{60C8E3E3-4834-4C9C-8B6D-4F16B2811BA4}"/>
                  </a:ext>
                </a:extLst>
              </p:cNvPr>
              <p:cNvSpPr/>
              <p:nvPr/>
            </p:nvSpPr>
            <p:spPr>
              <a:xfrm>
                <a:off x="6319119" y="1785939"/>
                <a:ext cx="594360" cy="594360"/>
              </a:xfrm>
              <a:prstGeom prst="ellipse">
                <a:avLst/>
              </a:prstGeom>
              <a:solidFill>
                <a:schemeClr val="accent1"/>
              </a:solidFill>
              <a:ln w="285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73" name="ïşļíďè">
                <a:extLst>
                  <a:ext uri="{FF2B5EF4-FFF2-40B4-BE49-F238E27FC236}">
                    <a16:creationId xmlns:a16="http://schemas.microsoft.com/office/drawing/2014/main" id="{E36336CE-32BA-4CCA-9B63-693E61AD9A94}"/>
                  </a:ext>
                </a:extLst>
              </p:cNvPr>
              <p:cNvSpPr/>
              <p:nvPr/>
            </p:nvSpPr>
            <p:spPr>
              <a:xfrm>
                <a:off x="6474535" y="1939771"/>
                <a:ext cx="283524" cy="286692"/>
              </a:xfrm>
              <a:custGeom>
                <a:avLst/>
                <a:gdLst>
                  <a:gd name="T0" fmla="*/ 160 w 224"/>
                  <a:gd name="T1" fmla="*/ 0 h 224"/>
                  <a:gd name="T2" fmla="*/ 160 w 224"/>
                  <a:gd name="T3" fmla="*/ 48 h 224"/>
                  <a:gd name="T4" fmla="*/ 224 w 224"/>
                  <a:gd name="T5" fmla="*/ 48 h 224"/>
                  <a:gd name="T6" fmla="*/ 224 w 224"/>
                  <a:gd name="T7" fmla="*/ 176 h 224"/>
                  <a:gd name="T8" fmla="*/ 160 w 224"/>
                  <a:gd name="T9" fmla="*/ 176 h 224"/>
                  <a:gd name="T10" fmla="*/ 160 w 224"/>
                  <a:gd name="T11" fmla="*/ 224 h 224"/>
                  <a:gd name="T12" fmla="*/ 64 w 224"/>
                  <a:gd name="T13" fmla="*/ 224 h 224"/>
                  <a:gd name="T14" fmla="*/ 64 w 224"/>
                  <a:gd name="T15" fmla="*/ 176 h 224"/>
                  <a:gd name="T16" fmla="*/ 0 w 224"/>
                  <a:gd name="T17" fmla="*/ 176 h 224"/>
                  <a:gd name="T18" fmla="*/ 0 w 224"/>
                  <a:gd name="T19" fmla="*/ 76 h 224"/>
                  <a:gd name="T20" fmla="*/ 26 w 224"/>
                  <a:gd name="T21" fmla="*/ 48 h 224"/>
                  <a:gd name="T22" fmla="*/ 64 w 224"/>
                  <a:gd name="T23" fmla="*/ 48 h 224"/>
                  <a:gd name="T24" fmla="*/ 64 w 224"/>
                  <a:gd name="T25" fmla="*/ 0 h 224"/>
                  <a:gd name="T26" fmla="*/ 160 w 224"/>
                  <a:gd name="T27" fmla="*/ 0 h 224"/>
                  <a:gd name="T28" fmla="*/ 152 w 224"/>
                  <a:gd name="T29" fmla="*/ 120 h 224"/>
                  <a:gd name="T30" fmla="*/ 72 w 224"/>
                  <a:gd name="T31" fmla="*/ 120 h 224"/>
                  <a:gd name="T32" fmla="*/ 72 w 224"/>
                  <a:gd name="T33" fmla="*/ 216 h 224"/>
                  <a:gd name="T34" fmla="*/ 152 w 224"/>
                  <a:gd name="T35" fmla="*/ 216 h 224"/>
                  <a:gd name="T36" fmla="*/ 152 w 224"/>
                  <a:gd name="T37" fmla="*/ 120 h 224"/>
                  <a:gd name="T38" fmla="*/ 216 w 224"/>
                  <a:gd name="T39" fmla="*/ 56 h 224"/>
                  <a:gd name="T40" fmla="*/ 30 w 224"/>
                  <a:gd name="T41" fmla="*/ 56 h 224"/>
                  <a:gd name="T42" fmla="*/ 8 w 224"/>
                  <a:gd name="T43" fmla="*/ 80 h 224"/>
                  <a:gd name="T44" fmla="*/ 8 w 224"/>
                  <a:gd name="T45" fmla="*/ 168 h 224"/>
                  <a:gd name="T46" fmla="*/ 64 w 224"/>
                  <a:gd name="T47" fmla="*/ 168 h 224"/>
                  <a:gd name="T48" fmla="*/ 64 w 224"/>
                  <a:gd name="T49" fmla="*/ 112 h 224"/>
                  <a:gd name="T50" fmla="*/ 160 w 224"/>
                  <a:gd name="T51" fmla="*/ 112 h 224"/>
                  <a:gd name="T52" fmla="*/ 160 w 224"/>
                  <a:gd name="T53" fmla="*/ 168 h 224"/>
                  <a:gd name="T54" fmla="*/ 216 w 224"/>
                  <a:gd name="T55" fmla="*/ 168 h 224"/>
                  <a:gd name="T56" fmla="*/ 216 w 224"/>
                  <a:gd name="T57" fmla="*/ 56 h 224"/>
                  <a:gd name="T58" fmla="*/ 194 w 224"/>
                  <a:gd name="T59" fmla="*/ 72 h 224"/>
                  <a:gd name="T60" fmla="*/ 200 w 224"/>
                  <a:gd name="T61" fmla="*/ 78 h 224"/>
                  <a:gd name="T62" fmla="*/ 194 w 224"/>
                  <a:gd name="T63" fmla="*/ 84 h 224"/>
                  <a:gd name="T64" fmla="*/ 188 w 224"/>
                  <a:gd name="T65" fmla="*/ 78 h 224"/>
                  <a:gd name="T66" fmla="*/ 194 w 224"/>
                  <a:gd name="T67" fmla="*/ 72 h 224"/>
                  <a:gd name="T68" fmla="*/ 152 w 224"/>
                  <a:gd name="T69" fmla="*/ 8 h 224"/>
                  <a:gd name="T70" fmla="*/ 72 w 224"/>
                  <a:gd name="T71" fmla="*/ 8 h 224"/>
                  <a:gd name="T72" fmla="*/ 72 w 224"/>
                  <a:gd name="T73" fmla="*/ 48 h 224"/>
                  <a:gd name="T74" fmla="*/ 152 w 224"/>
                  <a:gd name="T75" fmla="*/ 48 h 224"/>
                  <a:gd name="T76" fmla="*/ 152 w 224"/>
                  <a:gd name="T77" fmla="*/ 8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24" h="224">
                    <a:moveTo>
                      <a:pt x="160" y="0"/>
                    </a:moveTo>
                    <a:cubicBezTo>
                      <a:pt x="160" y="48"/>
                      <a:pt x="160" y="48"/>
                      <a:pt x="160" y="48"/>
                    </a:cubicBezTo>
                    <a:cubicBezTo>
                      <a:pt x="224" y="48"/>
                      <a:pt x="224" y="48"/>
                      <a:pt x="224" y="48"/>
                    </a:cubicBezTo>
                    <a:cubicBezTo>
                      <a:pt x="224" y="176"/>
                      <a:pt x="224" y="176"/>
                      <a:pt x="224" y="176"/>
                    </a:cubicBezTo>
                    <a:cubicBezTo>
                      <a:pt x="160" y="176"/>
                      <a:pt x="160" y="176"/>
                      <a:pt x="160" y="176"/>
                    </a:cubicBezTo>
                    <a:cubicBezTo>
                      <a:pt x="160" y="224"/>
                      <a:pt x="160" y="224"/>
                      <a:pt x="160" y="224"/>
                    </a:cubicBezTo>
                    <a:cubicBezTo>
                      <a:pt x="64" y="224"/>
                      <a:pt x="64" y="224"/>
                      <a:pt x="64" y="224"/>
                    </a:cubicBezTo>
                    <a:cubicBezTo>
                      <a:pt x="64" y="176"/>
                      <a:pt x="64" y="176"/>
                      <a:pt x="64" y="176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6" y="48"/>
                      <a:pt x="26" y="48"/>
                      <a:pt x="26" y="48"/>
                    </a:cubicBezTo>
                    <a:cubicBezTo>
                      <a:pt x="64" y="48"/>
                      <a:pt x="64" y="48"/>
                      <a:pt x="64" y="48"/>
                    </a:cubicBezTo>
                    <a:cubicBezTo>
                      <a:pt x="64" y="0"/>
                      <a:pt x="64" y="0"/>
                      <a:pt x="64" y="0"/>
                    </a:cubicBezTo>
                    <a:lnTo>
                      <a:pt x="160" y="0"/>
                    </a:lnTo>
                    <a:close/>
                    <a:moveTo>
                      <a:pt x="152" y="120"/>
                    </a:moveTo>
                    <a:cubicBezTo>
                      <a:pt x="72" y="120"/>
                      <a:pt x="72" y="120"/>
                      <a:pt x="72" y="120"/>
                    </a:cubicBezTo>
                    <a:cubicBezTo>
                      <a:pt x="72" y="216"/>
                      <a:pt x="72" y="216"/>
                      <a:pt x="72" y="216"/>
                    </a:cubicBezTo>
                    <a:cubicBezTo>
                      <a:pt x="152" y="216"/>
                      <a:pt x="152" y="216"/>
                      <a:pt x="152" y="216"/>
                    </a:cubicBezTo>
                    <a:lnTo>
                      <a:pt x="152" y="120"/>
                    </a:lnTo>
                    <a:close/>
                    <a:moveTo>
                      <a:pt x="216" y="56"/>
                    </a:moveTo>
                    <a:cubicBezTo>
                      <a:pt x="30" y="56"/>
                      <a:pt x="30" y="56"/>
                      <a:pt x="30" y="56"/>
                    </a:cubicBezTo>
                    <a:cubicBezTo>
                      <a:pt x="8" y="80"/>
                      <a:pt x="8" y="80"/>
                      <a:pt x="8" y="80"/>
                    </a:cubicBezTo>
                    <a:cubicBezTo>
                      <a:pt x="8" y="168"/>
                      <a:pt x="8" y="168"/>
                      <a:pt x="8" y="168"/>
                    </a:cubicBezTo>
                    <a:cubicBezTo>
                      <a:pt x="64" y="168"/>
                      <a:pt x="64" y="168"/>
                      <a:pt x="64" y="168"/>
                    </a:cubicBezTo>
                    <a:cubicBezTo>
                      <a:pt x="64" y="112"/>
                      <a:pt x="64" y="112"/>
                      <a:pt x="64" y="112"/>
                    </a:cubicBezTo>
                    <a:cubicBezTo>
                      <a:pt x="160" y="112"/>
                      <a:pt x="160" y="112"/>
                      <a:pt x="160" y="112"/>
                    </a:cubicBezTo>
                    <a:cubicBezTo>
                      <a:pt x="160" y="168"/>
                      <a:pt x="160" y="168"/>
                      <a:pt x="160" y="168"/>
                    </a:cubicBezTo>
                    <a:cubicBezTo>
                      <a:pt x="216" y="168"/>
                      <a:pt x="216" y="168"/>
                      <a:pt x="216" y="168"/>
                    </a:cubicBezTo>
                    <a:lnTo>
                      <a:pt x="216" y="56"/>
                    </a:lnTo>
                    <a:close/>
                    <a:moveTo>
                      <a:pt x="194" y="72"/>
                    </a:moveTo>
                    <a:cubicBezTo>
                      <a:pt x="197" y="72"/>
                      <a:pt x="200" y="75"/>
                      <a:pt x="200" y="78"/>
                    </a:cubicBezTo>
                    <a:cubicBezTo>
                      <a:pt x="200" y="81"/>
                      <a:pt x="197" y="84"/>
                      <a:pt x="194" y="84"/>
                    </a:cubicBezTo>
                    <a:cubicBezTo>
                      <a:pt x="191" y="84"/>
                      <a:pt x="188" y="81"/>
                      <a:pt x="188" y="78"/>
                    </a:cubicBezTo>
                    <a:cubicBezTo>
                      <a:pt x="188" y="75"/>
                      <a:pt x="191" y="72"/>
                      <a:pt x="194" y="72"/>
                    </a:cubicBezTo>
                    <a:close/>
                    <a:moveTo>
                      <a:pt x="152" y="8"/>
                    </a:moveTo>
                    <a:cubicBezTo>
                      <a:pt x="72" y="8"/>
                      <a:pt x="72" y="8"/>
                      <a:pt x="72" y="8"/>
                    </a:cubicBezTo>
                    <a:cubicBezTo>
                      <a:pt x="72" y="48"/>
                      <a:pt x="72" y="48"/>
                      <a:pt x="72" y="48"/>
                    </a:cubicBezTo>
                    <a:cubicBezTo>
                      <a:pt x="152" y="48"/>
                      <a:pt x="152" y="48"/>
                      <a:pt x="152" y="48"/>
                    </a:cubicBezTo>
                    <a:lnTo>
                      <a:pt x="152" y="8"/>
                    </a:ln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67" name="iṥľïḓê">
              <a:extLst>
                <a:ext uri="{FF2B5EF4-FFF2-40B4-BE49-F238E27FC236}">
                  <a16:creationId xmlns:a16="http://schemas.microsoft.com/office/drawing/2014/main" id="{BE17E4FA-A473-4F5B-92C7-84F1DCB213BE}"/>
                </a:ext>
              </a:extLst>
            </p:cNvPr>
            <p:cNvSpPr txBox="1"/>
            <p:nvPr/>
          </p:nvSpPr>
          <p:spPr>
            <a:xfrm>
              <a:off x="7661275" y="5598979"/>
              <a:ext cx="1654175" cy="432521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600" b="1" dirty="0"/>
                <a:t>... </a:t>
              </a:r>
              <a:r>
                <a:rPr lang="zh-CN" altLang="en-US" sz="1600" b="1"/>
                <a:t>￥ </a:t>
              </a:r>
              <a:r>
                <a:rPr lang="en-US" altLang="zh-CN" sz="1600" b="1" dirty="0"/>
                <a:t>| 27 %</a:t>
              </a:r>
            </a:p>
          </p:txBody>
        </p:sp>
        <p:grpSp>
          <p:nvGrpSpPr>
            <p:cNvPr id="368" name="îšľîḍé">
              <a:extLst>
                <a:ext uri="{FF2B5EF4-FFF2-40B4-BE49-F238E27FC236}">
                  <a16:creationId xmlns:a16="http://schemas.microsoft.com/office/drawing/2014/main" id="{BE0A984C-A378-4D70-8780-BE6277A55DA0}"/>
                </a:ext>
              </a:extLst>
            </p:cNvPr>
            <p:cNvGrpSpPr/>
            <p:nvPr/>
          </p:nvGrpSpPr>
          <p:grpSpPr>
            <a:xfrm>
              <a:off x="10455179" y="5092043"/>
              <a:ext cx="473261" cy="473261"/>
              <a:chOff x="6319119" y="1785939"/>
              <a:chExt cx="594360" cy="594360"/>
            </a:xfrm>
          </p:grpSpPr>
          <p:sp>
            <p:nvSpPr>
              <p:cNvPr id="370" name="ïŝ1íḓe">
                <a:extLst>
                  <a:ext uri="{FF2B5EF4-FFF2-40B4-BE49-F238E27FC236}">
                    <a16:creationId xmlns:a16="http://schemas.microsoft.com/office/drawing/2014/main" id="{10FD2269-2B98-4FE0-949E-4FD324D57FCD}"/>
                  </a:ext>
                </a:extLst>
              </p:cNvPr>
              <p:cNvSpPr/>
              <p:nvPr/>
            </p:nvSpPr>
            <p:spPr>
              <a:xfrm>
                <a:off x="6319119" y="1785939"/>
                <a:ext cx="594360" cy="594360"/>
              </a:xfrm>
              <a:prstGeom prst="ellipse">
                <a:avLst/>
              </a:prstGeom>
              <a:solidFill>
                <a:schemeClr val="accent2"/>
              </a:solidFill>
              <a:ln w="285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71" name="ïšļïḍê">
                <a:extLst>
                  <a:ext uri="{FF2B5EF4-FFF2-40B4-BE49-F238E27FC236}">
                    <a16:creationId xmlns:a16="http://schemas.microsoft.com/office/drawing/2014/main" id="{E6FDDB05-61A6-4141-8A43-C77CEA52C57A}"/>
                  </a:ext>
                </a:extLst>
              </p:cNvPr>
              <p:cNvSpPr/>
              <p:nvPr/>
            </p:nvSpPr>
            <p:spPr>
              <a:xfrm>
                <a:off x="6472952" y="1963461"/>
                <a:ext cx="286692" cy="239311"/>
              </a:xfrm>
              <a:custGeom>
                <a:avLst/>
                <a:gdLst>
                  <a:gd name="T0" fmla="*/ 224 w 224"/>
                  <a:gd name="T1" fmla="*/ 0 h 184"/>
                  <a:gd name="T2" fmla="*/ 224 w 224"/>
                  <a:gd name="T3" fmla="*/ 156 h 184"/>
                  <a:gd name="T4" fmla="*/ 86 w 224"/>
                  <a:gd name="T5" fmla="*/ 156 h 184"/>
                  <a:gd name="T6" fmla="*/ 48 w 224"/>
                  <a:gd name="T7" fmla="*/ 184 h 184"/>
                  <a:gd name="T8" fmla="*/ 48 w 224"/>
                  <a:gd name="T9" fmla="*/ 156 h 184"/>
                  <a:gd name="T10" fmla="*/ 0 w 224"/>
                  <a:gd name="T11" fmla="*/ 156 h 184"/>
                  <a:gd name="T12" fmla="*/ 0 w 224"/>
                  <a:gd name="T13" fmla="*/ 0 h 184"/>
                  <a:gd name="T14" fmla="*/ 224 w 224"/>
                  <a:gd name="T15" fmla="*/ 0 h 184"/>
                  <a:gd name="T16" fmla="*/ 216 w 224"/>
                  <a:gd name="T17" fmla="*/ 8 h 184"/>
                  <a:gd name="T18" fmla="*/ 8 w 224"/>
                  <a:gd name="T19" fmla="*/ 8 h 184"/>
                  <a:gd name="T20" fmla="*/ 8 w 224"/>
                  <a:gd name="T21" fmla="*/ 148 h 184"/>
                  <a:gd name="T22" fmla="*/ 56 w 224"/>
                  <a:gd name="T23" fmla="*/ 148 h 184"/>
                  <a:gd name="T24" fmla="*/ 56 w 224"/>
                  <a:gd name="T25" fmla="*/ 168 h 184"/>
                  <a:gd name="T26" fmla="*/ 83 w 224"/>
                  <a:gd name="T27" fmla="*/ 148 h 184"/>
                  <a:gd name="T28" fmla="*/ 216 w 224"/>
                  <a:gd name="T29" fmla="*/ 148 h 184"/>
                  <a:gd name="T30" fmla="*/ 216 w 224"/>
                  <a:gd name="T31" fmla="*/ 8 h 184"/>
                  <a:gd name="T32" fmla="*/ 56 w 224"/>
                  <a:gd name="T33" fmla="*/ 60 h 184"/>
                  <a:gd name="T34" fmla="*/ 74 w 224"/>
                  <a:gd name="T35" fmla="*/ 78 h 184"/>
                  <a:gd name="T36" fmla="*/ 56 w 224"/>
                  <a:gd name="T37" fmla="*/ 96 h 184"/>
                  <a:gd name="T38" fmla="*/ 38 w 224"/>
                  <a:gd name="T39" fmla="*/ 78 h 184"/>
                  <a:gd name="T40" fmla="*/ 56 w 224"/>
                  <a:gd name="T41" fmla="*/ 60 h 184"/>
                  <a:gd name="T42" fmla="*/ 112 w 224"/>
                  <a:gd name="T43" fmla="*/ 60 h 184"/>
                  <a:gd name="T44" fmla="*/ 130 w 224"/>
                  <a:gd name="T45" fmla="*/ 78 h 184"/>
                  <a:gd name="T46" fmla="*/ 112 w 224"/>
                  <a:gd name="T47" fmla="*/ 96 h 184"/>
                  <a:gd name="T48" fmla="*/ 94 w 224"/>
                  <a:gd name="T49" fmla="*/ 78 h 184"/>
                  <a:gd name="T50" fmla="*/ 112 w 224"/>
                  <a:gd name="T51" fmla="*/ 60 h 184"/>
                  <a:gd name="T52" fmla="*/ 168 w 224"/>
                  <a:gd name="T53" fmla="*/ 60 h 184"/>
                  <a:gd name="T54" fmla="*/ 186 w 224"/>
                  <a:gd name="T55" fmla="*/ 78 h 184"/>
                  <a:gd name="T56" fmla="*/ 168 w 224"/>
                  <a:gd name="T57" fmla="*/ 96 h 184"/>
                  <a:gd name="T58" fmla="*/ 150 w 224"/>
                  <a:gd name="T59" fmla="*/ 78 h 184"/>
                  <a:gd name="T60" fmla="*/ 168 w 224"/>
                  <a:gd name="T61" fmla="*/ 60 h 184"/>
                  <a:gd name="T62" fmla="*/ 56 w 224"/>
                  <a:gd name="T63" fmla="*/ 68 h 184"/>
                  <a:gd name="T64" fmla="*/ 46 w 224"/>
                  <a:gd name="T65" fmla="*/ 78 h 184"/>
                  <a:gd name="T66" fmla="*/ 56 w 224"/>
                  <a:gd name="T67" fmla="*/ 88 h 184"/>
                  <a:gd name="T68" fmla="*/ 66 w 224"/>
                  <a:gd name="T69" fmla="*/ 78 h 184"/>
                  <a:gd name="T70" fmla="*/ 56 w 224"/>
                  <a:gd name="T71" fmla="*/ 68 h 184"/>
                  <a:gd name="T72" fmla="*/ 112 w 224"/>
                  <a:gd name="T73" fmla="*/ 68 h 184"/>
                  <a:gd name="T74" fmla="*/ 102 w 224"/>
                  <a:gd name="T75" fmla="*/ 78 h 184"/>
                  <a:gd name="T76" fmla="*/ 112 w 224"/>
                  <a:gd name="T77" fmla="*/ 88 h 184"/>
                  <a:gd name="T78" fmla="*/ 122 w 224"/>
                  <a:gd name="T79" fmla="*/ 78 h 184"/>
                  <a:gd name="T80" fmla="*/ 112 w 224"/>
                  <a:gd name="T81" fmla="*/ 68 h 184"/>
                  <a:gd name="T82" fmla="*/ 168 w 224"/>
                  <a:gd name="T83" fmla="*/ 68 h 184"/>
                  <a:gd name="T84" fmla="*/ 158 w 224"/>
                  <a:gd name="T85" fmla="*/ 78 h 184"/>
                  <a:gd name="T86" fmla="*/ 168 w 224"/>
                  <a:gd name="T87" fmla="*/ 88 h 184"/>
                  <a:gd name="T88" fmla="*/ 178 w 224"/>
                  <a:gd name="T89" fmla="*/ 78 h 184"/>
                  <a:gd name="T90" fmla="*/ 168 w 224"/>
                  <a:gd name="T91" fmla="*/ 68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24" h="184">
                    <a:moveTo>
                      <a:pt x="224" y="0"/>
                    </a:moveTo>
                    <a:cubicBezTo>
                      <a:pt x="224" y="156"/>
                      <a:pt x="224" y="156"/>
                      <a:pt x="224" y="156"/>
                    </a:cubicBezTo>
                    <a:cubicBezTo>
                      <a:pt x="86" y="156"/>
                      <a:pt x="86" y="156"/>
                      <a:pt x="86" y="156"/>
                    </a:cubicBezTo>
                    <a:cubicBezTo>
                      <a:pt x="48" y="184"/>
                      <a:pt x="48" y="184"/>
                      <a:pt x="48" y="184"/>
                    </a:cubicBezTo>
                    <a:cubicBezTo>
                      <a:pt x="48" y="156"/>
                      <a:pt x="48" y="156"/>
                      <a:pt x="48" y="156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224" y="0"/>
                    </a:lnTo>
                    <a:close/>
                    <a:moveTo>
                      <a:pt x="216" y="8"/>
                    </a:moveTo>
                    <a:cubicBezTo>
                      <a:pt x="8" y="8"/>
                      <a:pt x="8" y="8"/>
                      <a:pt x="8" y="8"/>
                    </a:cubicBezTo>
                    <a:cubicBezTo>
                      <a:pt x="8" y="148"/>
                      <a:pt x="8" y="148"/>
                      <a:pt x="8" y="148"/>
                    </a:cubicBezTo>
                    <a:cubicBezTo>
                      <a:pt x="56" y="148"/>
                      <a:pt x="56" y="148"/>
                      <a:pt x="56" y="148"/>
                    </a:cubicBezTo>
                    <a:cubicBezTo>
                      <a:pt x="56" y="168"/>
                      <a:pt x="56" y="168"/>
                      <a:pt x="56" y="168"/>
                    </a:cubicBezTo>
                    <a:cubicBezTo>
                      <a:pt x="83" y="148"/>
                      <a:pt x="83" y="148"/>
                      <a:pt x="83" y="148"/>
                    </a:cubicBezTo>
                    <a:cubicBezTo>
                      <a:pt x="216" y="148"/>
                      <a:pt x="216" y="148"/>
                      <a:pt x="216" y="148"/>
                    </a:cubicBezTo>
                    <a:lnTo>
                      <a:pt x="216" y="8"/>
                    </a:lnTo>
                    <a:close/>
                    <a:moveTo>
                      <a:pt x="56" y="60"/>
                    </a:moveTo>
                    <a:cubicBezTo>
                      <a:pt x="66" y="60"/>
                      <a:pt x="74" y="68"/>
                      <a:pt x="74" y="78"/>
                    </a:cubicBezTo>
                    <a:cubicBezTo>
                      <a:pt x="74" y="88"/>
                      <a:pt x="66" y="96"/>
                      <a:pt x="56" y="96"/>
                    </a:cubicBezTo>
                    <a:cubicBezTo>
                      <a:pt x="46" y="96"/>
                      <a:pt x="38" y="88"/>
                      <a:pt x="38" y="78"/>
                    </a:cubicBezTo>
                    <a:cubicBezTo>
                      <a:pt x="38" y="68"/>
                      <a:pt x="46" y="60"/>
                      <a:pt x="56" y="60"/>
                    </a:cubicBezTo>
                    <a:close/>
                    <a:moveTo>
                      <a:pt x="112" y="60"/>
                    </a:moveTo>
                    <a:cubicBezTo>
                      <a:pt x="122" y="60"/>
                      <a:pt x="130" y="68"/>
                      <a:pt x="130" y="78"/>
                    </a:cubicBezTo>
                    <a:cubicBezTo>
                      <a:pt x="130" y="88"/>
                      <a:pt x="122" y="96"/>
                      <a:pt x="112" y="96"/>
                    </a:cubicBezTo>
                    <a:cubicBezTo>
                      <a:pt x="102" y="96"/>
                      <a:pt x="94" y="88"/>
                      <a:pt x="94" y="78"/>
                    </a:cubicBezTo>
                    <a:cubicBezTo>
                      <a:pt x="94" y="68"/>
                      <a:pt x="102" y="60"/>
                      <a:pt x="112" y="60"/>
                    </a:cubicBezTo>
                    <a:close/>
                    <a:moveTo>
                      <a:pt x="168" y="60"/>
                    </a:moveTo>
                    <a:cubicBezTo>
                      <a:pt x="178" y="60"/>
                      <a:pt x="186" y="68"/>
                      <a:pt x="186" y="78"/>
                    </a:cubicBezTo>
                    <a:cubicBezTo>
                      <a:pt x="186" y="88"/>
                      <a:pt x="178" y="96"/>
                      <a:pt x="168" y="96"/>
                    </a:cubicBezTo>
                    <a:cubicBezTo>
                      <a:pt x="158" y="96"/>
                      <a:pt x="150" y="88"/>
                      <a:pt x="150" y="78"/>
                    </a:cubicBezTo>
                    <a:cubicBezTo>
                      <a:pt x="150" y="68"/>
                      <a:pt x="158" y="60"/>
                      <a:pt x="168" y="60"/>
                    </a:cubicBezTo>
                    <a:close/>
                    <a:moveTo>
                      <a:pt x="56" y="68"/>
                    </a:moveTo>
                    <a:cubicBezTo>
                      <a:pt x="50" y="68"/>
                      <a:pt x="46" y="72"/>
                      <a:pt x="46" y="78"/>
                    </a:cubicBezTo>
                    <a:cubicBezTo>
                      <a:pt x="46" y="84"/>
                      <a:pt x="50" y="88"/>
                      <a:pt x="56" y="88"/>
                    </a:cubicBezTo>
                    <a:cubicBezTo>
                      <a:pt x="62" y="88"/>
                      <a:pt x="66" y="84"/>
                      <a:pt x="66" y="78"/>
                    </a:cubicBezTo>
                    <a:cubicBezTo>
                      <a:pt x="66" y="72"/>
                      <a:pt x="62" y="68"/>
                      <a:pt x="56" y="68"/>
                    </a:cubicBezTo>
                    <a:close/>
                    <a:moveTo>
                      <a:pt x="112" y="68"/>
                    </a:moveTo>
                    <a:cubicBezTo>
                      <a:pt x="106" y="68"/>
                      <a:pt x="102" y="72"/>
                      <a:pt x="102" y="78"/>
                    </a:cubicBezTo>
                    <a:cubicBezTo>
                      <a:pt x="102" y="84"/>
                      <a:pt x="106" y="88"/>
                      <a:pt x="112" y="88"/>
                    </a:cubicBezTo>
                    <a:cubicBezTo>
                      <a:pt x="118" y="88"/>
                      <a:pt x="122" y="84"/>
                      <a:pt x="122" y="78"/>
                    </a:cubicBezTo>
                    <a:cubicBezTo>
                      <a:pt x="122" y="72"/>
                      <a:pt x="118" y="68"/>
                      <a:pt x="112" y="68"/>
                    </a:cubicBezTo>
                    <a:close/>
                    <a:moveTo>
                      <a:pt x="168" y="68"/>
                    </a:moveTo>
                    <a:cubicBezTo>
                      <a:pt x="162" y="68"/>
                      <a:pt x="158" y="72"/>
                      <a:pt x="158" y="78"/>
                    </a:cubicBezTo>
                    <a:cubicBezTo>
                      <a:pt x="158" y="84"/>
                      <a:pt x="162" y="88"/>
                      <a:pt x="168" y="88"/>
                    </a:cubicBezTo>
                    <a:cubicBezTo>
                      <a:pt x="174" y="88"/>
                      <a:pt x="178" y="84"/>
                      <a:pt x="178" y="78"/>
                    </a:cubicBezTo>
                    <a:cubicBezTo>
                      <a:pt x="178" y="72"/>
                      <a:pt x="174" y="68"/>
                      <a:pt x="168" y="68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4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69" name="islíďe">
              <a:extLst>
                <a:ext uri="{FF2B5EF4-FFF2-40B4-BE49-F238E27FC236}">
                  <a16:creationId xmlns:a16="http://schemas.microsoft.com/office/drawing/2014/main" id="{62C3E4C7-4C3D-4E58-AC12-90AA47CE4BC2}"/>
                </a:ext>
              </a:extLst>
            </p:cNvPr>
            <p:cNvSpPr txBox="1"/>
            <p:nvPr/>
          </p:nvSpPr>
          <p:spPr>
            <a:xfrm>
              <a:off x="9864722" y="5598979"/>
              <a:ext cx="1654175" cy="432521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600" b="1" dirty="0"/>
                <a:t>... </a:t>
              </a:r>
              <a:r>
                <a:rPr lang="zh-CN" altLang="en-US" sz="1600" b="1" dirty="0"/>
                <a:t>￥ </a:t>
              </a:r>
              <a:r>
                <a:rPr lang="en-US" altLang="zh-CN" sz="1600" b="1" dirty="0"/>
                <a:t>| 27 %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0346473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13248F-146B-4FAC-B7EB-F92D9D14DF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8DCCDC8-056C-4E52-8A37-790FE6427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1F2C4CC-6150-4B60-BD07-EE5567C4CD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grpSp>
        <p:nvGrpSpPr>
          <p:cNvPr id="160" name="26701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5BAC814-304F-4CF0-8A6F-B26CE32B9BB3}"/>
              </a:ext>
            </a:extLst>
          </p:cNvPr>
          <p:cNvGrpSpPr>
            <a:grpSpLocks noChangeAspect="1"/>
          </p:cNvGrpSpPr>
          <p:nvPr/>
        </p:nvGrpSpPr>
        <p:grpSpPr>
          <a:xfrm>
            <a:off x="660400" y="1188307"/>
            <a:ext cx="10858500" cy="4731727"/>
            <a:chOff x="660400" y="1188307"/>
            <a:chExt cx="10858500" cy="4731727"/>
          </a:xfrm>
        </p:grpSpPr>
        <p:sp>
          <p:nvSpPr>
            <p:cNvPr id="161" name="iṧļíḍè">
              <a:extLst>
                <a:ext uri="{FF2B5EF4-FFF2-40B4-BE49-F238E27FC236}">
                  <a16:creationId xmlns:a16="http://schemas.microsoft.com/office/drawing/2014/main" id="{F6C0B8BD-8162-4FCA-B7AC-235FD87189C5}"/>
                </a:ext>
              </a:extLst>
            </p:cNvPr>
            <p:cNvSpPr txBox="1"/>
            <p:nvPr/>
          </p:nvSpPr>
          <p:spPr>
            <a:xfrm>
              <a:off x="660400" y="1188307"/>
              <a:ext cx="10858500" cy="63441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SzPct val="25000"/>
              </a:pPr>
              <a:r>
                <a:rPr lang="en-US" sz="2400" b="1" dirty="0"/>
                <a:t>Unified fonts make reading more fluent.</a:t>
              </a:r>
            </a:p>
          </p:txBody>
        </p:sp>
        <p:cxnSp>
          <p:nvCxnSpPr>
            <p:cNvPr id="162" name="直接连接符 161">
              <a:extLst>
                <a:ext uri="{FF2B5EF4-FFF2-40B4-BE49-F238E27FC236}">
                  <a16:creationId xmlns:a16="http://schemas.microsoft.com/office/drawing/2014/main" id="{D31B7B85-9070-42D3-87AC-ABED31CADE44}"/>
                </a:ext>
              </a:extLst>
            </p:cNvPr>
            <p:cNvCxnSpPr>
              <a:stCxn id="189" idx="6"/>
              <a:endCxn id="183" idx="2"/>
            </p:cNvCxnSpPr>
            <p:nvPr/>
          </p:nvCxnSpPr>
          <p:spPr>
            <a:xfrm>
              <a:off x="2197617" y="3039208"/>
              <a:ext cx="7796766" cy="0"/>
            </a:xfrm>
            <a:prstGeom prst="line">
              <a:avLst/>
            </a:prstGeom>
            <a:ln w="19050" cap="rnd">
              <a:solidFill>
                <a:schemeClr val="bg1">
                  <a:lumMod val="75000"/>
                </a:schemeClr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3" name="ïśḻïḍè">
              <a:extLst>
                <a:ext uri="{FF2B5EF4-FFF2-40B4-BE49-F238E27FC236}">
                  <a16:creationId xmlns:a16="http://schemas.microsoft.com/office/drawing/2014/main" id="{9A86AD98-1D87-42B7-88CB-C89076811899}"/>
                </a:ext>
              </a:extLst>
            </p:cNvPr>
            <p:cNvGrpSpPr/>
            <p:nvPr/>
          </p:nvGrpSpPr>
          <p:grpSpPr>
            <a:xfrm>
              <a:off x="1397977" y="2639388"/>
              <a:ext cx="799640" cy="799640"/>
              <a:chOff x="1326259" y="2454548"/>
              <a:chExt cx="943076" cy="943076"/>
            </a:xfrm>
          </p:grpSpPr>
          <p:sp>
            <p:nvSpPr>
              <p:cNvPr id="189" name="işḷîḍè">
                <a:extLst>
                  <a:ext uri="{FF2B5EF4-FFF2-40B4-BE49-F238E27FC236}">
                    <a16:creationId xmlns:a16="http://schemas.microsoft.com/office/drawing/2014/main" id="{F4039DB9-79D1-4113-AE66-D18AA040E428}"/>
                  </a:ext>
                </a:extLst>
              </p:cNvPr>
              <p:cNvSpPr/>
              <p:nvPr/>
            </p:nvSpPr>
            <p:spPr>
              <a:xfrm>
                <a:off x="1326259" y="2454548"/>
                <a:ext cx="943076" cy="943076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190" name="iṧľiḑè">
                <a:extLst>
                  <a:ext uri="{FF2B5EF4-FFF2-40B4-BE49-F238E27FC236}">
                    <a16:creationId xmlns:a16="http://schemas.microsoft.com/office/drawing/2014/main" id="{E500D74C-674B-4BE0-A4A9-989E08DA05DB}"/>
                  </a:ext>
                </a:extLst>
              </p:cNvPr>
              <p:cNvSpPr/>
              <p:nvPr/>
            </p:nvSpPr>
            <p:spPr>
              <a:xfrm>
                <a:off x="1609289" y="2720544"/>
                <a:ext cx="377016" cy="411083"/>
              </a:xfrm>
              <a:custGeom>
                <a:avLst/>
                <a:gdLst>
                  <a:gd name="T0" fmla="*/ 168 w 208"/>
                  <a:gd name="T1" fmla="*/ 0 h 224"/>
                  <a:gd name="T2" fmla="*/ 168 w 208"/>
                  <a:gd name="T3" fmla="*/ 68 h 224"/>
                  <a:gd name="T4" fmla="*/ 108 w 208"/>
                  <a:gd name="T5" fmla="*/ 68 h 224"/>
                  <a:gd name="T6" fmla="*/ 108 w 208"/>
                  <a:gd name="T7" fmla="*/ 124 h 224"/>
                  <a:gd name="T8" fmla="*/ 192 w 208"/>
                  <a:gd name="T9" fmla="*/ 124 h 224"/>
                  <a:gd name="T10" fmla="*/ 192 w 208"/>
                  <a:gd name="T11" fmla="*/ 184 h 224"/>
                  <a:gd name="T12" fmla="*/ 208 w 208"/>
                  <a:gd name="T13" fmla="*/ 184 h 224"/>
                  <a:gd name="T14" fmla="*/ 208 w 208"/>
                  <a:gd name="T15" fmla="*/ 224 h 224"/>
                  <a:gd name="T16" fmla="*/ 168 w 208"/>
                  <a:gd name="T17" fmla="*/ 224 h 224"/>
                  <a:gd name="T18" fmla="*/ 168 w 208"/>
                  <a:gd name="T19" fmla="*/ 184 h 224"/>
                  <a:gd name="T20" fmla="*/ 184 w 208"/>
                  <a:gd name="T21" fmla="*/ 184 h 224"/>
                  <a:gd name="T22" fmla="*/ 184 w 208"/>
                  <a:gd name="T23" fmla="*/ 132 h 224"/>
                  <a:gd name="T24" fmla="*/ 108 w 208"/>
                  <a:gd name="T25" fmla="*/ 132 h 224"/>
                  <a:gd name="T26" fmla="*/ 108 w 208"/>
                  <a:gd name="T27" fmla="*/ 184 h 224"/>
                  <a:gd name="T28" fmla="*/ 124 w 208"/>
                  <a:gd name="T29" fmla="*/ 184 h 224"/>
                  <a:gd name="T30" fmla="*/ 124 w 208"/>
                  <a:gd name="T31" fmla="*/ 224 h 224"/>
                  <a:gd name="T32" fmla="*/ 84 w 208"/>
                  <a:gd name="T33" fmla="*/ 224 h 224"/>
                  <a:gd name="T34" fmla="*/ 84 w 208"/>
                  <a:gd name="T35" fmla="*/ 184 h 224"/>
                  <a:gd name="T36" fmla="*/ 100 w 208"/>
                  <a:gd name="T37" fmla="*/ 184 h 224"/>
                  <a:gd name="T38" fmla="*/ 100 w 208"/>
                  <a:gd name="T39" fmla="*/ 132 h 224"/>
                  <a:gd name="T40" fmla="*/ 24 w 208"/>
                  <a:gd name="T41" fmla="*/ 132 h 224"/>
                  <a:gd name="T42" fmla="*/ 24 w 208"/>
                  <a:gd name="T43" fmla="*/ 184 h 224"/>
                  <a:gd name="T44" fmla="*/ 40 w 208"/>
                  <a:gd name="T45" fmla="*/ 184 h 224"/>
                  <a:gd name="T46" fmla="*/ 40 w 208"/>
                  <a:gd name="T47" fmla="*/ 224 h 224"/>
                  <a:gd name="T48" fmla="*/ 0 w 208"/>
                  <a:gd name="T49" fmla="*/ 224 h 224"/>
                  <a:gd name="T50" fmla="*/ 0 w 208"/>
                  <a:gd name="T51" fmla="*/ 184 h 224"/>
                  <a:gd name="T52" fmla="*/ 16 w 208"/>
                  <a:gd name="T53" fmla="*/ 184 h 224"/>
                  <a:gd name="T54" fmla="*/ 16 w 208"/>
                  <a:gd name="T55" fmla="*/ 124 h 224"/>
                  <a:gd name="T56" fmla="*/ 100 w 208"/>
                  <a:gd name="T57" fmla="*/ 124 h 224"/>
                  <a:gd name="T58" fmla="*/ 100 w 208"/>
                  <a:gd name="T59" fmla="*/ 68 h 224"/>
                  <a:gd name="T60" fmla="*/ 40 w 208"/>
                  <a:gd name="T61" fmla="*/ 68 h 224"/>
                  <a:gd name="T62" fmla="*/ 40 w 208"/>
                  <a:gd name="T63" fmla="*/ 0 h 224"/>
                  <a:gd name="T64" fmla="*/ 168 w 208"/>
                  <a:gd name="T65" fmla="*/ 0 h 224"/>
                  <a:gd name="T66" fmla="*/ 32 w 208"/>
                  <a:gd name="T67" fmla="*/ 192 h 224"/>
                  <a:gd name="T68" fmla="*/ 8 w 208"/>
                  <a:gd name="T69" fmla="*/ 192 h 224"/>
                  <a:gd name="T70" fmla="*/ 8 w 208"/>
                  <a:gd name="T71" fmla="*/ 216 h 224"/>
                  <a:gd name="T72" fmla="*/ 32 w 208"/>
                  <a:gd name="T73" fmla="*/ 216 h 224"/>
                  <a:gd name="T74" fmla="*/ 32 w 208"/>
                  <a:gd name="T75" fmla="*/ 192 h 224"/>
                  <a:gd name="T76" fmla="*/ 116 w 208"/>
                  <a:gd name="T77" fmla="*/ 192 h 224"/>
                  <a:gd name="T78" fmla="*/ 92 w 208"/>
                  <a:gd name="T79" fmla="*/ 192 h 224"/>
                  <a:gd name="T80" fmla="*/ 92 w 208"/>
                  <a:gd name="T81" fmla="*/ 216 h 224"/>
                  <a:gd name="T82" fmla="*/ 116 w 208"/>
                  <a:gd name="T83" fmla="*/ 216 h 224"/>
                  <a:gd name="T84" fmla="*/ 116 w 208"/>
                  <a:gd name="T85" fmla="*/ 192 h 224"/>
                  <a:gd name="T86" fmla="*/ 200 w 208"/>
                  <a:gd name="T87" fmla="*/ 192 h 224"/>
                  <a:gd name="T88" fmla="*/ 176 w 208"/>
                  <a:gd name="T89" fmla="*/ 192 h 224"/>
                  <a:gd name="T90" fmla="*/ 176 w 208"/>
                  <a:gd name="T91" fmla="*/ 216 h 224"/>
                  <a:gd name="T92" fmla="*/ 200 w 208"/>
                  <a:gd name="T93" fmla="*/ 216 h 224"/>
                  <a:gd name="T94" fmla="*/ 200 w 208"/>
                  <a:gd name="T95" fmla="*/ 192 h 224"/>
                  <a:gd name="T96" fmla="*/ 160 w 208"/>
                  <a:gd name="T97" fmla="*/ 8 h 224"/>
                  <a:gd name="T98" fmla="*/ 48 w 208"/>
                  <a:gd name="T99" fmla="*/ 8 h 224"/>
                  <a:gd name="T100" fmla="*/ 48 w 208"/>
                  <a:gd name="T101" fmla="*/ 60 h 224"/>
                  <a:gd name="T102" fmla="*/ 160 w 208"/>
                  <a:gd name="T103" fmla="*/ 60 h 224"/>
                  <a:gd name="T104" fmla="*/ 160 w 208"/>
                  <a:gd name="T105" fmla="*/ 8 h 224"/>
                  <a:gd name="T106" fmla="*/ 66 w 208"/>
                  <a:gd name="T107" fmla="*/ 36 h 224"/>
                  <a:gd name="T108" fmla="*/ 72 w 208"/>
                  <a:gd name="T109" fmla="*/ 42 h 224"/>
                  <a:gd name="T110" fmla="*/ 66 w 208"/>
                  <a:gd name="T111" fmla="*/ 48 h 224"/>
                  <a:gd name="T112" fmla="*/ 60 w 208"/>
                  <a:gd name="T113" fmla="*/ 42 h 224"/>
                  <a:gd name="T114" fmla="*/ 66 w 208"/>
                  <a:gd name="T115" fmla="*/ 36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08" h="224">
                    <a:moveTo>
                      <a:pt x="168" y="0"/>
                    </a:moveTo>
                    <a:cubicBezTo>
                      <a:pt x="168" y="68"/>
                      <a:pt x="168" y="68"/>
                      <a:pt x="168" y="68"/>
                    </a:cubicBezTo>
                    <a:cubicBezTo>
                      <a:pt x="108" y="68"/>
                      <a:pt x="108" y="68"/>
                      <a:pt x="108" y="68"/>
                    </a:cubicBezTo>
                    <a:cubicBezTo>
                      <a:pt x="108" y="124"/>
                      <a:pt x="108" y="124"/>
                      <a:pt x="108" y="124"/>
                    </a:cubicBezTo>
                    <a:cubicBezTo>
                      <a:pt x="192" y="124"/>
                      <a:pt x="192" y="124"/>
                      <a:pt x="192" y="124"/>
                    </a:cubicBezTo>
                    <a:cubicBezTo>
                      <a:pt x="192" y="184"/>
                      <a:pt x="192" y="184"/>
                      <a:pt x="192" y="184"/>
                    </a:cubicBezTo>
                    <a:cubicBezTo>
                      <a:pt x="208" y="184"/>
                      <a:pt x="208" y="184"/>
                      <a:pt x="208" y="184"/>
                    </a:cubicBezTo>
                    <a:cubicBezTo>
                      <a:pt x="208" y="224"/>
                      <a:pt x="208" y="224"/>
                      <a:pt x="208" y="224"/>
                    </a:cubicBezTo>
                    <a:cubicBezTo>
                      <a:pt x="168" y="224"/>
                      <a:pt x="168" y="224"/>
                      <a:pt x="168" y="224"/>
                    </a:cubicBezTo>
                    <a:cubicBezTo>
                      <a:pt x="168" y="184"/>
                      <a:pt x="168" y="184"/>
                      <a:pt x="168" y="184"/>
                    </a:cubicBezTo>
                    <a:cubicBezTo>
                      <a:pt x="184" y="184"/>
                      <a:pt x="184" y="184"/>
                      <a:pt x="184" y="184"/>
                    </a:cubicBezTo>
                    <a:cubicBezTo>
                      <a:pt x="184" y="132"/>
                      <a:pt x="184" y="132"/>
                      <a:pt x="184" y="132"/>
                    </a:cubicBezTo>
                    <a:cubicBezTo>
                      <a:pt x="108" y="132"/>
                      <a:pt x="108" y="132"/>
                      <a:pt x="108" y="132"/>
                    </a:cubicBezTo>
                    <a:cubicBezTo>
                      <a:pt x="108" y="184"/>
                      <a:pt x="108" y="184"/>
                      <a:pt x="108" y="184"/>
                    </a:cubicBezTo>
                    <a:cubicBezTo>
                      <a:pt x="124" y="184"/>
                      <a:pt x="124" y="184"/>
                      <a:pt x="124" y="184"/>
                    </a:cubicBezTo>
                    <a:cubicBezTo>
                      <a:pt x="124" y="224"/>
                      <a:pt x="124" y="224"/>
                      <a:pt x="124" y="224"/>
                    </a:cubicBezTo>
                    <a:cubicBezTo>
                      <a:pt x="84" y="224"/>
                      <a:pt x="84" y="224"/>
                      <a:pt x="84" y="224"/>
                    </a:cubicBezTo>
                    <a:cubicBezTo>
                      <a:pt x="84" y="184"/>
                      <a:pt x="84" y="184"/>
                      <a:pt x="84" y="184"/>
                    </a:cubicBezTo>
                    <a:cubicBezTo>
                      <a:pt x="100" y="184"/>
                      <a:pt x="100" y="184"/>
                      <a:pt x="100" y="184"/>
                    </a:cubicBezTo>
                    <a:cubicBezTo>
                      <a:pt x="100" y="132"/>
                      <a:pt x="100" y="132"/>
                      <a:pt x="100" y="132"/>
                    </a:cubicBezTo>
                    <a:cubicBezTo>
                      <a:pt x="24" y="132"/>
                      <a:pt x="24" y="132"/>
                      <a:pt x="24" y="132"/>
                    </a:cubicBezTo>
                    <a:cubicBezTo>
                      <a:pt x="24" y="184"/>
                      <a:pt x="24" y="184"/>
                      <a:pt x="24" y="184"/>
                    </a:cubicBezTo>
                    <a:cubicBezTo>
                      <a:pt x="40" y="184"/>
                      <a:pt x="40" y="184"/>
                      <a:pt x="40" y="184"/>
                    </a:cubicBezTo>
                    <a:cubicBezTo>
                      <a:pt x="40" y="224"/>
                      <a:pt x="40" y="224"/>
                      <a:pt x="40" y="224"/>
                    </a:cubicBezTo>
                    <a:cubicBezTo>
                      <a:pt x="0" y="224"/>
                      <a:pt x="0" y="224"/>
                      <a:pt x="0" y="224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16" y="184"/>
                      <a:pt x="16" y="184"/>
                      <a:pt x="16" y="184"/>
                    </a:cubicBezTo>
                    <a:cubicBezTo>
                      <a:pt x="16" y="124"/>
                      <a:pt x="16" y="124"/>
                      <a:pt x="16" y="124"/>
                    </a:cubicBezTo>
                    <a:cubicBezTo>
                      <a:pt x="100" y="124"/>
                      <a:pt x="100" y="124"/>
                      <a:pt x="100" y="124"/>
                    </a:cubicBezTo>
                    <a:cubicBezTo>
                      <a:pt x="100" y="68"/>
                      <a:pt x="100" y="68"/>
                      <a:pt x="100" y="68"/>
                    </a:cubicBezTo>
                    <a:cubicBezTo>
                      <a:pt x="40" y="68"/>
                      <a:pt x="40" y="68"/>
                      <a:pt x="40" y="68"/>
                    </a:cubicBezTo>
                    <a:cubicBezTo>
                      <a:pt x="40" y="0"/>
                      <a:pt x="40" y="0"/>
                      <a:pt x="40" y="0"/>
                    </a:cubicBezTo>
                    <a:lnTo>
                      <a:pt x="168" y="0"/>
                    </a:lnTo>
                    <a:close/>
                    <a:moveTo>
                      <a:pt x="32" y="192"/>
                    </a:moveTo>
                    <a:cubicBezTo>
                      <a:pt x="8" y="192"/>
                      <a:pt x="8" y="192"/>
                      <a:pt x="8" y="192"/>
                    </a:cubicBezTo>
                    <a:cubicBezTo>
                      <a:pt x="8" y="216"/>
                      <a:pt x="8" y="216"/>
                      <a:pt x="8" y="216"/>
                    </a:cubicBezTo>
                    <a:cubicBezTo>
                      <a:pt x="32" y="216"/>
                      <a:pt x="32" y="216"/>
                      <a:pt x="32" y="216"/>
                    </a:cubicBezTo>
                    <a:lnTo>
                      <a:pt x="32" y="192"/>
                    </a:lnTo>
                    <a:close/>
                    <a:moveTo>
                      <a:pt x="116" y="192"/>
                    </a:moveTo>
                    <a:cubicBezTo>
                      <a:pt x="92" y="192"/>
                      <a:pt x="92" y="192"/>
                      <a:pt x="92" y="192"/>
                    </a:cubicBezTo>
                    <a:cubicBezTo>
                      <a:pt x="92" y="216"/>
                      <a:pt x="92" y="216"/>
                      <a:pt x="92" y="216"/>
                    </a:cubicBezTo>
                    <a:cubicBezTo>
                      <a:pt x="116" y="216"/>
                      <a:pt x="116" y="216"/>
                      <a:pt x="116" y="216"/>
                    </a:cubicBezTo>
                    <a:lnTo>
                      <a:pt x="116" y="192"/>
                    </a:lnTo>
                    <a:close/>
                    <a:moveTo>
                      <a:pt x="200" y="192"/>
                    </a:moveTo>
                    <a:cubicBezTo>
                      <a:pt x="176" y="192"/>
                      <a:pt x="176" y="192"/>
                      <a:pt x="176" y="192"/>
                    </a:cubicBezTo>
                    <a:cubicBezTo>
                      <a:pt x="176" y="216"/>
                      <a:pt x="176" y="216"/>
                      <a:pt x="176" y="216"/>
                    </a:cubicBezTo>
                    <a:cubicBezTo>
                      <a:pt x="200" y="216"/>
                      <a:pt x="200" y="216"/>
                      <a:pt x="200" y="216"/>
                    </a:cubicBezTo>
                    <a:lnTo>
                      <a:pt x="200" y="192"/>
                    </a:lnTo>
                    <a:close/>
                    <a:moveTo>
                      <a:pt x="160" y="8"/>
                    </a:moveTo>
                    <a:cubicBezTo>
                      <a:pt x="48" y="8"/>
                      <a:pt x="48" y="8"/>
                      <a:pt x="48" y="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160" y="60"/>
                      <a:pt x="160" y="60"/>
                      <a:pt x="160" y="60"/>
                    </a:cubicBezTo>
                    <a:lnTo>
                      <a:pt x="160" y="8"/>
                    </a:lnTo>
                    <a:close/>
                    <a:moveTo>
                      <a:pt x="66" y="36"/>
                    </a:moveTo>
                    <a:cubicBezTo>
                      <a:pt x="69" y="36"/>
                      <a:pt x="72" y="39"/>
                      <a:pt x="72" y="42"/>
                    </a:cubicBezTo>
                    <a:cubicBezTo>
                      <a:pt x="72" y="45"/>
                      <a:pt x="69" y="48"/>
                      <a:pt x="66" y="48"/>
                    </a:cubicBezTo>
                    <a:cubicBezTo>
                      <a:pt x="63" y="48"/>
                      <a:pt x="60" y="45"/>
                      <a:pt x="60" y="42"/>
                    </a:cubicBezTo>
                    <a:cubicBezTo>
                      <a:pt x="60" y="39"/>
                      <a:pt x="63" y="36"/>
                      <a:pt x="66" y="36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</p:grpSp>
        <p:grpSp>
          <p:nvGrpSpPr>
            <p:cNvPr id="164" name="íṩlïḍè">
              <a:extLst>
                <a:ext uri="{FF2B5EF4-FFF2-40B4-BE49-F238E27FC236}">
                  <a16:creationId xmlns:a16="http://schemas.microsoft.com/office/drawing/2014/main" id="{F8027911-4BC1-424D-A340-FB940760D497}"/>
                </a:ext>
              </a:extLst>
            </p:cNvPr>
            <p:cNvGrpSpPr/>
            <p:nvPr/>
          </p:nvGrpSpPr>
          <p:grpSpPr>
            <a:xfrm>
              <a:off x="3673748" y="2639388"/>
              <a:ext cx="799640" cy="799640"/>
              <a:chOff x="3602030" y="2454548"/>
              <a:chExt cx="943076" cy="943076"/>
            </a:xfrm>
          </p:grpSpPr>
          <p:sp>
            <p:nvSpPr>
              <p:cNvPr id="187" name="ïṩlîḍé">
                <a:extLst>
                  <a:ext uri="{FF2B5EF4-FFF2-40B4-BE49-F238E27FC236}">
                    <a16:creationId xmlns:a16="http://schemas.microsoft.com/office/drawing/2014/main" id="{B5EAA7F1-A8DC-43EE-998C-8FB8AFB51396}"/>
                  </a:ext>
                </a:extLst>
              </p:cNvPr>
              <p:cNvSpPr/>
              <p:nvPr/>
            </p:nvSpPr>
            <p:spPr>
              <a:xfrm>
                <a:off x="3602030" y="2454548"/>
                <a:ext cx="943076" cy="943076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188" name="iŝlide">
                <a:extLst>
                  <a:ext uri="{FF2B5EF4-FFF2-40B4-BE49-F238E27FC236}">
                    <a16:creationId xmlns:a16="http://schemas.microsoft.com/office/drawing/2014/main" id="{E2F6700A-0958-4A4F-B966-1A1AD403B862}"/>
                  </a:ext>
                </a:extLst>
              </p:cNvPr>
              <p:cNvSpPr/>
              <p:nvPr/>
            </p:nvSpPr>
            <p:spPr>
              <a:xfrm>
                <a:off x="3868026" y="2769920"/>
                <a:ext cx="411083" cy="312331"/>
              </a:xfrm>
              <a:custGeom>
                <a:avLst/>
                <a:gdLst>
                  <a:gd name="T0" fmla="*/ 224 w 224"/>
                  <a:gd name="T1" fmla="*/ 0 h 168"/>
                  <a:gd name="T2" fmla="*/ 224 w 224"/>
                  <a:gd name="T3" fmla="*/ 168 h 168"/>
                  <a:gd name="T4" fmla="*/ 0 w 224"/>
                  <a:gd name="T5" fmla="*/ 168 h 168"/>
                  <a:gd name="T6" fmla="*/ 0 w 224"/>
                  <a:gd name="T7" fmla="*/ 0 h 168"/>
                  <a:gd name="T8" fmla="*/ 224 w 224"/>
                  <a:gd name="T9" fmla="*/ 0 h 168"/>
                  <a:gd name="T10" fmla="*/ 157 w 224"/>
                  <a:gd name="T11" fmla="*/ 64 h 168"/>
                  <a:gd name="T12" fmla="*/ 104 w 224"/>
                  <a:gd name="T13" fmla="*/ 134 h 168"/>
                  <a:gd name="T14" fmla="*/ 59 w 224"/>
                  <a:gd name="T15" fmla="*/ 90 h 168"/>
                  <a:gd name="T16" fmla="*/ 8 w 224"/>
                  <a:gd name="T17" fmla="*/ 149 h 168"/>
                  <a:gd name="T18" fmla="*/ 8 w 224"/>
                  <a:gd name="T19" fmla="*/ 160 h 168"/>
                  <a:gd name="T20" fmla="*/ 216 w 224"/>
                  <a:gd name="T21" fmla="*/ 160 h 168"/>
                  <a:gd name="T22" fmla="*/ 216 w 224"/>
                  <a:gd name="T23" fmla="*/ 142 h 168"/>
                  <a:gd name="T24" fmla="*/ 157 w 224"/>
                  <a:gd name="T25" fmla="*/ 64 h 168"/>
                  <a:gd name="T26" fmla="*/ 216 w 224"/>
                  <a:gd name="T27" fmla="*/ 8 h 168"/>
                  <a:gd name="T28" fmla="*/ 8 w 224"/>
                  <a:gd name="T29" fmla="*/ 8 h 168"/>
                  <a:gd name="T30" fmla="*/ 8 w 224"/>
                  <a:gd name="T31" fmla="*/ 137 h 168"/>
                  <a:gd name="T32" fmla="*/ 58 w 224"/>
                  <a:gd name="T33" fmla="*/ 78 h 168"/>
                  <a:gd name="T34" fmla="*/ 103 w 224"/>
                  <a:gd name="T35" fmla="*/ 122 h 168"/>
                  <a:gd name="T36" fmla="*/ 158 w 224"/>
                  <a:gd name="T37" fmla="*/ 51 h 168"/>
                  <a:gd name="T38" fmla="*/ 216 w 224"/>
                  <a:gd name="T39" fmla="*/ 129 h 168"/>
                  <a:gd name="T40" fmla="*/ 216 w 224"/>
                  <a:gd name="T41" fmla="*/ 8 h 168"/>
                  <a:gd name="T42" fmla="*/ 40 w 224"/>
                  <a:gd name="T43" fmla="*/ 20 h 168"/>
                  <a:gd name="T44" fmla="*/ 60 w 224"/>
                  <a:gd name="T45" fmla="*/ 40 h 168"/>
                  <a:gd name="T46" fmla="*/ 40 w 224"/>
                  <a:gd name="T47" fmla="*/ 60 h 168"/>
                  <a:gd name="T48" fmla="*/ 20 w 224"/>
                  <a:gd name="T49" fmla="*/ 40 h 168"/>
                  <a:gd name="T50" fmla="*/ 40 w 224"/>
                  <a:gd name="T51" fmla="*/ 20 h 168"/>
                  <a:gd name="T52" fmla="*/ 40 w 224"/>
                  <a:gd name="T53" fmla="*/ 28 h 168"/>
                  <a:gd name="T54" fmla="*/ 28 w 224"/>
                  <a:gd name="T55" fmla="*/ 40 h 168"/>
                  <a:gd name="T56" fmla="*/ 40 w 224"/>
                  <a:gd name="T57" fmla="*/ 52 h 168"/>
                  <a:gd name="T58" fmla="*/ 52 w 224"/>
                  <a:gd name="T59" fmla="*/ 40 h 168"/>
                  <a:gd name="T60" fmla="*/ 40 w 224"/>
                  <a:gd name="T61" fmla="*/ 2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24" h="168">
                    <a:moveTo>
                      <a:pt x="224" y="0"/>
                    </a:moveTo>
                    <a:cubicBezTo>
                      <a:pt x="224" y="168"/>
                      <a:pt x="224" y="168"/>
                      <a:pt x="224" y="168"/>
                    </a:cubicBezTo>
                    <a:cubicBezTo>
                      <a:pt x="0" y="168"/>
                      <a:pt x="0" y="168"/>
                      <a:pt x="0" y="168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224" y="0"/>
                    </a:lnTo>
                    <a:close/>
                    <a:moveTo>
                      <a:pt x="157" y="64"/>
                    </a:moveTo>
                    <a:cubicBezTo>
                      <a:pt x="104" y="134"/>
                      <a:pt x="104" y="134"/>
                      <a:pt x="104" y="134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8" y="149"/>
                      <a:pt x="8" y="149"/>
                      <a:pt x="8" y="149"/>
                    </a:cubicBezTo>
                    <a:cubicBezTo>
                      <a:pt x="8" y="160"/>
                      <a:pt x="8" y="160"/>
                      <a:pt x="8" y="160"/>
                    </a:cubicBezTo>
                    <a:cubicBezTo>
                      <a:pt x="216" y="160"/>
                      <a:pt x="216" y="160"/>
                      <a:pt x="216" y="160"/>
                    </a:cubicBezTo>
                    <a:cubicBezTo>
                      <a:pt x="216" y="142"/>
                      <a:pt x="216" y="142"/>
                      <a:pt x="216" y="142"/>
                    </a:cubicBezTo>
                    <a:lnTo>
                      <a:pt x="157" y="64"/>
                    </a:lnTo>
                    <a:close/>
                    <a:moveTo>
                      <a:pt x="216" y="8"/>
                    </a:moveTo>
                    <a:cubicBezTo>
                      <a:pt x="8" y="8"/>
                      <a:pt x="8" y="8"/>
                      <a:pt x="8" y="8"/>
                    </a:cubicBezTo>
                    <a:cubicBezTo>
                      <a:pt x="8" y="137"/>
                      <a:pt x="8" y="137"/>
                      <a:pt x="8" y="137"/>
                    </a:cubicBezTo>
                    <a:cubicBezTo>
                      <a:pt x="58" y="78"/>
                      <a:pt x="58" y="78"/>
                      <a:pt x="58" y="78"/>
                    </a:cubicBezTo>
                    <a:cubicBezTo>
                      <a:pt x="103" y="122"/>
                      <a:pt x="103" y="122"/>
                      <a:pt x="103" y="122"/>
                    </a:cubicBezTo>
                    <a:cubicBezTo>
                      <a:pt x="158" y="51"/>
                      <a:pt x="158" y="51"/>
                      <a:pt x="158" y="51"/>
                    </a:cubicBezTo>
                    <a:cubicBezTo>
                      <a:pt x="216" y="129"/>
                      <a:pt x="216" y="129"/>
                      <a:pt x="216" y="129"/>
                    </a:cubicBezTo>
                    <a:lnTo>
                      <a:pt x="216" y="8"/>
                    </a:lnTo>
                    <a:close/>
                    <a:moveTo>
                      <a:pt x="40" y="20"/>
                    </a:moveTo>
                    <a:cubicBezTo>
                      <a:pt x="51" y="20"/>
                      <a:pt x="60" y="29"/>
                      <a:pt x="60" y="40"/>
                    </a:cubicBezTo>
                    <a:cubicBezTo>
                      <a:pt x="60" y="51"/>
                      <a:pt x="51" y="60"/>
                      <a:pt x="40" y="60"/>
                    </a:cubicBezTo>
                    <a:cubicBezTo>
                      <a:pt x="29" y="60"/>
                      <a:pt x="20" y="51"/>
                      <a:pt x="20" y="40"/>
                    </a:cubicBezTo>
                    <a:cubicBezTo>
                      <a:pt x="20" y="29"/>
                      <a:pt x="29" y="20"/>
                      <a:pt x="40" y="20"/>
                    </a:cubicBezTo>
                    <a:close/>
                    <a:moveTo>
                      <a:pt x="40" y="28"/>
                    </a:moveTo>
                    <a:cubicBezTo>
                      <a:pt x="33" y="28"/>
                      <a:pt x="28" y="33"/>
                      <a:pt x="28" y="40"/>
                    </a:cubicBezTo>
                    <a:cubicBezTo>
                      <a:pt x="28" y="47"/>
                      <a:pt x="33" y="52"/>
                      <a:pt x="40" y="52"/>
                    </a:cubicBezTo>
                    <a:cubicBezTo>
                      <a:pt x="47" y="52"/>
                      <a:pt x="52" y="47"/>
                      <a:pt x="52" y="40"/>
                    </a:cubicBezTo>
                    <a:cubicBezTo>
                      <a:pt x="52" y="33"/>
                      <a:pt x="47" y="28"/>
                      <a:pt x="40" y="28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7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</p:grpSp>
        <p:grpSp>
          <p:nvGrpSpPr>
            <p:cNvPr id="165" name="ïṧļiďè">
              <a:extLst>
                <a:ext uri="{FF2B5EF4-FFF2-40B4-BE49-F238E27FC236}">
                  <a16:creationId xmlns:a16="http://schemas.microsoft.com/office/drawing/2014/main" id="{D6B0B642-FC5B-4C95-8C72-84562571E906}"/>
                </a:ext>
              </a:extLst>
            </p:cNvPr>
            <p:cNvGrpSpPr/>
            <p:nvPr/>
          </p:nvGrpSpPr>
          <p:grpSpPr>
            <a:xfrm>
              <a:off x="7718612" y="2639388"/>
              <a:ext cx="799640" cy="799640"/>
              <a:chOff x="7646894" y="2454548"/>
              <a:chExt cx="943076" cy="943076"/>
            </a:xfrm>
          </p:grpSpPr>
          <p:sp>
            <p:nvSpPr>
              <p:cNvPr id="185" name="ïsḻíḓé">
                <a:extLst>
                  <a:ext uri="{FF2B5EF4-FFF2-40B4-BE49-F238E27FC236}">
                    <a16:creationId xmlns:a16="http://schemas.microsoft.com/office/drawing/2014/main" id="{DF110FAA-4167-4017-AC57-ADC97D9D5FFD}"/>
                  </a:ext>
                </a:extLst>
              </p:cNvPr>
              <p:cNvSpPr/>
              <p:nvPr/>
            </p:nvSpPr>
            <p:spPr>
              <a:xfrm>
                <a:off x="7646894" y="2454548"/>
                <a:ext cx="943076" cy="943076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186" name="ïSļîḑê">
                <a:extLst>
                  <a:ext uri="{FF2B5EF4-FFF2-40B4-BE49-F238E27FC236}">
                    <a16:creationId xmlns:a16="http://schemas.microsoft.com/office/drawing/2014/main" id="{BE98A87E-3340-4323-BBF7-DBB4280A135D}"/>
                  </a:ext>
                </a:extLst>
              </p:cNvPr>
              <p:cNvSpPr/>
              <p:nvPr/>
            </p:nvSpPr>
            <p:spPr>
              <a:xfrm>
                <a:off x="7915160" y="2720544"/>
                <a:ext cx="406541" cy="411083"/>
              </a:xfrm>
              <a:custGeom>
                <a:avLst/>
                <a:gdLst>
                  <a:gd name="T0" fmla="*/ 160 w 224"/>
                  <a:gd name="T1" fmla="*/ 0 h 224"/>
                  <a:gd name="T2" fmla="*/ 160 w 224"/>
                  <a:gd name="T3" fmla="*/ 48 h 224"/>
                  <a:gd name="T4" fmla="*/ 224 w 224"/>
                  <a:gd name="T5" fmla="*/ 48 h 224"/>
                  <a:gd name="T6" fmla="*/ 224 w 224"/>
                  <a:gd name="T7" fmla="*/ 176 h 224"/>
                  <a:gd name="T8" fmla="*/ 160 w 224"/>
                  <a:gd name="T9" fmla="*/ 176 h 224"/>
                  <a:gd name="T10" fmla="*/ 160 w 224"/>
                  <a:gd name="T11" fmla="*/ 224 h 224"/>
                  <a:gd name="T12" fmla="*/ 64 w 224"/>
                  <a:gd name="T13" fmla="*/ 224 h 224"/>
                  <a:gd name="T14" fmla="*/ 64 w 224"/>
                  <a:gd name="T15" fmla="*/ 176 h 224"/>
                  <a:gd name="T16" fmla="*/ 0 w 224"/>
                  <a:gd name="T17" fmla="*/ 176 h 224"/>
                  <a:gd name="T18" fmla="*/ 0 w 224"/>
                  <a:gd name="T19" fmla="*/ 76 h 224"/>
                  <a:gd name="T20" fmla="*/ 26 w 224"/>
                  <a:gd name="T21" fmla="*/ 48 h 224"/>
                  <a:gd name="T22" fmla="*/ 64 w 224"/>
                  <a:gd name="T23" fmla="*/ 48 h 224"/>
                  <a:gd name="T24" fmla="*/ 64 w 224"/>
                  <a:gd name="T25" fmla="*/ 0 h 224"/>
                  <a:gd name="T26" fmla="*/ 160 w 224"/>
                  <a:gd name="T27" fmla="*/ 0 h 224"/>
                  <a:gd name="T28" fmla="*/ 152 w 224"/>
                  <a:gd name="T29" fmla="*/ 120 h 224"/>
                  <a:gd name="T30" fmla="*/ 72 w 224"/>
                  <a:gd name="T31" fmla="*/ 120 h 224"/>
                  <a:gd name="T32" fmla="*/ 72 w 224"/>
                  <a:gd name="T33" fmla="*/ 216 h 224"/>
                  <a:gd name="T34" fmla="*/ 152 w 224"/>
                  <a:gd name="T35" fmla="*/ 216 h 224"/>
                  <a:gd name="T36" fmla="*/ 152 w 224"/>
                  <a:gd name="T37" fmla="*/ 120 h 224"/>
                  <a:gd name="T38" fmla="*/ 216 w 224"/>
                  <a:gd name="T39" fmla="*/ 56 h 224"/>
                  <a:gd name="T40" fmla="*/ 30 w 224"/>
                  <a:gd name="T41" fmla="*/ 56 h 224"/>
                  <a:gd name="T42" fmla="*/ 8 w 224"/>
                  <a:gd name="T43" fmla="*/ 80 h 224"/>
                  <a:gd name="T44" fmla="*/ 8 w 224"/>
                  <a:gd name="T45" fmla="*/ 168 h 224"/>
                  <a:gd name="T46" fmla="*/ 64 w 224"/>
                  <a:gd name="T47" fmla="*/ 168 h 224"/>
                  <a:gd name="T48" fmla="*/ 64 w 224"/>
                  <a:gd name="T49" fmla="*/ 112 h 224"/>
                  <a:gd name="T50" fmla="*/ 160 w 224"/>
                  <a:gd name="T51" fmla="*/ 112 h 224"/>
                  <a:gd name="T52" fmla="*/ 160 w 224"/>
                  <a:gd name="T53" fmla="*/ 168 h 224"/>
                  <a:gd name="T54" fmla="*/ 216 w 224"/>
                  <a:gd name="T55" fmla="*/ 168 h 224"/>
                  <a:gd name="T56" fmla="*/ 216 w 224"/>
                  <a:gd name="T57" fmla="*/ 56 h 224"/>
                  <a:gd name="T58" fmla="*/ 194 w 224"/>
                  <a:gd name="T59" fmla="*/ 72 h 224"/>
                  <a:gd name="T60" fmla="*/ 200 w 224"/>
                  <a:gd name="T61" fmla="*/ 78 h 224"/>
                  <a:gd name="T62" fmla="*/ 194 w 224"/>
                  <a:gd name="T63" fmla="*/ 84 h 224"/>
                  <a:gd name="T64" fmla="*/ 188 w 224"/>
                  <a:gd name="T65" fmla="*/ 78 h 224"/>
                  <a:gd name="T66" fmla="*/ 194 w 224"/>
                  <a:gd name="T67" fmla="*/ 72 h 224"/>
                  <a:gd name="T68" fmla="*/ 152 w 224"/>
                  <a:gd name="T69" fmla="*/ 8 h 224"/>
                  <a:gd name="T70" fmla="*/ 72 w 224"/>
                  <a:gd name="T71" fmla="*/ 8 h 224"/>
                  <a:gd name="T72" fmla="*/ 72 w 224"/>
                  <a:gd name="T73" fmla="*/ 48 h 224"/>
                  <a:gd name="T74" fmla="*/ 152 w 224"/>
                  <a:gd name="T75" fmla="*/ 48 h 224"/>
                  <a:gd name="T76" fmla="*/ 152 w 224"/>
                  <a:gd name="T77" fmla="*/ 8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24" h="224">
                    <a:moveTo>
                      <a:pt x="160" y="0"/>
                    </a:moveTo>
                    <a:cubicBezTo>
                      <a:pt x="160" y="48"/>
                      <a:pt x="160" y="48"/>
                      <a:pt x="160" y="48"/>
                    </a:cubicBezTo>
                    <a:cubicBezTo>
                      <a:pt x="224" y="48"/>
                      <a:pt x="224" y="48"/>
                      <a:pt x="224" y="48"/>
                    </a:cubicBezTo>
                    <a:cubicBezTo>
                      <a:pt x="224" y="176"/>
                      <a:pt x="224" y="176"/>
                      <a:pt x="224" y="176"/>
                    </a:cubicBezTo>
                    <a:cubicBezTo>
                      <a:pt x="160" y="176"/>
                      <a:pt x="160" y="176"/>
                      <a:pt x="160" y="176"/>
                    </a:cubicBezTo>
                    <a:cubicBezTo>
                      <a:pt x="160" y="224"/>
                      <a:pt x="160" y="224"/>
                      <a:pt x="160" y="224"/>
                    </a:cubicBezTo>
                    <a:cubicBezTo>
                      <a:pt x="64" y="224"/>
                      <a:pt x="64" y="224"/>
                      <a:pt x="64" y="224"/>
                    </a:cubicBezTo>
                    <a:cubicBezTo>
                      <a:pt x="64" y="176"/>
                      <a:pt x="64" y="176"/>
                      <a:pt x="64" y="176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6" y="48"/>
                      <a:pt x="26" y="48"/>
                      <a:pt x="26" y="48"/>
                    </a:cubicBezTo>
                    <a:cubicBezTo>
                      <a:pt x="64" y="48"/>
                      <a:pt x="64" y="48"/>
                      <a:pt x="64" y="48"/>
                    </a:cubicBezTo>
                    <a:cubicBezTo>
                      <a:pt x="64" y="0"/>
                      <a:pt x="64" y="0"/>
                      <a:pt x="64" y="0"/>
                    </a:cubicBezTo>
                    <a:lnTo>
                      <a:pt x="160" y="0"/>
                    </a:lnTo>
                    <a:close/>
                    <a:moveTo>
                      <a:pt x="152" y="120"/>
                    </a:moveTo>
                    <a:cubicBezTo>
                      <a:pt x="72" y="120"/>
                      <a:pt x="72" y="120"/>
                      <a:pt x="72" y="120"/>
                    </a:cubicBezTo>
                    <a:cubicBezTo>
                      <a:pt x="72" y="216"/>
                      <a:pt x="72" y="216"/>
                      <a:pt x="72" y="216"/>
                    </a:cubicBezTo>
                    <a:cubicBezTo>
                      <a:pt x="152" y="216"/>
                      <a:pt x="152" y="216"/>
                      <a:pt x="152" y="216"/>
                    </a:cubicBezTo>
                    <a:lnTo>
                      <a:pt x="152" y="120"/>
                    </a:lnTo>
                    <a:close/>
                    <a:moveTo>
                      <a:pt x="216" y="56"/>
                    </a:moveTo>
                    <a:cubicBezTo>
                      <a:pt x="30" y="56"/>
                      <a:pt x="30" y="56"/>
                      <a:pt x="30" y="56"/>
                    </a:cubicBezTo>
                    <a:cubicBezTo>
                      <a:pt x="8" y="80"/>
                      <a:pt x="8" y="80"/>
                      <a:pt x="8" y="80"/>
                    </a:cubicBezTo>
                    <a:cubicBezTo>
                      <a:pt x="8" y="168"/>
                      <a:pt x="8" y="168"/>
                      <a:pt x="8" y="168"/>
                    </a:cubicBezTo>
                    <a:cubicBezTo>
                      <a:pt x="64" y="168"/>
                      <a:pt x="64" y="168"/>
                      <a:pt x="64" y="168"/>
                    </a:cubicBezTo>
                    <a:cubicBezTo>
                      <a:pt x="64" y="112"/>
                      <a:pt x="64" y="112"/>
                      <a:pt x="64" y="112"/>
                    </a:cubicBezTo>
                    <a:cubicBezTo>
                      <a:pt x="160" y="112"/>
                      <a:pt x="160" y="112"/>
                      <a:pt x="160" y="112"/>
                    </a:cubicBezTo>
                    <a:cubicBezTo>
                      <a:pt x="160" y="168"/>
                      <a:pt x="160" y="168"/>
                      <a:pt x="160" y="168"/>
                    </a:cubicBezTo>
                    <a:cubicBezTo>
                      <a:pt x="216" y="168"/>
                      <a:pt x="216" y="168"/>
                      <a:pt x="216" y="168"/>
                    </a:cubicBezTo>
                    <a:lnTo>
                      <a:pt x="216" y="56"/>
                    </a:lnTo>
                    <a:close/>
                    <a:moveTo>
                      <a:pt x="194" y="72"/>
                    </a:moveTo>
                    <a:cubicBezTo>
                      <a:pt x="197" y="72"/>
                      <a:pt x="200" y="75"/>
                      <a:pt x="200" y="78"/>
                    </a:cubicBezTo>
                    <a:cubicBezTo>
                      <a:pt x="200" y="81"/>
                      <a:pt x="197" y="84"/>
                      <a:pt x="194" y="84"/>
                    </a:cubicBezTo>
                    <a:cubicBezTo>
                      <a:pt x="191" y="84"/>
                      <a:pt x="188" y="81"/>
                      <a:pt x="188" y="78"/>
                    </a:cubicBezTo>
                    <a:cubicBezTo>
                      <a:pt x="188" y="75"/>
                      <a:pt x="191" y="72"/>
                      <a:pt x="194" y="72"/>
                    </a:cubicBezTo>
                    <a:close/>
                    <a:moveTo>
                      <a:pt x="152" y="8"/>
                    </a:moveTo>
                    <a:cubicBezTo>
                      <a:pt x="72" y="8"/>
                      <a:pt x="72" y="8"/>
                      <a:pt x="72" y="8"/>
                    </a:cubicBezTo>
                    <a:cubicBezTo>
                      <a:pt x="72" y="48"/>
                      <a:pt x="72" y="48"/>
                      <a:pt x="72" y="48"/>
                    </a:cubicBezTo>
                    <a:cubicBezTo>
                      <a:pt x="152" y="48"/>
                      <a:pt x="152" y="48"/>
                      <a:pt x="152" y="48"/>
                    </a:cubicBezTo>
                    <a:lnTo>
                      <a:pt x="152" y="8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</p:grpSp>
        <p:grpSp>
          <p:nvGrpSpPr>
            <p:cNvPr id="166" name="iŝlîďè">
              <a:extLst>
                <a:ext uri="{FF2B5EF4-FFF2-40B4-BE49-F238E27FC236}">
                  <a16:creationId xmlns:a16="http://schemas.microsoft.com/office/drawing/2014/main" id="{C1B28F53-2EBF-424F-B2B2-E9069A4C5587}"/>
                </a:ext>
              </a:extLst>
            </p:cNvPr>
            <p:cNvGrpSpPr/>
            <p:nvPr/>
          </p:nvGrpSpPr>
          <p:grpSpPr>
            <a:xfrm>
              <a:off x="9994383" y="2639388"/>
              <a:ext cx="799640" cy="799640"/>
              <a:chOff x="9922665" y="2454548"/>
              <a:chExt cx="943076" cy="943076"/>
            </a:xfrm>
          </p:grpSpPr>
          <p:sp>
            <p:nvSpPr>
              <p:cNvPr id="183" name="î$ḷíḑè">
                <a:extLst>
                  <a:ext uri="{FF2B5EF4-FFF2-40B4-BE49-F238E27FC236}">
                    <a16:creationId xmlns:a16="http://schemas.microsoft.com/office/drawing/2014/main" id="{FB660C64-B847-49EB-9495-952E916E401B}"/>
                  </a:ext>
                </a:extLst>
              </p:cNvPr>
              <p:cNvSpPr/>
              <p:nvPr/>
            </p:nvSpPr>
            <p:spPr>
              <a:xfrm>
                <a:off x="9922665" y="2454548"/>
                <a:ext cx="943076" cy="943076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184" name="íṣľiḓê">
                <a:extLst>
                  <a:ext uri="{FF2B5EF4-FFF2-40B4-BE49-F238E27FC236}">
                    <a16:creationId xmlns:a16="http://schemas.microsoft.com/office/drawing/2014/main" id="{2D9B2038-E435-403E-8F0C-665ED42CFBF4}"/>
                  </a:ext>
                </a:extLst>
              </p:cNvPr>
              <p:cNvSpPr/>
              <p:nvPr/>
            </p:nvSpPr>
            <p:spPr>
              <a:xfrm>
                <a:off x="10188660" y="2754513"/>
                <a:ext cx="411083" cy="343145"/>
              </a:xfrm>
              <a:custGeom>
                <a:avLst/>
                <a:gdLst>
                  <a:gd name="T0" fmla="*/ 224 w 224"/>
                  <a:gd name="T1" fmla="*/ 0 h 184"/>
                  <a:gd name="T2" fmla="*/ 224 w 224"/>
                  <a:gd name="T3" fmla="*/ 156 h 184"/>
                  <a:gd name="T4" fmla="*/ 86 w 224"/>
                  <a:gd name="T5" fmla="*/ 156 h 184"/>
                  <a:gd name="T6" fmla="*/ 48 w 224"/>
                  <a:gd name="T7" fmla="*/ 184 h 184"/>
                  <a:gd name="T8" fmla="*/ 48 w 224"/>
                  <a:gd name="T9" fmla="*/ 156 h 184"/>
                  <a:gd name="T10" fmla="*/ 0 w 224"/>
                  <a:gd name="T11" fmla="*/ 156 h 184"/>
                  <a:gd name="T12" fmla="*/ 0 w 224"/>
                  <a:gd name="T13" fmla="*/ 0 h 184"/>
                  <a:gd name="T14" fmla="*/ 224 w 224"/>
                  <a:gd name="T15" fmla="*/ 0 h 184"/>
                  <a:gd name="T16" fmla="*/ 216 w 224"/>
                  <a:gd name="T17" fmla="*/ 8 h 184"/>
                  <a:gd name="T18" fmla="*/ 8 w 224"/>
                  <a:gd name="T19" fmla="*/ 8 h 184"/>
                  <a:gd name="T20" fmla="*/ 8 w 224"/>
                  <a:gd name="T21" fmla="*/ 148 h 184"/>
                  <a:gd name="T22" fmla="*/ 56 w 224"/>
                  <a:gd name="T23" fmla="*/ 148 h 184"/>
                  <a:gd name="T24" fmla="*/ 56 w 224"/>
                  <a:gd name="T25" fmla="*/ 168 h 184"/>
                  <a:gd name="T26" fmla="*/ 83 w 224"/>
                  <a:gd name="T27" fmla="*/ 148 h 184"/>
                  <a:gd name="T28" fmla="*/ 216 w 224"/>
                  <a:gd name="T29" fmla="*/ 148 h 184"/>
                  <a:gd name="T30" fmla="*/ 216 w 224"/>
                  <a:gd name="T31" fmla="*/ 8 h 184"/>
                  <a:gd name="T32" fmla="*/ 56 w 224"/>
                  <a:gd name="T33" fmla="*/ 60 h 184"/>
                  <a:gd name="T34" fmla="*/ 74 w 224"/>
                  <a:gd name="T35" fmla="*/ 78 h 184"/>
                  <a:gd name="T36" fmla="*/ 56 w 224"/>
                  <a:gd name="T37" fmla="*/ 96 h 184"/>
                  <a:gd name="T38" fmla="*/ 38 w 224"/>
                  <a:gd name="T39" fmla="*/ 78 h 184"/>
                  <a:gd name="T40" fmla="*/ 56 w 224"/>
                  <a:gd name="T41" fmla="*/ 60 h 184"/>
                  <a:gd name="T42" fmla="*/ 112 w 224"/>
                  <a:gd name="T43" fmla="*/ 60 h 184"/>
                  <a:gd name="T44" fmla="*/ 130 w 224"/>
                  <a:gd name="T45" fmla="*/ 78 h 184"/>
                  <a:gd name="T46" fmla="*/ 112 w 224"/>
                  <a:gd name="T47" fmla="*/ 96 h 184"/>
                  <a:gd name="T48" fmla="*/ 94 w 224"/>
                  <a:gd name="T49" fmla="*/ 78 h 184"/>
                  <a:gd name="T50" fmla="*/ 112 w 224"/>
                  <a:gd name="T51" fmla="*/ 60 h 184"/>
                  <a:gd name="T52" fmla="*/ 168 w 224"/>
                  <a:gd name="T53" fmla="*/ 60 h 184"/>
                  <a:gd name="T54" fmla="*/ 186 w 224"/>
                  <a:gd name="T55" fmla="*/ 78 h 184"/>
                  <a:gd name="T56" fmla="*/ 168 w 224"/>
                  <a:gd name="T57" fmla="*/ 96 h 184"/>
                  <a:gd name="T58" fmla="*/ 150 w 224"/>
                  <a:gd name="T59" fmla="*/ 78 h 184"/>
                  <a:gd name="T60" fmla="*/ 168 w 224"/>
                  <a:gd name="T61" fmla="*/ 60 h 184"/>
                  <a:gd name="T62" fmla="*/ 56 w 224"/>
                  <a:gd name="T63" fmla="*/ 68 h 184"/>
                  <a:gd name="T64" fmla="*/ 46 w 224"/>
                  <a:gd name="T65" fmla="*/ 78 h 184"/>
                  <a:gd name="T66" fmla="*/ 56 w 224"/>
                  <a:gd name="T67" fmla="*/ 88 h 184"/>
                  <a:gd name="T68" fmla="*/ 66 w 224"/>
                  <a:gd name="T69" fmla="*/ 78 h 184"/>
                  <a:gd name="T70" fmla="*/ 56 w 224"/>
                  <a:gd name="T71" fmla="*/ 68 h 184"/>
                  <a:gd name="T72" fmla="*/ 112 w 224"/>
                  <a:gd name="T73" fmla="*/ 68 h 184"/>
                  <a:gd name="T74" fmla="*/ 102 w 224"/>
                  <a:gd name="T75" fmla="*/ 78 h 184"/>
                  <a:gd name="T76" fmla="*/ 112 w 224"/>
                  <a:gd name="T77" fmla="*/ 88 h 184"/>
                  <a:gd name="T78" fmla="*/ 122 w 224"/>
                  <a:gd name="T79" fmla="*/ 78 h 184"/>
                  <a:gd name="T80" fmla="*/ 112 w 224"/>
                  <a:gd name="T81" fmla="*/ 68 h 184"/>
                  <a:gd name="T82" fmla="*/ 168 w 224"/>
                  <a:gd name="T83" fmla="*/ 68 h 184"/>
                  <a:gd name="T84" fmla="*/ 158 w 224"/>
                  <a:gd name="T85" fmla="*/ 78 h 184"/>
                  <a:gd name="T86" fmla="*/ 168 w 224"/>
                  <a:gd name="T87" fmla="*/ 88 h 184"/>
                  <a:gd name="T88" fmla="*/ 178 w 224"/>
                  <a:gd name="T89" fmla="*/ 78 h 184"/>
                  <a:gd name="T90" fmla="*/ 168 w 224"/>
                  <a:gd name="T91" fmla="*/ 68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24" h="184">
                    <a:moveTo>
                      <a:pt x="224" y="0"/>
                    </a:moveTo>
                    <a:cubicBezTo>
                      <a:pt x="224" y="156"/>
                      <a:pt x="224" y="156"/>
                      <a:pt x="224" y="156"/>
                    </a:cubicBezTo>
                    <a:cubicBezTo>
                      <a:pt x="86" y="156"/>
                      <a:pt x="86" y="156"/>
                      <a:pt x="86" y="156"/>
                    </a:cubicBezTo>
                    <a:cubicBezTo>
                      <a:pt x="48" y="184"/>
                      <a:pt x="48" y="184"/>
                      <a:pt x="48" y="184"/>
                    </a:cubicBezTo>
                    <a:cubicBezTo>
                      <a:pt x="48" y="156"/>
                      <a:pt x="48" y="156"/>
                      <a:pt x="48" y="156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224" y="0"/>
                    </a:lnTo>
                    <a:close/>
                    <a:moveTo>
                      <a:pt x="216" y="8"/>
                    </a:moveTo>
                    <a:cubicBezTo>
                      <a:pt x="8" y="8"/>
                      <a:pt x="8" y="8"/>
                      <a:pt x="8" y="8"/>
                    </a:cubicBezTo>
                    <a:cubicBezTo>
                      <a:pt x="8" y="148"/>
                      <a:pt x="8" y="148"/>
                      <a:pt x="8" y="148"/>
                    </a:cubicBezTo>
                    <a:cubicBezTo>
                      <a:pt x="56" y="148"/>
                      <a:pt x="56" y="148"/>
                      <a:pt x="56" y="148"/>
                    </a:cubicBezTo>
                    <a:cubicBezTo>
                      <a:pt x="56" y="168"/>
                      <a:pt x="56" y="168"/>
                      <a:pt x="56" y="168"/>
                    </a:cubicBezTo>
                    <a:cubicBezTo>
                      <a:pt x="83" y="148"/>
                      <a:pt x="83" y="148"/>
                      <a:pt x="83" y="148"/>
                    </a:cubicBezTo>
                    <a:cubicBezTo>
                      <a:pt x="216" y="148"/>
                      <a:pt x="216" y="148"/>
                      <a:pt x="216" y="148"/>
                    </a:cubicBezTo>
                    <a:lnTo>
                      <a:pt x="216" y="8"/>
                    </a:lnTo>
                    <a:close/>
                    <a:moveTo>
                      <a:pt x="56" y="60"/>
                    </a:moveTo>
                    <a:cubicBezTo>
                      <a:pt x="66" y="60"/>
                      <a:pt x="74" y="68"/>
                      <a:pt x="74" y="78"/>
                    </a:cubicBezTo>
                    <a:cubicBezTo>
                      <a:pt x="74" y="88"/>
                      <a:pt x="66" y="96"/>
                      <a:pt x="56" y="96"/>
                    </a:cubicBezTo>
                    <a:cubicBezTo>
                      <a:pt x="46" y="96"/>
                      <a:pt x="38" y="88"/>
                      <a:pt x="38" y="78"/>
                    </a:cubicBezTo>
                    <a:cubicBezTo>
                      <a:pt x="38" y="68"/>
                      <a:pt x="46" y="60"/>
                      <a:pt x="56" y="60"/>
                    </a:cubicBezTo>
                    <a:close/>
                    <a:moveTo>
                      <a:pt x="112" y="60"/>
                    </a:moveTo>
                    <a:cubicBezTo>
                      <a:pt x="122" y="60"/>
                      <a:pt x="130" y="68"/>
                      <a:pt x="130" y="78"/>
                    </a:cubicBezTo>
                    <a:cubicBezTo>
                      <a:pt x="130" y="88"/>
                      <a:pt x="122" y="96"/>
                      <a:pt x="112" y="96"/>
                    </a:cubicBezTo>
                    <a:cubicBezTo>
                      <a:pt x="102" y="96"/>
                      <a:pt x="94" y="88"/>
                      <a:pt x="94" y="78"/>
                    </a:cubicBezTo>
                    <a:cubicBezTo>
                      <a:pt x="94" y="68"/>
                      <a:pt x="102" y="60"/>
                      <a:pt x="112" y="60"/>
                    </a:cubicBezTo>
                    <a:close/>
                    <a:moveTo>
                      <a:pt x="168" y="60"/>
                    </a:moveTo>
                    <a:cubicBezTo>
                      <a:pt x="178" y="60"/>
                      <a:pt x="186" y="68"/>
                      <a:pt x="186" y="78"/>
                    </a:cubicBezTo>
                    <a:cubicBezTo>
                      <a:pt x="186" y="88"/>
                      <a:pt x="178" y="96"/>
                      <a:pt x="168" y="96"/>
                    </a:cubicBezTo>
                    <a:cubicBezTo>
                      <a:pt x="158" y="96"/>
                      <a:pt x="150" y="88"/>
                      <a:pt x="150" y="78"/>
                    </a:cubicBezTo>
                    <a:cubicBezTo>
                      <a:pt x="150" y="68"/>
                      <a:pt x="158" y="60"/>
                      <a:pt x="168" y="60"/>
                    </a:cubicBezTo>
                    <a:close/>
                    <a:moveTo>
                      <a:pt x="56" y="68"/>
                    </a:moveTo>
                    <a:cubicBezTo>
                      <a:pt x="50" y="68"/>
                      <a:pt x="46" y="72"/>
                      <a:pt x="46" y="78"/>
                    </a:cubicBezTo>
                    <a:cubicBezTo>
                      <a:pt x="46" y="84"/>
                      <a:pt x="50" y="88"/>
                      <a:pt x="56" y="88"/>
                    </a:cubicBezTo>
                    <a:cubicBezTo>
                      <a:pt x="62" y="88"/>
                      <a:pt x="66" y="84"/>
                      <a:pt x="66" y="78"/>
                    </a:cubicBezTo>
                    <a:cubicBezTo>
                      <a:pt x="66" y="72"/>
                      <a:pt x="62" y="68"/>
                      <a:pt x="56" y="68"/>
                    </a:cubicBezTo>
                    <a:close/>
                    <a:moveTo>
                      <a:pt x="112" y="68"/>
                    </a:moveTo>
                    <a:cubicBezTo>
                      <a:pt x="106" y="68"/>
                      <a:pt x="102" y="72"/>
                      <a:pt x="102" y="78"/>
                    </a:cubicBezTo>
                    <a:cubicBezTo>
                      <a:pt x="102" y="84"/>
                      <a:pt x="106" y="88"/>
                      <a:pt x="112" y="88"/>
                    </a:cubicBezTo>
                    <a:cubicBezTo>
                      <a:pt x="118" y="88"/>
                      <a:pt x="122" y="84"/>
                      <a:pt x="122" y="78"/>
                    </a:cubicBezTo>
                    <a:cubicBezTo>
                      <a:pt x="122" y="72"/>
                      <a:pt x="118" y="68"/>
                      <a:pt x="112" y="68"/>
                    </a:cubicBezTo>
                    <a:close/>
                    <a:moveTo>
                      <a:pt x="168" y="68"/>
                    </a:moveTo>
                    <a:cubicBezTo>
                      <a:pt x="162" y="68"/>
                      <a:pt x="158" y="72"/>
                      <a:pt x="158" y="78"/>
                    </a:cubicBezTo>
                    <a:cubicBezTo>
                      <a:pt x="158" y="84"/>
                      <a:pt x="162" y="88"/>
                      <a:pt x="168" y="88"/>
                    </a:cubicBezTo>
                    <a:cubicBezTo>
                      <a:pt x="174" y="88"/>
                      <a:pt x="178" y="84"/>
                      <a:pt x="178" y="78"/>
                    </a:cubicBezTo>
                    <a:cubicBezTo>
                      <a:pt x="178" y="72"/>
                      <a:pt x="174" y="68"/>
                      <a:pt x="168" y="68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</p:grpSp>
        <p:sp>
          <p:nvSpPr>
            <p:cNvPr id="167" name="íṡľïḍé">
              <a:extLst>
                <a:ext uri="{FF2B5EF4-FFF2-40B4-BE49-F238E27FC236}">
                  <a16:creationId xmlns:a16="http://schemas.microsoft.com/office/drawing/2014/main" id="{43D4FCC8-FA2D-42B0-854B-AA6BD9243714}"/>
                </a:ext>
              </a:extLst>
            </p:cNvPr>
            <p:cNvSpPr/>
            <p:nvPr/>
          </p:nvSpPr>
          <p:spPr>
            <a:xfrm>
              <a:off x="5263303" y="2228216"/>
              <a:ext cx="1665398" cy="1665399"/>
            </a:xfrm>
            <a:prstGeom prst="ellipse">
              <a:avLst/>
            </a:prstGeom>
            <a:blipFill>
              <a:blip r:embed="rId3" cstate="screen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5715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77"/>
              <a:endParaRPr lang="zh-CN" altLang="en-US"/>
            </a:p>
          </p:txBody>
        </p:sp>
        <p:grpSp>
          <p:nvGrpSpPr>
            <p:cNvPr id="168" name="i$1iḍê">
              <a:extLst>
                <a:ext uri="{FF2B5EF4-FFF2-40B4-BE49-F238E27FC236}">
                  <a16:creationId xmlns:a16="http://schemas.microsoft.com/office/drawing/2014/main" id="{E90B7BB1-1203-4430-90AC-7281F633AFF7}"/>
                </a:ext>
              </a:extLst>
            </p:cNvPr>
            <p:cNvGrpSpPr/>
            <p:nvPr/>
          </p:nvGrpSpPr>
          <p:grpSpPr>
            <a:xfrm>
              <a:off x="5812661" y="1964433"/>
              <a:ext cx="594887" cy="594887"/>
              <a:chOff x="3602030" y="2454548"/>
              <a:chExt cx="943076" cy="943076"/>
            </a:xfrm>
          </p:grpSpPr>
          <p:sp>
            <p:nvSpPr>
              <p:cNvPr id="181" name="işḻîďè">
                <a:extLst>
                  <a:ext uri="{FF2B5EF4-FFF2-40B4-BE49-F238E27FC236}">
                    <a16:creationId xmlns:a16="http://schemas.microsoft.com/office/drawing/2014/main" id="{A6EB87EC-8056-4A77-AC4F-871E0FFEF628}"/>
                  </a:ext>
                </a:extLst>
              </p:cNvPr>
              <p:cNvSpPr/>
              <p:nvPr/>
            </p:nvSpPr>
            <p:spPr>
              <a:xfrm>
                <a:off x="3602030" y="2454548"/>
                <a:ext cx="943076" cy="943076"/>
              </a:xfrm>
              <a:prstGeom prst="ellipse">
                <a:avLst/>
              </a:prstGeom>
              <a:solidFill>
                <a:schemeClr val="accent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182" name="íṧ1îḋé">
                <a:extLst>
                  <a:ext uri="{FF2B5EF4-FFF2-40B4-BE49-F238E27FC236}">
                    <a16:creationId xmlns:a16="http://schemas.microsoft.com/office/drawing/2014/main" id="{408DBB6E-F8D2-4FEA-ADB4-8A1E6D480180}"/>
                  </a:ext>
                </a:extLst>
              </p:cNvPr>
              <p:cNvSpPr/>
              <p:nvPr/>
            </p:nvSpPr>
            <p:spPr>
              <a:xfrm>
                <a:off x="3885060" y="2720544"/>
                <a:ext cx="377016" cy="411083"/>
              </a:xfrm>
              <a:custGeom>
                <a:avLst/>
                <a:gdLst>
                  <a:gd name="T0" fmla="*/ 156 w 208"/>
                  <a:gd name="T1" fmla="*/ 0 h 224"/>
                  <a:gd name="T2" fmla="*/ 156 w 208"/>
                  <a:gd name="T3" fmla="*/ 8 h 224"/>
                  <a:gd name="T4" fmla="*/ 144 w 208"/>
                  <a:gd name="T5" fmla="*/ 8 h 224"/>
                  <a:gd name="T6" fmla="*/ 144 w 208"/>
                  <a:gd name="T7" fmla="*/ 59 h 224"/>
                  <a:gd name="T8" fmla="*/ 208 w 208"/>
                  <a:gd name="T9" fmla="*/ 204 h 224"/>
                  <a:gd name="T10" fmla="*/ 201 w 208"/>
                  <a:gd name="T11" fmla="*/ 224 h 224"/>
                  <a:gd name="T12" fmla="*/ 7 w 208"/>
                  <a:gd name="T13" fmla="*/ 224 h 224"/>
                  <a:gd name="T14" fmla="*/ 0 w 208"/>
                  <a:gd name="T15" fmla="*/ 204 h 224"/>
                  <a:gd name="T16" fmla="*/ 64 w 208"/>
                  <a:gd name="T17" fmla="*/ 59 h 224"/>
                  <a:gd name="T18" fmla="*/ 64 w 208"/>
                  <a:gd name="T19" fmla="*/ 8 h 224"/>
                  <a:gd name="T20" fmla="*/ 52 w 208"/>
                  <a:gd name="T21" fmla="*/ 8 h 224"/>
                  <a:gd name="T22" fmla="*/ 52 w 208"/>
                  <a:gd name="T23" fmla="*/ 0 h 224"/>
                  <a:gd name="T24" fmla="*/ 156 w 208"/>
                  <a:gd name="T25" fmla="*/ 0 h 224"/>
                  <a:gd name="T26" fmla="*/ 108 w 208"/>
                  <a:gd name="T27" fmla="*/ 174 h 224"/>
                  <a:gd name="T28" fmla="*/ 106 w 208"/>
                  <a:gd name="T29" fmla="*/ 175 h 224"/>
                  <a:gd name="T30" fmla="*/ 22 w 208"/>
                  <a:gd name="T31" fmla="*/ 174 h 224"/>
                  <a:gd name="T32" fmla="*/ 8 w 208"/>
                  <a:gd name="T33" fmla="*/ 204 h 224"/>
                  <a:gd name="T34" fmla="*/ 13 w 208"/>
                  <a:gd name="T35" fmla="*/ 216 h 224"/>
                  <a:gd name="T36" fmla="*/ 195 w 208"/>
                  <a:gd name="T37" fmla="*/ 216 h 224"/>
                  <a:gd name="T38" fmla="*/ 200 w 208"/>
                  <a:gd name="T39" fmla="*/ 204 h 224"/>
                  <a:gd name="T40" fmla="*/ 185 w 208"/>
                  <a:gd name="T41" fmla="*/ 171 h 224"/>
                  <a:gd name="T42" fmla="*/ 108 w 208"/>
                  <a:gd name="T43" fmla="*/ 174 h 224"/>
                  <a:gd name="T44" fmla="*/ 136 w 208"/>
                  <a:gd name="T45" fmla="*/ 8 h 224"/>
                  <a:gd name="T46" fmla="*/ 72 w 208"/>
                  <a:gd name="T47" fmla="*/ 8 h 224"/>
                  <a:gd name="T48" fmla="*/ 72 w 208"/>
                  <a:gd name="T49" fmla="*/ 61 h 224"/>
                  <a:gd name="T50" fmla="*/ 25 w 208"/>
                  <a:gd name="T51" fmla="*/ 166 h 224"/>
                  <a:gd name="T52" fmla="*/ 101 w 208"/>
                  <a:gd name="T53" fmla="*/ 170 h 224"/>
                  <a:gd name="T54" fmla="*/ 102 w 208"/>
                  <a:gd name="T55" fmla="*/ 169 h 224"/>
                  <a:gd name="T56" fmla="*/ 180 w 208"/>
                  <a:gd name="T57" fmla="*/ 160 h 224"/>
                  <a:gd name="T58" fmla="*/ 136 w 208"/>
                  <a:gd name="T59" fmla="*/ 61 h 224"/>
                  <a:gd name="T60" fmla="*/ 136 w 208"/>
                  <a:gd name="T61" fmla="*/ 8 h 224"/>
                  <a:gd name="T62" fmla="*/ 130 w 208"/>
                  <a:gd name="T63" fmla="*/ 104 h 224"/>
                  <a:gd name="T64" fmla="*/ 148 w 208"/>
                  <a:gd name="T65" fmla="*/ 122 h 224"/>
                  <a:gd name="T66" fmla="*/ 130 w 208"/>
                  <a:gd name="T67" fmla="*/ 140 h 224"/>
                  <a:gd name="T68" fmla="*/ 112 w 208"/>
                  <a:gd name="T69" fmla="*/ 122 h 224"/>
                  <a:gd name="T70" fmla="*/ 130 w 208"/>
                  <a:gd name="T71" fmla="*/ 104 h 224"/>
                  <a:gd name="T72" fmla="*/ 130 w 208"/>
                  <a:gd name="T73" fmla="*/ 112 h 224"/>
                  <a:gd name="T74" fmla="*/ 120 w 208"/>
                  <a:gd name="T75" fmla="*/ 122 h 224"/>
                  <a:gd name="T76" fmla="*/ 130 w 208"/>
                  <a:gd name="T77" fmla="*/ 132 h 224"/>
                  <a:gd name="T78" fmla="*/ 140 w 208"/>
                  <a:gd name="T79" fmla="*/ 122 h 224"/>
                  <a:gd name="T80" fmla="*/ 130 w 208"/>
                  <a:gd name="T81" fmla="*/ 112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08" h="224">
                    <a:moveTo>
                      <a:pt x="156" y="0"/>
                    </a:moveTo>
                    <a:cubicBezTo>
                      <a:pt x="156" y="8"/>
                      <a:pt x="156" y="8"/>
                      <a:pt x="156" y="8"/>
                    </a:cubicBezTo>
                    <a:cubicBezTo>
                      <a:pt x="144" y="8"/>
                      <a:pt x="144" y="8"/>
                      <a:pt x="144" y="8"/>
                    </a:cubicBezTo>
                    <a:cubicBezTo>
                      <a:pt x="144" y="59"/>
                      <a:pt x="144" y="59"/>
                      <a:pt x="144" y="59"/>
                    </a:cubicBezTo>
                    <a:cubicBezTo>
                      <a:pt x="208" y="204"/>
                      <a:pt x="208" y="204"/>
                      <a:pt x="208" y="204"/>
                    </a:cubicBezTo>
                    <a:cubicBezTo>
                      <a:pt x="201" y="224"/>
                      <a:pt x="201" y="224"/>
                      <a:pt x="201" y="224"/>
                    </a:cubicBezTo>
                    <a:cubicBezTo>
                      <a:pt x="7" y="224"/>
                      <a:pt x="7" y="224"/>
                      <a:pt x="7" y="224"/>
                    </a:cubicBezTo>
                    <a:cubicBezTo>
                      <a:pt x="0" y="204"/>
                      <a:pt x="0" y="204"/>
                      <a:pt x="0" y="204"/>
                    </a:cubicBezTo>
                    <a:cubicBezTo>
                      <a:pt x="64" y="59"/>
                      <a:pt x="64" y="59"/>
                      <a:pt x="64" y="59"/>
                    </a:cubicBezTo>
                    <a:cubicBezTo>
                      <a:pt x="64" y="8"/>
                      <a:pt x="64" y="8"/>
                      <a:pt x="64" y="8"/>
                    </a:cubicBezTo>
                    <a:cubicBezTo>
                      <a:pt x="52" y="8"/>
                      <a:pt x="52" y="8"/>
                      <a:pt x="52" y="8"/>
                    </a:cubicBezTo>
                    <a:cubicBezTo>
                      <a:pt x="52" y="0"/>
                      <a:pt x="52" y="0"/>
                      <a:pt x="52" y="0"/>
                    </a:cubicBezTo>
                    <a:lnTo>
                      <a:pt x="156" y="0"/>
                    </a:lnTo>
                    <a:close/>
                    <a:moveTo>
                      <a:pt x="108" y="174"/>
                    </a:moveTo>
                    <a:cubicBezTo>
                      <a:pt x="106" y="175"/>
                      <a:pt x="106" y="175"/>
                      <a:pt x="106" y="175"/>
                    </a:cubicBezTo>
                    <a:cubicBezTo>
                      <a:pt x="83" y="192"/>
                      <a:pt x="50" y="191"/>
                      <a:pt x="22" y="174"/>
                    </a:cubicBezTo>
                    <a:cubicBezTo>
                      <a:pt x="8" y="204"/>
                      <a:pt x="8" y="204"/>
                      <a:pt x="8" y="204"/>
                    </a:cubicBezTo>
                    <a:cubicBezTo>
                      <a:pt x="13" y="216"/>
                      <a:pt x="13" y="216"/>
                      <a:pt x="13" y="216"/>
                    </a:cubicBezTo>
                    <a:cubicBezTo>
                      <a:pt x="195" y="216"/>
                      <a:pt x="195" y="216"/>
                      <a:pt x="195" y="216"/>
                    </a:cubicBezTo>
                    <a:cubicBezTo>
                      <a:pt x="200" y="204"/>
                      <a:pt x="200" y="204"/>
                      <a:pt x="200" y="204"/>
                    </a:cubicBezTo>
                    <a:cubicBezTo>
                      <a:pt x="185" y="171"/>
                      <a:pt x="185" y="171"/>
                      <a:pt x="185" y="171"/>
                    </a:cubicBezTo>
                    <a:cubicBezTo>
                      <a:pt x="159" y="159"/>
                      <a:pt x="128" y="160"/>
                      <a:pt x="108" y="174"/>
                    </a:cubicBezTo>
                    <a:close/>
                    <a:moveTo>
                      <a:pt x="136" y="8"/>
                    </a:moveTo>
                    <a:cubicBezTo>
                      <a:pt x="72" y="8"/>
                      <a:pt x="72" y="8"/>
                      <a:pt x="72" y="8"/>
                    </a:cubicBezTo>
                    <a:cubicBezTo>
                      <a:pt x="72" y="61"/>
                      <a:pt x="72" y="61"/>
                      <a:pt x="72" y="61"/>
                    </a:cubicBezTo>
                    <a:cubicBezTo>
                      <a:pt x="25" y="166"/>
                      <a:pt x="25" y="166"/>
                      <a:pt x="25" y="166"/>
                    </a:cubicBezTo>
                    <a:cubicBezTo>
                      <a:pt x="50" y="182"/>
                      <a:pt x="80" y="183"/>
                      <a:pt x="101" y="170"/>
                    </a:cubicBezTo>
                    <a:cubicBezTo>
                      <a:pt x="102" y="169"/>
                      <a:pt x="102" y="169"/>
                      <a:pt x="102" y="169"/>
                    </a:cubicBezTo>
                    <a:cubicBezTo>
                      <a:pt x="123" y="154"/>
                      <a:pt x="153" y="151"/>
                      <a:pt x="180" y="160"/>
                    </a:cubicBezTo>
                    <a:cubicBezTo>
                      <a:pt x="136" y="61"/>
                      <a:pt x="136" y="61"/>
                      <a:pt x="136" y="61"/>
                    </a:cubicBezTo>
                    <a:lnTo>
                      <a:pt x="136" y="8"/>
                    </a:lnTo>
                    <a:close/>
                    <a:moveTo>
                      <a:pt x="130" y="104"/>
                    </a:moveTo>
                    <a:cubicBezTo>
                      <a:pt x="140" y="104"/>
                      <a:pt x="148" y="112"/>
                      <a:pt x="148" y="122"/>
                    </a:cubicBezTo>
                    <a:cubicBezTo>
                      <a:pt x="148" y="132"/>
                      <a:pt x="140" y="140"/>
                      <a:pt x="130" y="140"/>
                    </a:cubicBezTo>
                    <a:cubicBezTo>
                      <a:pt x="120" y="140"/>
                      <a:pt x="112" y="132"/>
                      <a:pt x="112" y="122"/>
                    </a:cubicBezTo>
                    <a:cubicBezTo>
                      <a:pt x="112" y="112"/>
                      <a:pt x="120" y="104"/>
                      <a:pt x="130" y="104"/>
                    </a:cubicBezTo>
                    <a:close/>
                    <a:moveTo>
                      <a:pt x="130" y="112"/>
                    </a:moveTo>
                    <a:cubicBezTo>
                      <a:pt x="124" y="112"/>
                      <a:pt x="120" y="116"/>
                      <a:pt x="120" y="122"/>
                    </a:cubicBezTo>
                    <a:cubicBezTo>
                      <a:pt x="120" y="128"/>
                      <a:pt x="124" y="132"/>
                      <a:pt x="130" y="132"/>
                    </a:cubicBezTo>
                    <a:cubicBezTo>
                      <a:pt x="136" y="132"/>
                      <a:pt x="140" y="128"/>
                      <a:pt x="140" y="122"/>
                    </a:cubicBezTo>
                    <a:cubicBezTo>
                      <a:pt x="140" y="116"/>
                      <a:pt x="136" y="112"/>
                      <a:pt x="130" y="11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7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</p:grpSp>
        <p:sp>
          <p:nvSpPr>
            <p:cNvPr id="169" name="ï$ḻîďè">
              <a:extLst>
                <a:ext uri="{FF2B5EF4-FFF2-40B4-BE49-F238E27FC236}">
                  <a16:creationId xmlns:a16="http://schemas.microsoft.com/office/drawing/2014/main" id="{59E14A15-6236-41FA-9769-33554A152B19}"/>
                </a:ext>
              </a:extLst>
            </p:cNvPr>
            <p:cNvSpPr txBox="1"/>
            <p:nvPr/>
          </p:nvSpPr>
          <p:spPr>
            <a:xfrm>
              <a:off x="868392" y="3591960"/>
              <a:ext cx="1858810" cy="432521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600" b="1" dirty="0"/>
                <a:t>Text here</a:t>
              </a:r>
            </a:p>
          </p:txBody>
        </p:sp>
        <p:sp>
          <p:nvSpPr>
            <p:cNvPr id="170" name="ïṣ1îḓè">
              <a:extLst>
                <a:ext uri="{FF2B5EF4-FFF2-40B4-BE49-F238E27FC236}">
                  <a16:creationId xmlns:a16="http://schemas.microsoft.com/office/drawing/2014/main" id="{BF37B93D-6077-4A93-833C-7B40B899870B}"/>
                </a:ext>
              </a:extLst>
            </p:cNvPr>
            <p:cNvSpPr/>
            <p:nvPr/>
          </p:nvSpPr>
          <p:spPr bwMode="auto">
            <a:xfrm>
              <a:off x="871250" y="4213018"/>
              <a:ext cx="1853096" cy="752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Supporting text here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71" name="îŝlïďè">
              <a:extLst>
                <a:ext uri="{FF2B5EF4-FFF2-40B4-BE49-F238E27FC236}">
                  <a16:creationId xmlns:a16="http://schemas.microsoft.com/office/drawing/2014/main" id="{16820525-060E-45FD-AC2E-AD4A8B711599}"/>
                </a:ext>
              </a:extLst>
            </p:cNvPr>
            <p:cNvSpPr txBox="1"/>
            <p:nvPr/>
          </p:nvSpPr>
          <p:spPr>
            <a:xfrm>
              <a:off x="3144163" y="3591960"/>
              <a:ext cx="1858810" cy="432521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600" b="1" dirty="0"/>
                <a:t>Text here</a:t>
              </a:r>
            </a:p>
          </p:txBody>
        </p:sp>
        <p:sp>
          <p:nvSpPr>
            <p:cNvPr id="172" name="íşļïḑé">
              <a:extLst>
                <a:ext uri="{FF2B5EF4-FFF2-40B4-BE49-F238E27FC236}">
                  <a16:creationId xmlns:a16="http://schemas.microsoft.com/office/drawing/2014/main" id="{ADA7D097-F0B8-41B7-B9FE-927A74357734}"/>
                </a:ext>
              </a:extLst>
            </p:cNvPr>
            <p:cNvSpPr/>
            <p:nvPr/>
          </p:nvSpPr>
          <p:spPr bwMode="auto">
            <a:xfrm>
              <a:off x="3147020" y="4213018"/>
              <a:ext cx="1853096" cy="752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Supporting text here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73" name="ïslíďê">
              <a:extLst>
                <a:ext uri="{FF2B5EF4-FFF2-40B4-BE49-F238E27FC236}">
                  <a16:creationId xmlns:a16="http://schemas.microsoft.com/office/drawing/2014/main" id="{29B3CEE5-CB0D-4086-90AC-26574159302D}"/>
                </a:ext>
              </a:extLst>
            </p:cNvPr>
            <p:cNvSpPr txBox="1"/>
            <p:nvPr/>
          </p:nvSpPr>
          <p:spPr>
            <a:xfrm>
              <a:off x="7189027" y="3591960"/>
              <a:ext cx="1858810" cy="432521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600" b="1" dirty="0"/>
                <a:t>Text here</a:t>
              </a:r>
            </a:p>
          </p:txBody>
        </p:sp>
        <p:sp>
          <p:nvSpPr>
            <p:cNvPr id="174" name="íŝľïḋé">
              <a:extLst>
                <a:ext uri="{FF2B5EF4-FFF2-40B4-BE49-F238E27FC236}">
                  <a16:creationId xmlns:a16="http://schemas.microsoft.com/office/drawing/2014/main" id="{9B71399A-E0B8-4A38-9CCF-6CE7FF344DF9}"/>
                </a:ext>
              </a:extLst>
            </p:cNvPr>
            <p:cNvSpPr/>
            <p:nvPr/>
          </p:nvSpPr>
          <p:spPr bwMode="auto">
            <a:xfrm>
              <a:off x="7191884" y="4213018"/>
              <a:ext cx="1853096" cy="752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Supporting text here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75" name="išľiďé">
              <a:extLst>
                <a:ext uri="{FF2B5EF4-FFF2-40B4-BE49-F238E27FC236}">
                  <a16:creationId xmlns:a16="http://schemas.microsoft.com/office/drawing/2014/main" id="{46F807C5-2A38-45C8-9CCD-5C12C1720D46}"/>
                </a:ext>
              </a:extLst>
            </p:cNvPr>
            <p:cNvSpPr txBox="1"/>
            <p:nvPr/>
          </p:nvSpPr>
          <p:spPr>
            <a:xfrm>
              <a:off x="9464798" y="3591960"/>
              <a:ext cx="1858810" cy="432521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600" b="1" dirty="0"/>
                <a:t>Text here</a:t>
              </a:r>
            </a:p>
          </p:txBody>
        </p:sp>
        <p:sp>
          <p:nvSpPr>
            <p:cNvPr id="176" name="íś1íďè">
              <a:extLst>
                <a:ext uri="{FF2B5EF4-FFF2-40B4-BE49-F238E27FC236}">
                  <a16:creationId xmlns:a16="http://schemas.microsoft.com/office/drawing/2014/main" id="{72A48732-D930-4B75-A75D-A7C2F86D4569}"/>
                </a:ext>
              </a:extLst>
            </p:cNvPr>
            <p:cNvSpPr/>
            <p:nvPr/>
          </p:nvSpPr>
          <p:spPr bwMode="auto">
            <a:xfrm>
              <a:off x="9467655" y="4213018"/>
              <a:ext cx="1853096" cy="752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Supporting text here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77" name="iṥḻîḋe">
              <a:extLst>
                <a:ext uri="{FF2B5EF4-FFF2-40B4-BE49-F238E27FC236}">
                  <a16:creationId xmlns:a16="http://schemas.microsoft.com/office/drawing/2014/main" id="{FEFEFDF2-9B8D-49BE-9CCC-7CB959978E93}"/>
                </a:ext>
              </a:extLst>
            </p:cNvPr>
            <p:cNvSpPr/>
            <p:nvPr/>
          </p:nvSpPr>
          <p:spPr bwMode="auto">
            <a:xfrm>
              <a:off x="871250" y="5167772"/>
              <a:ext cx="1853096" cy="752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Supporting text here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78" name="ïšļíḑê">
              <a:extLst>
                <a:ext uri="{FF2B5EF4-FFF2-40B4-BE49-F238E27FC236}">
                  <a16:creationId xmlns:a16="http://schemas.microsoft.com/office/drawing/2014/main" id="{693736CD-19E2-4BFB-B966-DBD3A6933A7E}"/>
                </a:ext>
              </a:extLst>
            </p:cNvPr>
            <p:cNvSpPr/>
            <p:nvPr/>
          </p:nvSpPr>
          <p:spPr bwMode="auto">
            <a:xfrm>
              <a:off x="3147020" y="5167772"/>
              <a:ext cx="1853096" cy="752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Supporting text here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79" name="iṥļíḋe">
              <a:extLst>
                <a:ext uri="{FF2B5EF4-FFF2-40B4-BE49-F238E27FC236}">
                  <a16:creationId xmlns:a16="http://schemas.microsoft.com/office/drawing/2014/main" id="{98518244-09B7-4CE7-A33E-4BC62B2F4564}"/>
                </a:ext>
              </a:extLst>
            </p:cNvPr>
            <p:cNvSpPr/>
            <p:nvPr/>
          </p:nvSpPr>
          <p:spPr bwMode="auto">
            <a:xfrm>
              <a:off x="7191884" y="5167772"/>
              <a:ext cx="1853096" cy="752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Supporting text here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80" name="ïşļîďê">
              <a:extLst>
                <a:ext uri="{FF2B5EF4-FFF2-40B4-BE49-F238E27FC236}">
                  <a16:creationId xmlns:a16="http://schemas.microsoft.com/office/drawing/2014/main" id="{8FED609C-B655-41FB-89D3-3FD1A994C3A4}"/>
                </a:ext>
              </a:extLst>
            </p:cNvPr>
            <p:cNvSpPr/>
            <p:nvPr/>
          </p:nvSpPr>
          <p:spPr bwMode="auto">
            <a:xfrm>
              <a:off x="9467655" y="5167772"/>
              <a:ext cx="1853096" cy="752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Supporting text here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……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8616048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6C78904-2D6B-41AD-BA5A-02FC2F9F9E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B6F1094-EE28-49DF-967D-ABD00E328E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6BB1B59-BD0A-490D-8324-749C57481F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grpSp>
        <p:nvGrpSpPr>
          <p:cNvPr id="137" name="2e1ac37b-778e-4020-bc91-3516c027d66b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36EEB8C-D62C-47A8-A7E8-DE74231227F9}"/>
              </a:ext>
            </a:extLst>
          </p:cNvPr>
          <p:cNvGrpSpPr>
            <a:grpSpLocks noChangeAspect="1"/>
          </p:cNvGrpSpPr>
          <p:nvPr/>
        </p:nvGrpSpPr>
        <p:grpSpPr>
          <a:xfrm>
            <a:off x="670718" y="1626871"/>
            <a:ext cx="10850564" cy="3727218"/>
            <a:chOff x="670718" y="1626871"/>
            <a:chExt cx="10850564" cy="3727218"/>
          </a:xfrm>
        </p:grpSpPr>
        <p:grpSp>
          <p:nvGrpSpPr>
            <p:cNvPr id="138" name="ï$1ídè">
              <a:extLst>
                <a:ext uri="{FF2B5EF4-FFF2-40B4-BE49-F238E27FC236}">
                  <a16:creationId xmlns:a16="http://schemas.microsoft.com/office/drawing/2014/main" id="{25B5EEDF-D41C-4769-9B62-546D9F964D5A}"/>
                </a:ext>
              </a:extLst>
            </p:cNvPr>
            <p:cNvGrpSpPr/>
            <p:nvPr/>
          </p:nvGrpSpPr>
          <p:grpSpPr>
            <a:xfrm>
              <a:off x="4380457" y="1923011"/>
              <a:ext cx="3431086" cy="3431078"/>
              <a:chOff x="4393857" y="1916832"/>
              <a:chExt cx="3431086" cy="3431078"/>
            </a:xfrm>
          </p:grpSpPr>
          <p:sp>
            <p:nvSpPr>
              <p:cNvPr id="153" name="ïṧľíḑé">
                <a:extLst>
                  <a:ext uri="{FF2B5EF4-FFF2-40B4-BE49-F238E27FC236}">
                    <a16:creationId xmlns:a16="http://schemas.microsoft.com/office/drawing/2014/main" id="{53EC9E73-5FFD-42D3-8184-9C76D6D9C7B0}"/>
                  </a:ext>
                </a:extLst>
              </p:cNvPr>
              <p:cNvSpPr/>
              <p:nvPr/>
            </p:nvSpPr>
            <p:spPr bwMode="auto">
              <a:xfrm>
                <a:off x="4393857" y="1916832"/>
                <a:ext cx="1712808" cy="1712806"/>
              </a:xfrm>
              <a:custGeom>
                <a:avLst/>
                <a:gdLst/>
                <a:ahLst/>
                <a:cxnLst>
                  <a:cxn ang="0">
                    <a:pos x="421" y="0"/>
                  </a:cxn>
                  <a:cxn ang="0">
                    <a:pos x="0" y="421"/>
                  </a:cxn>
                  <a:cxn ang="0">
                    <a:pos x="421" y="421"/>
                  </a:cxn>
                  <a:cxn ang="0">
                    <a:pos x="421" y="0"/>
                  </a:cxn>
                </a:cxnLst>
                <a:rect l="0" t="0" r="r" b="b"/>
                <a:pathLst>
                  <a:path w="421" h="421">
                    <a:moveTo>
                      <a:pt x="421" y="0"/>
                    </a:moveTo>
                    <a:cubicBezTo>
                      <a:pt x="188" y="0"/>
                      <a:pt x="0" y="189"/>
                      <a:pt x="0" y="421"/>
                    </a:cubicBezTo>
                    <a:cubicBezTo>
                      <a:pt x="421" y="421"/>
                      <a:pt x="421" y="421"/>
                      <a:pt x="421" y="421"/>
                    </a:cubicBezTo>
                    <a:lnTo>
                      <a:pt x="421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381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154" name="işľïďè">
                <a:extLst>
                  <a:ext uri="{FF2B5EF4-FFF2-40B4-BE49-F238E27FC236}">
                    <a16:creationId xmlns:a16="http://schemas.microsoft.com/office/drawing/2014/main" id="{9D72705D-8798-48F3-951B-C8A20B85EE98}"/>
                  </a:ext>
                </a:extLst>
              </p:cNvPr>
              <p:cNvSpPr/>
              <p:nvPr/>
            </p:nvSpPr>
            <p:spPr bwMode="auto">
              <a:xfrm>
                <a:off x="4393857" y="3629634"/>
                <a:ext cx="1712808" cy="171827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21" y="422"/>
                  </a:cxn>
                  <a:cxn ang="0">
                    <a:pos x="421" y="0"/>
                  </a:cxn>
                  <a:cxn ang="0">
                    <a:pos x="0" y="0"/>
                  </a:cxn>
                </a:cxnLst>
                <a:rect l="0" t="0" r="r" b="b"/>
                <a:pathLst>
                  <a:path w="421" h="422">
                    <a:moveTo>
                      <a:pt x="0" y="0"/>
                    </a:moveTo>
                    <a:cubicBezTo>
                      <a:pt x="0" y="233"/>
                      <a:pt x="188" y="422"/>
                      <a:pt x="421" y="422"/>
                    </a:cubicBezTo>
                    <a:cubicBezTo>
                      <a:pt x="421" y="0"/>
                      <a:pt x="421" y="0"/>
                      <a:pt x="421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381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155" name="iṥ1îḋè">
                <a:extLst>
                  <a:ext uri="{FF2B5EF4-FFF2-40B4-BE49-F238E27FC236}">
                    <a16:creationId xmlns:a16="http://schemas.microsoft.com/office/drawing/2014/main" id="{ED5B0C43-6769-481E-9665-A3295C3EEE95}"/>
                  </a:ext>
                </a:extLst>
              </p:cNvPr>
              <p:cNvSpPr/>
              <p:nvPr/>
            </p:nvSpPr>
            <p:spPr bwMode="auto">
              <a:xfrm>
                <a:off x="6106665" y="1916832"/>
                <a:ext cx="1718278" cy="17128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421"/>
                  </a:cxn>
                  <a:cxn ang="0">
                    <a:pos x="422" y="421"/>
                  </a:cxn>
                  <a:cxn ang="0">
                    <a:pos x="0" y="0"/>
                  </a:cxn>
                </a:cxnLst>
                <a:rect l="0" t="0" r="r" b="b"/>
                <a:pathLst>
                  <a:path w="422" h="42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21"/>
                      <a:pt x="0" y="421"/>
                      <a:pt x="0" y="421"/>
                    </a:cubicBezTo>
                    <a:cubicBezTo>
                      <a:pt x="422" y="421"/>
                      <a:pt x="422" y="421"/>
                      <a:pt x="422" y="421"/>
                    </a:cubicBezTo>
                    <a:cubicBezTo>
                      <a:pt x="422" y="189"/>
                      <a:pt x="233" y="0"/>
                      <a:pt x="0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381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156" name="iṧļîďè">
                <a:extLst>
                  <a:ext uri="{FF2B5EF4-FFF2-40B4-BE49-F238E27FC236}">
                    <a16:creationId xmlns:a16="http://schemas.microsoft.com/office/drawing/2014/main" id="{149B85A6-6FF2-4952-94E2-39F9FF61F1BC}"/>
                  </a:ext>
                </a:extLst>
              </p:cNvPr>
              <p:cNvSpPr/>
              <p:nvPr/>
            </p:nvSpPr>
            <p:spPr bwMode="auto">
              <a:xfrm>
                <a:off x="6106665" y="3629634"/>
                <a:ext cx="1718278" cy="1718276"/>
              </a:xfrm>
              <a:custGeom>
                <a:avLst/>
                <a:gdLst/>
                <a:ahLst/>
                <a:cxnLst>
                  <a:cxn ang="0">
                    <a:pos x="0" y="422"/>
                  </a:cxn>
                  <a:cxn ang="0">
                    <a:pos x="0" y="422"/>
                  </a:cxn>
                  <a:cxn ang="0">
                    <a:pos x="422" y="0"/>
                  </a:cxn>
                  <a:cxn ang="0">
                    <a:pos x="0" y="0"/>
                  </a:cxn>
                  <a:cxn ang="0">
                    <a:pos x="0" y="422"/>
                  </a:cxn>
                </a:cxnLst>
                <a:rect l="0" t="0" r="r" b="b"/>
                <a:pathLst>
                  <a:path w="422" h="422">
                    <a:moveTo>
                      <a:pt x="0" y="422"/>
                    </a:moveTo>
                    <a:cubicBezTo>
                      <a:pt x="0" y="422"/>
                      <a:pt x="0" y="422"/>
                      <a:pt x="0" y="422"/>
                    </a:cubicBezTo>
                    <a:cubicBezTo>
                      <a:pt x="233" y="422"/>
                      <a:pt x="422" y="233"/>
                      <a:pt x="422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422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381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157" name="î$1íde">
                <a:extLst>
                  <a:ext uri="{FF2B5EF4-FFF2-40B4-BE49-F238E27FC236}">
                    <a16:creationId xmlns:a16="http://schemas.microsoft.com/office/drawing/2014/main" id="{274EE675-95A9-4D73-B24A-216D6EBC2FC9}"/>
                  </a:ext>
                </a:extLst>
              </p:cNvPr>
              <p:cNvSpPr/>
              <p:nvPr/>
            </p:nvSpPr>
            <p:spPr bwMode="auto">
              <a:xfrm>
                <a:off x="5318664" y="2841635"/>
                <a:ext cx="1581475" cy="1581472"/>
              </a:xfrm>
              <a:custGeom>
                <a:avLst/>
                <a:gdLst/>
                <a:ahLst/>
                <a:cxnLst>
                  <a:cxn ang="0">
                    <a:pos x="384" y="155"/>
                  </a:cxn>
                  <a:cxn ang="0">
                    <a:pos x="255" y="10"/>
                  </a:cxn>
                  <a:cxn ang="0">
                    <a:pos x="205" y="1"/>
                  </a:cxn>
                  <a:cxn ang="0">
                    <a:pos x="155" y="4"/>
                  </a:cxn>
                  <a:cxn ang="0">
                    <a:pos x="10" y="134"/>
                  </a:cxn>
                  <a:cxn ang="0">
                    <a:pos x="1" y="183"/>
                  </a:cxn>
                  <a:cxn ang="0">
                    <a:pos x="4" y="234"/>
                  </a:cxn>
                  <a:cxn ang="0">
                    <a:pos x="134" y="379"/>
                  </a:cxn>
                  <a:cxn ang="0">
                    <a:pos x="183" y="388"/>
                  </a:cxn>
                  <a:cxn ang="0">
                    <a:pos x="234" y="384"/>
                  </a:cxn>
                  <a:cxn ang="0">
                    <a:pos x="379" y="255"/>
                  </a:cxn>
                  <a:cxn ang="0">
                    <a:pos x="388" y="205"/>
                  </a:cxn>
                  <a:cxn ang="0">
                    <a:pos x="384" y="155"/>
                  </a:cxn>
                </a:cxnLst>
                <a:rect l="0" t="0" r="r" b="b"/>
                <a:pathLst>
                  <a:path w="389" h="389">
                    <a:moveTo>
                      <a:pt x="384" y="155"/>
                    </a:moveTo>
                    <a:cubicBezTo>
                      <a:pt x="370" y="87"/>
                      <a:pt x="321" y="32"/>
                      <a:pt x="255" y="10"/>
                    </a:cubicBezTo>
                    <a:cubicBezTo>
                      <a:pt x="239" y="5"/>
                      <a:pt x="222" y="2"/>
                      <a:pt x="205" y="1"/>
                    </a:cubicBezTo>
                    <a:cubicBezTo>
                      <a:pt x="188" y="0"/>
                      <a:pt x="171" y="1"/>
                      <a:pt x="155" y="4"/>
                    </a:cubicBezTo>
                    <a:cubicBezTo>
                      <a:pt x="87" y="18"/>
                      <a:pt x="31" y="68"/>
                      <a:pt x="10" y="134"/>
                    </a:cubicBezTo>
                    <a:cubicBezTo>
                      <a:pt x="5" y="150"/>
                      <a:pt x="1" y="166"/>
                      <a:pt x="1" y="183"/>
                    </a:cubicBezTo>
                    <a:cubicBezTo>
                      <a:pt x="0" y="201"/>
                      <a:pt x="1" y="218"/>
                      <a:pt x="4" y="234"/>
                    </a:cubicBezTo>
                    <a:cubicBezTo>
                      <a:pt x="18" y="302"/>
                      <a:pt x="68" y="357"/>
                      <a:pt x="134" y="379"/>
                    </a:cubicBezTo>
                    <a:cubicBezTo>
                      <a:pt x="149" y="384"/>
                      <a:pt x="166" y="387"/>
                      <a:pt x="183" y="388"/>
                    </a:cubicBezTo>
                    <a:cubicBezTo>
                      <a:pt x="201" y="389"/>
                      <a:pt x="217" y="388"/>
                      <a:pt x="234" y="384"/>
                    </a:cubicBezTo>
                    <a:cubicBezTo>
                      <a:pt x="301" y="370"/>
                      <a:pt x="357" y="321"/>
                      <a:pt x="379" y="255"/>
                    </a:cubicBezTo>
                    <a:cubicBezTo>
                      <a:pt x="384" y="239"/>
                      <a:pt x="387" y="223"/>
                      <a:pt x="388" y="205"/>
                    </a:cubicBezTo>
                    <a:cubicBezTo>
                      <a:pt x="389" y="188"/>
                      <a:pt x="388" y="171"/>
                      <a:pt x="384" y="155"/>
                    </a:cubicBezTo>
                    <a:close/>
                  </a:path>
                </a:pathLst>
              </a:custGeom>
              <a:solidFill>
                <a:srgbClr val="FDFDFE"/>
              </a:solidFill>
              <a:ln w="19050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2800" b="1" dirty="0">
                    <a:solidFill>
                      <a:schemeClr val="accent1"/>
                    </a:solidFill>
                  </a:rPr>
                  <a:t>Text</a:t>
                </a:r>
                <a:endParaRPr sz="2800" b="1" dirty="0">
                  <a:solidFill>
                    <a:schemeClr val="accent1"/>
                  </a:solidFill>
                </a:endParaRPr>
              </a:p>
            </p:txBody>
          </p:sp>
          <p:grpSp>
            <p:nvGrpSpPr>
              <p:cNvPr id="158" name="ïSľíde">
                <a:extLst>
                  <a:ext uri="{FF2B5EF4-FFF2-40B4-BE49-F238E27FC236}">
                    <a16:creationId xmlns:a16="http://schemas.microsoft.com/office/drawing/2014/main" id="{B2658948-B315-456B-B4D3-B02145DDB2A4}"/>
                  </a:ext>
                </a:extLst>
              </p:cNvPr>
              <p:cNvGrpSpPr/>
              <p:nvPr/>
            </p:nvGrpSpPr>
            <p:grpSpPr>
              <a:xfrm>
                <a:off x="4906749" y="2506107"/>
                <a:ext cx="571996" cy="571996"/>
                <a:chOff x="4906749" y="2506107"/>
                <a:chExt cx="571996" cy="571996"/>
              </a:xfrm>
            </p:grpSpPr>
            <p:sp>
              <p:nvSpPr>
                <p:cNvPr id="168" name="îŝḻide">
                  <a:extLst>
                    <a:ext uri="{FF2B5EF4-FFF2-40B4-BE49-F238E27FC236}">
                      <a16:creationId xmlns:a16="http://schemas.microsoft.com/office/drawing/2014/main" id="{4A9CE905-D028-45E1-8A71-793DDAA8E8E7}"/>
                    </a:ext>
                  </a:extLst>
                </p:cNvPr>
                <p:cNvSpPr/>
                <p:nvPr/>
              </p:nvSpPr>
              <p:spPr>
                <a:xfrm>
                  <a:off x="4906749" y="2506107"/>
                  <a:ext cx="571996" cy="571996"/>
                </a:xfrm>
                <a:prstGeom prst="ellips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dirty="0"/>
                </a:p>
              </p:txBody>
            </p:sp>
            <p:sp>
              <p:nvSpPr>
                <p:cNvPr id="169" name="íṣlïḑe">
                  <a:extLst>
                    <a:ext uri="{FF2B5EF4-FFF2-40B4-BE49-F238E27FC236}">
                      <a16:creationId xmlns:a16="http://schemas.microsoft.com/office/drawing/2014/main" id="{C33BEB91-2DFA-4431-A3B5-B3FD1F36A2CA}"/>
                    </a:ext>
                  </a:extLst>
                </p:cNvPr>
                <p:cNvSpPr/>
                <p:nvPr/>
              </p:nvSpPr>
              <p:spPr bwMode="auto">
                <a:xfrm>
                  <a:off x="5070151" y="2658432"/>
                  <a:ext cx="245190" cy="267346"/>
                </a:xfrm>
                <a:custGeom>
                  <a:avLst/>
                  <a:gdLst>
                    <a:gd name="T0" fmla="*/ 168 w 208"/>
                    <a:gd name="T1" fmla="*/ 0 h 224"/>
                    <a:gd name="T2" fmla="*/ 168 w 208"/>
                    <a:gd name="T3" fmla="*/ 68 h 224"/>
                    <a:gd name="T4" fmla="*/ 108 w 208"/>
                    <a:gd name="T5" fmla="*/ 68 h 224"/>
                    <a:gd name="T6" fmla="*/ 108 w 208"/>
                    <a:gd name="T7" fmla="*/ 124 h 224"/>
                    <a:gd name="T8" fmla="*/ 192 w 208"/>
                    <a:gd name="T9" fmla="*/ 124 h 224"/>
                    <a:gd name="T10" fmla="*/ 192 w 208"/>
                    <a:gd name="T11" fmla="*/ 184 h 224"/>
                    <a:gd name="T12" fmla="*/ 208 w 208"/>
                    <a:gd name="T13" fmla="*/ 184 h 224"/>
                    <a:gd name="T14" fmla="*/ 208 w 208"/>
                    <a:gd name="T15" fmla="*/ 224 h 224"/>
                    <a:gd name="T16" fmla="*/ 168 w 208"/>
                    <a:gd name="T17" fmla="*/ 224 h 224"/>
                    <a:gd name="T18" fmla="*/ 168 w 208"/>
                    <a:gd name="T19" fmla="*/ 184 h 224"/>
                    <a:gd name="T20" fmla="*/ 184 w 208"/>
                    <a:gd name="T21" fmla="*/ 184 h 224"/>
                    <a:gd name="T22" fmla="*/ 184 w 208"/>
                    <a:gd name="T23" fmla="*/ 132 h 224"/>
                    <a:gd name="T24" fmla="*/ 108 w 208"/>
                    <a:gd name="T25" fmla="*/ 132 h 224"/>
                    <a:gd name="T26" fmla="*/ 108 w 208"/>
                    <a:gd name="T27" fmla="*/ 184 h 224"/>
                    <a:gd name="T28" fmla="*/ 124 w 208"/>
                    <a:gd name="T29" fmla="*/ 184 h 224"/>
                    <a:gd name="T30" fmla="*/ 124 w 208"/>
                    <a:gd name="T31" fmla="*/ 224 h 224"/>
                    <a:gd name="T32" fmla="*/ 84 w 208"/>
                    <a:gd name="T33" fmla="*/ 224 h 224"/>
                    <a:gd name="T34" fmla="*/ 84 w 208"/>
                    <a:gd name="T35" fmla="*/ 184 h 224"/>
                    <a:gd name="T36" fmla="*/ 100 w 208"/>
                    <a:gd name="T37" fmla="*/ 184 h 224"/>
                    <a:gd name="T38" fmla="*/ 100 w 208"/>
                    <a:gd name="T39" fmla="*/ 132 h 224"/>
                    <a:gd name="T40" fmla="*/ 24 w 208"/>
                    <a:gd name="T41" fmla="*/ 132 h 224"/>
                    <a:gd name="T42" fmla="*/ 24 w 208"/>
                    <a:gd name="T43" fmla="*/ 184 h 224"/>
                    <a:gd name="T44" fmla="*/ 40 w 208"/>
                    <a:gd name="T45" fmla="*/ 184 h 224"/>
                    <a:gd name="T46" fmla="*/ 40 w 208"/>
                    <a:gd name="T47" fmla="*/ 224 h 224"/>
                    <a:gd name="T48" fmla="*/ 0 w 208"/>
                    <a:gd name="T49" fmla="*/ 224 h 224"/>
                    <a:gd name="T50" fmla="*/ 0 w 208"/>
                    <a:gd name="T51" fmla="*/ 184 h 224"/>
                    <a:gd name="T52" fmla="*/ 16 w 208"/>
                    <a:gd name="T53" fmla="*/ 184 h 224"/>
                    <a:gd name="T54" fmla="*/ 16 w 208"/>
                    <a:gd name="T55" fmla="*/ 124 h 224"/>
                    <a:gd name="T56" fmla="*/ 100 w 208"/>
                    <a:gd name="T57" fmla="*/ 124 h 224"/>
                    <a:gd name="T58" fmla="*/ 100 w 208"/>
                    <a:gd name="T59" fmla="*/ 68 h 224"/>
                    <a:gd name="T60" fmla="*/ 40 w 208"/>
                    <a:gd name="T61" fmla="*/ 68 h 224"/>
                    <a:gd name="T62" fmla="*/ 40 w 208"/>
                    <a:gd name="T63" fmla="*/ 0 h 224"/>
                    <a:gd name="T64" fmla="*/ 168 w 208"/>
                    <a:gd name="T65" fmla="*/ 0 h 224"/>
                    <a:gd name="T66" fmla="*/ 32 w 208"/>
                    <a:gd name="T67" fmla="*/ 192 h 224"/>
                    <a:gd name="T68" fmla="*/ 8 w 208"/>
                    <a:gd name="T69" fmla="*/ 192 h 224"/>
                    <a:gd name="T70" fmla="*/ 8 w 208"/>
                    <a:gd name="T71" fmla="*/ 216 h 224"/>
                    <a:gd name="T72" fmla="*/ 32 w 208"/>
                    <a:gd name="T73" fmla="*/ 216 h 224"/>
                    <a:gd name="T74" fmla="*/ 32 w 208"/>
                    <a:gd name="T75" fmla="*/ 192 h 224"/>
                    <a:gd name="T76" fmla="*/ 116 w 208"/>
                    <a:gd name="T77" fmla="*/ 192 h 224"/>
                    <a:gd name="T78" fmla="*/ 92 w 208"/>
                    <a:gd name="T79" fmla="*/ 192 h 224"/>
                    <a:gd name="T80" fmla="*/ 92 w 208"/>
                    <a:gd name="T81" fmla="*/ 216 h 224"/>
                    <a:gd name="T82" fmla="*/ 116 w 208"/>
                    <a:gd name="T83" fmla="*/ 216 h 224"/>
                    <a:gd name="T84" fmla="*/ 116 w 208"/>
                    <a:gd name="T85" fmla="*/ 192 h 224"/>
                    <a:gd name="T86" fmla="*/ 200 w 208"/>
                    <a:gd name="T87" fmla="*/ 192 h 224"/>
                    <a:gd name="T88" fmla="*/ 176 w 208"/>
                    <a:gd name="T89" fmla="*/ 192 h 224"/>
                    <a:gd name="T90" fmla="*/ 176 w 208"/>
                    <a:gd name="T91" fmla="*/ 216 h 224"/>
                    <a:gd name="T92" fmla="*/ 200 w 208"/>
                    <a:gd name="T93" fmla="*/ 216 h 224"/>
                    <a:gd name="T94" fmla="*/ 200 w 208"/>
                    <a:gd name="T95" fmla="*/ 192 h 224"/>
                    <a:gd name="T96" fmla="*/ 160 w 208"/>
                    <a:gd name="T97" fmla="*/ 8 h 224"/>
                    <a:gd name="T98" fmla="*/ 48 w 208"/>
                    <a:gd name="T99" fmla="*/ 8 h 224"/>
                    <a:gd name="T100" fmla="*/ 48 w 208"/>
                    <a:gd name="T101" fmla="*/ 60 h 224"/>
                    <a:gd name="T102" fmla="*/ 160 w 208"/>
                    <a:gd name="T103" fmla="*/ 60 h 224"/>
                    <a:gd name="T104" fmla="*/ 160 w 208"/>
                    <a:gd name="T105" fmla="*/ 8 h 224"/>
                    <a:gd name="T106" fmla="*/ 66 w 208"/>
                    <a:gd name="T107" fmla="*/ 36 h 224"/>
                    <a:gd name="T108" fmla="*/ 72 w 208"/>
                    <a:gd name="T109" fmla="*/ 42 h 224"/>
                    <a:gd name="T110" fmla="*/ 66 w 208"/>
                    <a:gd name="T111" fmla="*/ 48 h 224"/>
                    <a:gd name="T112" fmla="*/ 60 w 208"/>
                    <a:gd name="T113" fmla="*/ 42 h 224"/>
                    <a:gd name="T114" fmla="*/ 66 w 208"/>
                    <a:gd name="T115" fmla="*/ 36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08" h="224">
                      <a:moveTo>
                        <a:pt x="168" y="0"/>
                      </a:moveTo>
                      <a:cubicBezTo>
                        <a:pt x="168" y="68"/>
                        <a:pt x="168" y="68"/>
                        <a:pt x="168" y="68"/>
                      </a:cubicBezTo>
                      <a:cubicBezTo>
                        <a:pt x="108" y="68"/>
                        <a:pt x="108" y="68"/>
                        <a:pt x="108" y="68"/>
                      </a:cubicBezTo>
                      <a:cubicBezTo>
                        <a:pt x="108" y="124"/>
                        <a:pt x="108" y="124"/>
                        <a:pt x="108" y="124"/>
                      </a:cubicBezTo>
                      <a:cubicBezTo>
                        <a:pt x="192" y="124"/>
                        <a:pt x="192" y="124"/>
                        <a:pt x="192" y="124"/>
                      </a:cubicBezTo>
                      <a:cubicBezTo>
                        <a:pt x="192" y="184"/>
                        <a:pt x="192" y="184"/>
                        <a:pt x="192" y="184"/>
                      </a:cubicBezTo>
                      <a:cubicBezTo>
                        <a:pt x="208" y="184"/>
                        <a:pt x="208" y="184"/>
                        <a:pt x="208" y="184"/>
                      </a:cubicBezTo>
                      <a:cubicBezTo>
                        <a:pt x="208" y="224"/>
                        <a:pt x="208" y="224"/>
                        <a:pt x="208" y="224"/>
                      </a:cubicBezTo>
                      <a:cubicBezTo>
                        <a:pt x="168" y="224"/>
                        <a:pt x="168" y="224"/>
                        <a:pt x="168" y="224"/>
                      </a:cubicBezTo>
                      <a:cubicBezTo>
                        <a:pt x="168" y="184"/>
                        <a:pt x="168" y="184"/>
                        <a:pt x="168" y="184"/>
                      </a:cubicBezTo>
                      <a:cubicBezTo>
                        <a:pt x="184" y="184"/>
                        <a:pt x="184" y="184"/>
                        <a:pt x="184" y="184"/>
                      </a:cubicBezTo>
                      <a:cubicBezTo>
                        <a:pt x="184" y="132"/>
                        <a:pt x="184" y="132"/>
                        <a:pt x="184" y="132"/>
                      </a:cubicBezTo>
                      <a:cubicBezTo>
                        <a:pt x="108" y="132"/>
                        <a:pt x="108" y="132"/>
                        <a:pt x="108" y="132"/>
                      </a:cubicBezTo>
                      <a:cubicBezTo>
                        <a:pt x="108" y="184"/>
                        <a:pt x="108" y="184"/>
                        <a:pt x="108" y="184"/>
                      </a:cubicBezTo>
                      <a:cubicBezTo>
                        <a:pt x="124" y="184"/>
                        <a:pt x="124" y="184"/>
                        <a:pt x="124" y="184"/>
                      </a:cubicBezTo>
                      <a:cubicBezTo>
                        <a:pt x="124" y="224"/>
                        <a:pt x="124" y="224"/>
                        <a:pt x="124" y="224"/>
                      </a:cubicBezTo>
                      <a:cubicBezTo>
                        <a:pt x="84" y="224"/>
                        <a:pt x="84" y="224"/>
                        <a:pt x="84" y="224"/>
                      </a:cubicBezTo>
                      <a:cubicBezTo>
                        <a:pt x="84" y="184"/>
                        <a:pt x="84" y="184"/>
                        <a:pt x="84" y="184"/>
                      </a:cubicBezTo>
                      <a:cubicBezTo>
                        <a:pt x="100" y="184"/>
                        <a:pt x="100" y="184"/>
                        <a:pt x="100" y="184"/>
                      </a:cubicBezTo>
                      <a:cubicBezTo>
                        <a:pt x="100" y="132"/>
                        <a:pt x="100" y="132"/>
                        <a:pt x="100" y="132"/>
                      </a:cubicBezTo>
                      <a:cubicBezTo>
                        <a:pt x="24" y="132"/>
                        <a:pt x="24" y="132"/>
                        <a:pt x="24" y="132"/>
                      </a:cubicBezTo>
                      <a:cubicBezTo>
                        <a:pt x="24" y="184"/>
                        <a:pt x="24" y="184"/>
                        <a:pt x="24" y="184"/>
                      </a:cubicBezTo>
                      <a:cubicBezTo>
                        <a:pt x="40" y="184"/>
                        <a:pt x="40" y="184"/>
                        <a:pt x="40" y="184"/>
                      </a:cubicBezTo>
                      <a:cubicBezTo>
                        <a:pt x="40" y="224"/>
                        <a:pt x="40" y="224"/>
                        <a:pt x="40" y="224"/>
                      </a:cubicBezTo>
                      <a:cubicBezTo>
                        <a:pt x="0" y="224"/>
                        <a:pt x="0" y="224"/>
                        <a:pt x="0" y="224"/>
                      </a:cubicBezTo>
                      <a:cubicBezTo>
                        <a:pt x="0" y="184"/>
                        <a:pt x="0" y="184"/>
                        <a:pt x="0" y="184"/>
                      </a:cubicBezTo>
                      <a:cubicBezTo>
                        <a:pt x="16" y="184"/>
                        <a:pt x="16" y="184"/>
                        <a:pt x="16" y="184"/>
                      </a:cubicBezTo>
                      <a:cubicBezTo>
                        <a:pt x="16" y="124"/>
                        <a:pt x="16" y="124"/>
                        <a:pt x="16" y="124"/>
                      </a:cubicBezTo>
                      <a:cubicBezTo>
                        <a:pt x="100" y="124"/>
                        <a:pt x="100" y="124"/>
                        <a:pt x="100" y="124"/>
                      </a:cubicBezTo>
                      <a:cubicBezTo>
                        <a:pt x="100" y="68"/>
                        <a:pt x="100" y="68"/>
                        <a:pt x="100" y="68"/>
                      </a:cubicBezTo>
                      <a:cubicBezTo>
                        <a:pt x="40" y="68"/>
                        <a:pt x="40" y="68"/>
                        <a:pt x="40" y="68"/>
                      </a:cubicBezTo>
                      <a:cubicBezTo>
                        <a:pt x="40" y="0"/>
                        <a:pt x="40" y="0"/>
                        <a:pt x="40" y="0"/>
                      </a:cubicBezTo>
                      <a:lnTo>
                        <a:pt x="168" y="0"/>
                      </a:lnTo>
                      <a:close/>
                      <a:moveTo>
                        <a:pt x="32" y="192"/>
                      </a:moveTo>
                      <a:cubicBezTo>
                        <a:pt x="8" y="192"/>
                        <a:pt x="8" y="192"/>
                        <a:pt x="8" y="192"/>
                      </a:cubicBezTo>
                      <a:cubicBezTo>
                        <a:pt x="8" y="216"/>
                        <a:pt x="8" y="216"/>
                        <a:pt x="8" y="216"/>
                      </a:cubicBezTo>
                      <a:cubicBezTo>
                        <a:pt x="32" y="216"/>
                        <a:pt x="32" y="216"/>
                        <a:pt x="32" y="216"/>
                      </a:cubicBezTo>
                      <a:lnTo>
                        <a:pt x="32" y="192"/>
                      </a:lnTo>
                      <a:close/>
                      <a:moveTo>
                        <a:pt x="116" y="192"/>
                      </a:moveTo>
                      <a:cubicBezTo>
                        <a:pt x="92" y="192"/>
                        <a:pt x="92" y="192"/>
                        <a:pt x="92" y="192"/>
                      </a:cubicBezTo>
                      <a:cubicBezTo>
                        <a:pt x="92" y="216"/>
                        <a:pt x="92" y="216"/>
                        <a:pt x="92" y="216"/>
                      </a:cubicBezTo>
                      <a:cubicBezTo>
                        <a:pt x="116" y="216"/>
                        <a:pt x="116" y="216"/>
                        <a:pt x="116" y="216"/>
                      </a:cubicBezTo>
                      <a:lnTo>
                        <a:pt x="116" y="192"/>
                      </a:lnTo>
                      <a:close/>
                      <a:moveTo>
                        <a:pt x="200" y="192"/>
                      </a:moveTo>
                      <a:cubicBezTo>
                        <a:pt x="176" y="192"/>
                        <a:pt x="176" y="192"/>
                        <a:pt x="176" y="192"/>
                      </a:cubicBezTo>
                      <a:cubicBezTo>
                        <a:pt x="176" y="216"/>
                        <a:pt x="176" y="216"/>
                        <a:pt x="176" y="216"/>
                      </a:cubicBezTo>
                      <a:cubicBezTo>
                        <a:pt x="200" y="216"/>
                        <a:pt x="200" y="216"/>
                        <a:pt x="200" y="216"/>
                      </a:cubicBezTo>
                      <a:lnTo>
                        <a:pt x="200" y="192"/>
                      </a:lnTo>
                      <a:close/>
                      <a:moveTo>
                        <a:pt x="160" y="8"/>
                      </a:moveTo>
                      <a:cubicBezTo>
                        <a:pt x="48" y="8"/>
                        <a:pt x="48" y="8"/>
                        <a:pt x="48" y="8"/>
                      </a:cubicBezTo>
                      <a:cubicBezTo>
                        <a:pt x="48" y="60"/>
                        <a:pt x="48" y="60"/>
                        <a:pt x="48" y="60"/>
                      </a:cubicBezTo>
                      <a:cubicBezTo>
                        <a:pt x="160" y="60"/>
                        <a:pt x="160" y="60"/>
                        <a:pt x="160" y="60"/>
                      </a:cubicBezTo>
                      <a:lnTo>
                        <a:pt x="160" y="8"/>
                      </a:lnTo>
                      <a:close/>
                      <a:moveTo>
                        <a:pt x="66" y="36"/>
                      </a:moveTo>
                      <a:cubicBezTo>
                        <a:pt x="69" y="36"/>
                        <a:pt x="72" y="39"/>
                        <a:pt x="72" y="42"/>
                      </a:cubicBezTo>
                      <a:cubicBezTo>
                        <a:pt x="72" y="45"/>
                        <a:pt x="69" y="48"/>
                        <a:pt x="66" y="48"/>
                      </a:cubicBezTo>
                      <a:cubicBezTo>
                        <a:pt x="63" y="48"/>
                        <a:pt x="60" y="45"/>
                        <a:pt x="60" y="42"/>
                      </a:cubicBezTo>
                      <a:cubicBezTo>
                        <a:pt x="60" y="39"/>
                        <a:pt x="63" y="36"/>
                        <a:pt x="66" y="36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 fontScale="77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dirty="0"/>
                </a:p>
              </p:txBody>
            </p:sp>
          </p:grpSp>
          <p:grpSp>
            <p:nvGrpSpPr>
              <p:cNvPr id="159" name="îṣ1îḑé">
                <a:extLst>
                  <a:ext uri="{FF2B5EF4-FFF2-40B4-BE49-F238E27FC236}">
                    <a16:creationId xmlns:a16="http://schemas.microsoft.com/office/drawing/2014/main" id="{B9152712-8D2F-4875-8EF2-600A19BAF54C}"/>
                  </a:ext>
                </a:extLst>
              </p:cNvPr>
              <p:cNvGrpSpPr/>
              <p:nvPr/>
            </p:nvGrpSpPr>
            <p:grpSpPr>
              <a:xfrm>
                <a:off x="6740056" y="2506107"/>
                <a:ext cx="571996" cy="571996"/>
                <a:chOff x="6740056" y="2506107"/>
                <a:chExt cx="571996" cy="571996"/>
              </a:xfrm>
            </p:grpSpPr>
            <p:sp>
              <p:nvSpPr>
                <p:cNvPr id="166" name="îṥlïḍé">
                  <a:extLst>
                    <a:ext uri="{FF2B5EF4-FFF2-40B4-BE49-F238E27FC236}">
                      <a16:creationId xmlns:a16="http://schemas.microsoft.com/office/drawing/2014/main" id="{963A414F-E810-4336-B641-7835EAD4D95E}"/>
                    </a:ext>
                  </a:extLst>
                </p:cNvPr>
                <p:cNvSpPr/>
                <p:nvPr/>
              </p:nvSpPr>
              <p:spPr>
                <a:xfrm>
                  <a:off x="6740056" y="2506107"/>
                  <a:ext cx="571996" cy="571996"/>
                </a:xfrm>
                <a:prstGeom prst="ellipse">
                  <a:avLst/>
                </a:prstGeom>
                <a:solidFill>
                  <a:schemeClr val="accent1"/>
                </a:solidFill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dirty="0"/>
                </a:p>
              </p:txBody>
            </p:sp>
            <p:sp>
              <p:nvSpPr>
                <p:cNvPr id="167" name="iś1íḓé">
                  <a:extLst>
                    <a:ext uri="{FF2B5EF4-FFF2-40B4-BE49-F238E27FC236}">
                      <a16:creationId xmlns:a16="http://schemas.microsoft.com/office/drawing/2014/main" id="{3D585AB9-F65C-406C-AA1F-FAB05969B6EF}"/>
                    </a:ext>
                  </a:extLst>
                </p:cNvPr>
                <p:cNvSpPr/>
                <p:nvPr/>
              </p:nvSpPr>
              <p:spPr bwMode="auto">
                <a:xfrm>
                  <a:off x="6873211" y="2675978"/>
                  <a:ext cx="305685" cy="232252"/>
                </a:xfrm>
                <a:custGeom>
                  <a:avLst/>
                  <a:gdLst>
                    <a:gd name="T0" fmla="*/ 224 w 224"/>
                    <a:gd name="T1" fmla="*/ 0 h 168"/>
                    <a:gd name="T2" fmla="*/ 224 w 224"/>
                    <a:gd name="T3" fmla="*/ 168 h 168"/>
                    <a:gd name="T4" fmla="*/ 0 w 224"/>
                    <a:gd name="T5" fmla="*/ 168 h 168"/>
                    <a:gd name="T6" fmla="*/ 0 w 224"/>
                    <a:gd name="T7" fmla="*/ 0 h 168"/>
                    <a:gd name="T8" fmla="*/ 224 w 224"/>
                    <a:gd name="T9" fmla="*/ 0 h 168"/>
                    <a:gd name="T10" fmla="*/ 157 w 224"/>
                    <a:gd name="T11" fmla="*/ 64 h 168"/>
                    <a:gd name="T12" fmla="*/ 104 w 224"/>
                    <a:gd name="T13" fmla="*/ 134 h 168"/>
                    <a:gd name="T14" fmla="*/ 59 w 224"/>
                    <a:gd name="T15" fmla="*/ 90 h 168"/>
                    <a:gd name="T16" fmla="*/ 8 w 224"/>
                    <a:gd name="T17" fmla="*/ 149 h 168"/>
                    <a:gd name="T18" fmla="*/ 8 w 224"/>
                    <a:gd name="T19" fmla="*/ 160 h 168"/>
                    <a:gd name="T20" fmla="*/ 216 w 224"/>
                    <a:gd name="T21" fmla="*/ 160 h 168"/>
                    <a:gd name="T22" fmla="*/ 216 w 224"/>
                    <a:gd name="T23" fmla="*/ 142 h 168"/>
                    <a:gd name="T24" fmla="*/ 157 w 224"/>
                    <a:gd name="T25" fmla="*/ 64 h 168"/>
                    <a:gd name="T26" fmla="*/ 216 w 224"/>
                    <a:gd name="T27" fmla="*/ 8 h 168"/>
                    <a:gd name="T28" fmla="*/ 8 w 224"/>
                    <a:gd name="T29" fmla="*/ 8 h 168"/>
                    <a:gd name="T30" fmla="*/ 8 w 224"/>
                    <a:gd name="T31" fmla="*/ 137 h 168"/>
                    <a:gd name="T32" fmla="*/ 58 w 224"/>
                    <a:gd name="T33" fmla="*/ 78 h 168"/>
                    <a:gd name="T34" fmla="*/ 103 w 224"/>
                    <a:gd name="T35" fmla="*/ 122 h 168"/>
                    <a:gd name="T36" fmla="*/ 158 w 224"/>
                    <a:gd name="T37" fmla="*/ 51 h 168"/>
                    <a:gd name="T38" fmla="*/ 216 w 224"/>
                    <a:gd name="T39" fmla="*/ 129 h 168"/>
                    <a:gd name="T40" fmla="*/ 216 w 224"/>
                    <a:gd name="T41" fmla="*/ 8 h 168"/>
                    <a:gd name="T42" fmla="*/ 40 w 224"/>
                    <a:gd name="T43" fmla="*/ 20 h 168"/>
                    <a:gd name="T44" fmla="*/ 60 w 224"/>
                    <a:gd name="T45" fmla="*/ 40 h 168"/>
                    <a:gd name="T46" fmla="*/ 40 w 224"/>
                    <a:gd name="T47" fmla="*/ 60 h 168"/>
                    <a:gd name="T48" fmla="*/ 20 w 224"/>
                    <a:gd name="T49" fmla="*/ 40 h 168"/>
                    <a:gd name="T50" fmla="*/ 40 w 224"/>
                    <a:gd name="T51" fmla="*/ 20 h 168"/>
                    <a:gd name="T52" fmla="*/ 40 w 224"/>
                    <a:gd name="T53" fmla="*/ 28 h 168"/>
                    <a:gd name="T54" fmla="*/ 28 w 224"/>
                    <a:gd name="T55" fmla="*/ 40 h 168"/>
                    <a:gd name="T56" fmla="*/ 40 w 224"/>
                    <a:gd name="T57" fmla="*/ 52 h 168"/>
                    <a:gd name="T58" fmla="*/ 52 w 224"/>
                    <a:gd name="T59" fmla="*/ 40 h 168"/>
                    <a:gd name="T60" fmla="*/ 40 w 224"/>
                    <a:gd name="T61" fmla="*/ 28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224" h="168">
                      <a:moveTo>
                        <a:pt x="224" y="0"/>
                      </a:moveTo>
                      <a:cubicBezTo>
                        <a:pt x="224" y="168"/>
                        <a:pt x="224" y="168"/>
                        <a:pt x="224" y="168"/>
                      </a:cubicBezTo>
                      <a:cubicBezTo>
                        <a:pt x="0" y="168"/>
                        <a:pt x="0" y="168"/>
                        <a:pt x="0" y="168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224" y="0"/>
                      </a:lnTo>
                      <a:close/>
                      <a:moveTo>
                        <a:pt x="157" y="64"/>
                      </a:moveTo>
                      <a:cubicBezTo>
                        <a:pt x="104" y="134"/>
                        <a:pt x="104" y="134"/>
                        <a:pt x="104" y="134"/>
                      </a:cubicBezTo>
                      <a:cubicBezTo>
                        <a:pt x="59" y="90"/>
                        <a:pt x="59" y="90"/>
                        <a:pt x="59" y="90"/>
                      </a:cubicBezTo>
                      <a:cubicBezTo>
                        <a:pt x="8" y="149"/>
                        <a:pt x="8" y="149"/>
                        <a:pt x="8" y="149"/>
                      </a:cubicBezTo>
                      <a:cubicBezTo>
                        <a:pt x="8" y="160"/>
                        <a:pt x="8" y="160"/>
                        <a:pt x="8" y="160"/>
                      </a:cubicBezTo>
                      <a:cubicBezTo>
                        <a:pt x="216" y="160"/>
                        <a:pt x="216" y="160"/>
                        <a:pt x="216" y="160"/>
                      </a:cubicBezTo>
                      <a:cubicBezTo>
                        <a:pt x="216" y="142"/>
                        <a:pt x="216" y="142"/>
                        <a:pt x="216" y="142"/>
                      </a:cubicBezTo>
                      <a:lnTo>
                        <a:pt x="157" y="64"/>
                      </a:lnTo>
                      <a:close/>
                      <a:moveTo>
                        <a:pt x="216" y="8"/>
                      </a:moveTo>
                      <a:cubicBezTo>
                        <a:pt x="8" y="8"/>
                        <a:pt x="8" y="8"/>
                        <a:pt x="8" y="8"/>
                      </a:cubicBezTo>
                      <a:cubicBezTo>
                        <a:pt x="8" y="137"/>
                        <a:pt x="8" y="137"/>
                        <a:pt x="8" y="137"/>
                      </a:cubicBezTo>
                      <a:cubicBezTo>
                        <a:pt x="58" y="78"/>
                        <a:pt x="58" y="78"/>
                        <a:pt x="58" y="78"/>
                      </a:cubicBezTo>
                      <a:cubicBezTo>
                        <a:pt x="103" y="122"/>
                        <a:pt x="103" y="122"/>
                        <a:pt x="103" y="122"/>
                      </a:cubicBezTo>
                      <a:cubicBezTo>
                        <a:pt x="158" y="51"/>
                        <a:pt x="158" y="51"/>
                        <a:pt x="158" y="51"/>
                      </a:cubicBezTo>
                      <a:cubicBezTo>
                        <a:pt x="216" y="129"/>
                        <a:pt x="216" y="129"/>
                        <a:pt x="216" y="129"/>
                      </a:cubicBezTo>
                      <a:lnTo>
                        <a:pt x="216" y="8"/>
                      </a:lnTo>
                      <a:close/>
                      <a:moveTo>
                        <a:pt x="40" y="20"/>
                      </a:moveTo>
                      <a:cubicBezTo>
                        <a:pt x="51" y="20"/>
                        <a:pt x="60" y="29"/>
                        <a:pt x="60" y="40"/>
                      </a:cubicBezTo>
                      <a:cubicBezTo>
                        <a:pt x="60" y="51"/>
                        <a:pt x="51" y="60"/>
                        <a:pt x="40" y="60"/>
                      </a:cubicBezTo>
                      <a:cubicBezTo>
                        <a:pt x="29" y="60"/>
                        <a:pt x="20" y="51"/>
                        <a:pt x="20" y="40"/>
                      </a:cubicBezTo>
                      <a:cubicBezTo>
                        <a:pt x="20" y="29"/>
                        <a:pt x="29" y="20"/>
                        <a:pt x="40" y="20"/>
                      </a:cubicBezTo>
                      <a:close/>
                      <a:moveTo>
                        <a:pt x="40" y="28"/>
                      </a:moveTo>
                      <a:cubicBezTo>
                        <a:pt x="33" y="28"/>
                        <a:pt x="28" y="33"/>
                        <a:pt x="28" y="40"/>
                      </a:cubicBezTo>
                      <a:cubicBezTo>
                        <a:pt x="28" y="47"/>
                        <a:pt x="33" y="52"/>
                        <a:pt x="40" y="52"/>
                      </a:cubicBezTo>
                      <a:cubicBezTo>
                        <a:pt x="47" y="52"/>
                        <a:pt x="52" y="47"/>
                        <a:pt x="52" y="40"/>
                      </a:cubicBezTo>
                      <a:cubicBezTo>
                        <a:pt x="52" y="33"/>
                        <a:pt x="47" y="28"/>
                        <a:pt x="40" y="2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dirty="0"/>
                </a:p>
              </p:txBody>
            </p:sp>
          </p:grpSp>
          <p:grpSp>
            <p:nvGrpSpPr>
              <p:cNvPr id="160" name="ïṩľïḋê">
                <a:extLst>
                  <a:ext uri="{FF2B5EF4-FFF2-40B4-BE49-F238E27FC236}">
                    <a16:creationId xmlns:a16="http://schemas.microsoft.com/office/drawing/2014/main" id="{1B6EA23B-5D75-4D0B-B19D-B24288E588E9}"/>
                  </a:ext>
                </a:extLst>
              </p:cNvPr>
              <p:cNvGrpSpPr/>
              <p:nvPr/>
            </p:nvGrpSpPr>
            <p:grpSpPr>
              <a:xfrm>
                <a:off x="6740056" y="4186639"/>
                <a:ext cx="571996" cy="571996"/>
                <a:chOff x="6740056" y="4186639"/>
                <a:chExt cx="571996" cy="571996"/>
              </a:xfrm>
            </p:grpSpPr>
            <p:sp>
              <p:nvSpPr>
                <p:cNvPr id="164" name="isḻiḓè">
                  <a:extLst>
                    <a:ext uri="{FF2B5EF4-FFF2-40B4-BE49-F238E27FC236}">
                      <a16:creationId xmlns:a16="http://schemas.microsoft.com/office/drawing/2014/main" id="{A9A5D62C-C634-44D6-B252-17716BF9D4A3}"/>
                    </a:ext>
                  </a:extLst>
                </p:cNvPr>
                <p:cNvSpPr/>
                <p:nvPr/>
              </p:nvSpPr>
              <p:spPr>
                <a:xfrm>
                  <a:off x="6740056" y="4186639"/>
                  <a:ext cx="571996" cy="571996"/>
                </a:xfrm>
                <a:prstGeom prst="ellipse">
                  <a:avLst/>
                </a:prstGeom>
                <a:solidFill>
                  <a:schemeClr val="accent1"/>
                </a:solidFill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dirty="0"/>
                </a:p>
              </p:txBody>
            </p:sp>
            <p:sp>
              <p:nvSpPr>
                <p:cNvPr id="165" name="îšḻide">
                  <a:extLst>
                    <a:ext uri="{FF2B5EF4-FFF2-40B4-BE49-F238E27FC236}">
                      <a16:creationId xmlns:a16="http://schemas.microsoft.com/office/drawing/2014/main" id="{6427789C-E733-4A8C-B3C6-2B3332982597}"/>
                    </a:ext>
                  </a:extLst>
                </p:cNvPr>
                <p:cNvSpPr/>
                <p:nvPr/>
              </p:nvSpPr>
              <p:spPr bwMode="auto">
                <a:xfrm>
                  <a:off x="6870955" y="4343170"/>
                  <a:ext cx="310198" cy="258932"/>
                </a:xfrm>
                <a:custGeom>
                  <a:avLst/>
                  <a:gdLst>
                    <a:gd name="T0" fmla="*/ 224 w 224"/>
                    <a:gd name="T1" fmla="*/ 0 h 184"/>
                    <a:gd name="T2" fmla="*/ 224 w 224"/>
                    <a:gd name="T3" fmla="*/ 156 h 184"/>
                    <a:gd name="T4" fmla="*/ 86 w 224"/>
                    <a:gd name="T5" fmla="*/ 156 h 184"/>
                    <a:gd name="T6" fmla="*/ 48 w 224"/>
                    <a:gd name="T7" fmla="*/ 184 h 184"/>
                    <a:gd name="T8" fmla="*/ 48 w 224"/>
                    <a:gd name="T9" fmla="*/ 156 h 184"/>
                    <a:gd name="T10" fmla="*/ 0 w 224"/>
                    <a:gd name="T11" fmla="*/ 156 h 184"/>
                    <a:gd name="T12" fmla="*/ 0 w 224"/>
                    <a:gd name="T13" fmla="*/ 0 h 184"/>
                    <a:gd name="T14" fmla="*/ 224 w 224"/>
                    <a:gd name="T15" fmla="*/ 0 h 184"/>
                    <a:gd name="T16" fmla="*/ 216 w 224"/>
                    <a:gd name="T17" fmla="*/ 8 h 184"/>
                    <a:gd name="T18" fmla="*/ 8 w 224"/>
                    <a:gd name="T19" fmla="*/ 8 h 184"/>
                    <a:gd name="T20" fmla="*/ 8 w 224"/>
                    <a:gd name="T21" fmla="*/ 148 h 184"/>
                    <a:gd name="T22" fmla="*/ 56 w 224"/>
                    <a:gd name="T23" fmla="*/ 148 h 184"/>
                    <a:gd name="T24" fmla="*/ 56 w 224"/>
                    <a:gd name="T25" fmla="*/ 168 h 184"/>
                    <a:gd name="T26" fmla="*/ 83 w 224"/>
                    <a:gd name="T27" fmla="*/ 148 h 184"/>
                    <a:gd name="T28" fmla="*/ 216 w 224"/>
                    <a:gd name="T29" fmla="*/ 148 h 184"/>
                    <a:gd name="T30" fmla="*/ 216 w 224"/>
                    <a:gd name="T31" fmla="*/ 8 h 184"/>
                    <a:gd name="T32" fmla="*/ 56 w 224"/>
                    <a:gd name="T33" fmla="*/ 60 h 184"/>
                    <a:gd name="T34" fmla="*/ 74 w 224"/>
                    <a:gd name="T35" fmla="*/ 78 h 184"/>
                    <a:gd name="T36" fmla="*/ 56 w 224"/>
                    <a:gd name="T37" fmla="*/ 96 h 184"/>
                    <a:gd name="T38" fmla="*/ 38 w 224"/>
                    <a:gd name="T39" fmla="*/ 78 h 184"/>
                    <a:gd name="T40" fmla="*/ 56 w 224"/>
                    <a:gd name="T41" fmla="*/ 60 h 184"/>
                    <a:gd name="T42" fmla="*/ 112 w 224"/>
                    <a:gd name="T43" fmla="*/ 60 h 184"/>
                    <a:gd name="T44" fmla="*/ 130 w 224"/>
                    <a:gd name="T45" fmla="*/ 78 h 184"/>
                    <a:gd name="T46" fmla="*/ 112 w 224"/>
                    <a:gd name="T47" fmla="*/ 96 h 184"/>
                    <a:gd name="T48" fmla="*/ 94 w 224"/>
                    <a:gd name="T49" fmla="*/ 78 h 184"/>
                    <a:gd name="T50" fmla="*/ 112 w 224"/>
                    <a:gd name="T51" fmla="*/ 60 h 184"/>
                    <a:gd name="T52" fmla="*/ 168 w 224"/>
                    <a:gd name="T53" fmla="*/ 60 h 184"/>
                    <a:gd name="T54" fmla="*/ 186 w 224"/>
                    <a:gd name="T55" fmla="*/ 78 h 184"/>
                    <a:gd name="T56" fmla="*/ 168 w 224"/>
                    <a:gd name="T57" fmla="*/ 96 h 184"/>
                    <a:gd name="T58" fmla="*/ 150 w 224"/>
                    <a:gd name="T59" fmla="*/ 78 h 184"/>
                    <a:gd name="T60" fmla="*/ 168 w 224"/>
                    <a:gd name="T61" fmla="*/ 60 h 184"/>
                    <a:gd name="T62" fmla="*/ 56 w 224"/>
                    <a:gd name="T63" fmla="*/ 68 h 184"/>
                    <a:gd name="T64" fmla="*/ 46 w 224"/>
                    <a:gd name="T65" fmla="*/ 78 h 184"/>
                    <a:gd name="T66" fmla="*/ 56 w 224"/>
                    <a:gd name="T67" fmla="*/ 88 h 184"/>
                    <a:gd name="T68" fmla="*/ 66 w 224"/>
                    <a:gd name="T69" fmla="*/ 78 h 184"/>
                    <a:gd name="T70" fmla="*/ 56 w 224"/>
                    <a:gd name="T71" fmla="*/ 68 h 184"/>
                    <a:gd name="T72" fmla="*/ 112 w 224"/>
                    <a:gd name="T73" fmla="*/ 68 h 184"/>
                    <a:gd name="T74" fmla="*/ 102 w 224"/>
                    <a:gd name="T75" fmla="*/ 78 h 184"/>
                    <a:gd name="T76" fmla="*/ 112 w 224"/>
                    <a:gd name="T77" fmla="*/ 88 h 184"/>
                    <a:gd name="T78" fmla="*/ 122 w 224"/>
                    <a:gd name="T79" fmla="*/ 78 h 184"/>
                    <a:gd name="T80" fmla="*/ 112 w 224"/>
                    <a:gd name="T81" fmla="*/ 68 h 184"/>
                    <a:gd name="T82" fmla="*/ 168 w 224"/>
                    <a:gd name="T83" fmla="*/ 68 h 184"/>
                    <a:gd name="T84" fmla="*/ 158 w 224"/>
                    <a:gd name="T85" fmla="*/ 78 h 184"/>
                    <a:gd name="T86" fmla="*/ 168 w 224"/>
                    <a:gd name="T87" fmla="*/ 88 h 184"/>
                    <a:gd name="T88" fmla="*/ 178 w 224"/>
                    <a:gd name="T89" fmla="*/ 78 h 184"/>
                    <a:gd name="T90" fmla="*/ 168 w 224"/>
                    <a:gd name="T91" fmla="*/ 68 h 1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224" h="184">
                      <a:moveTo>
                        <a:pt x="224" y="0"/>
                      </a:moveTo>
                      <a:cubicBezTo>
                        <a:pt x="224" y="156"/>
                        <a:pt x="224" y="156"/>
                        <a:pt x="224" y="156"/>
                      </a:cubicBezTo>
                      <a:cubicBezTo>
                        <a:pt x="86" y="156"/>
                        <a:pt x="86" y="156"/>
                        <a:pt x="86" y="156"/>
                      </a:cubicBezTo>
                      <a:cubicBezTo>
                        <a:pt x="48" y="184"/>
                        <a:pt x="48" y="184"/>
                        <a:pt x="48" y="184"/>
                      </a:cubicBezTo>
                      <a:cubicBezTo>
                        <a:pt x="48" y="156"/>
                        <a:pt x="48" y="156"/>
                        <a:pt x="48" y="156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224" y="0"/>
                      </a:lnTo>
                      <a:close/>
                      <a:moveTo>
                        <a:pt x="216" y="8"/>
                      </a:moveTo>
                      <a:cubicBezTo>
                        <a:pt x="8" y="8"/>
                        <a:pt x="8" y="8"/>
                        <a:pt x="8" y="8"/>
                      </a:cubicBezTo>
                      <a:cubicBezTo>
                        <a:pt x="8" y="148"/>
                        <a:pt x="8" y="148"/>
                        <a:pt x="8" y="148"/>
                      </a:cubicBezTo>
                      <a:cubicBezTo>
                        <a:pt x="56" y="148"/>
                        <a:pt x="56" y="148"/>
                        <a:pt x="56" y="148"/>
                      </a:cubicBezTo>
                      <a:cubicBezTo>
                        <a:pt x="56" y="168"/>
                        <a:pt x="56" y="168"/>
                        <a:pt x="56" y="168"/>
                      </a:cubicBezTo>
                      <a:cubicBezTo>
                        <a:pt x="83" y="148"/>
                        <a:pt x="83" y="148"/>
                        <a:pt x="83" y="148"/>
                      </a:cubicBezTo>
                      <a:cubicBezTo>
                        <a:pt x="216" y="148"/>
                        <a:pt x="216" y="148"/>
                        <a:pt x="216" y="148"/>
                      </a:cubicBezTo>
                      <a:lnTo>
                        <a:pt x="216" y="8"/>
                      </a:lnTo>
                      <a:close/>
                      <a:moveTo>
                        <a:pt x="56" y="60"/>
                      </a:moveTo>
                      <a:cubicBezTo>
                        <a:pt x="66" y="60"/>
                        <a:pt x="74" y="68"/>
                        <a:pt x="74" y="78"/>
                      </a:cubicBezTo>
                      <a:cubicBezTo>
                        <a:pt x="74" y="88"/>
                        <a:pt x="66" y="96"/>
                        <a:pt x="56" y="96"/>
                      </a:cubicBezTo>
                      <a:cubicBezTo>
                        <a:pt x="46" y="96"/>
                        <a:pt x="38" y="88"/>
                        <a:pt x="38" y="78"/>
                      </a:cubicBezTo>
                      <a:cubicBezTo>
                        <a:pt x="38" y="68"/>
                        <a:pt x="46" y="60"/>
                        <a:pt x="56" y="60"/>
                      </a:cubicBezTo>
                      <a:close/>
                      <a:moveTo>
                        <a:pt x="112" y="60"/>
                      </a:moveTo>
                      <a:cubicBezTo>
                        <a:pt x="122" y="60"/>
                        <a:pt x="130" y="68"/>
                        <a:pt x="130" y="78"/>
                      </a:cubicBezTo>
                      <a:cubicBezTo>
                        <a:pt x="130" y="88"/>
                        <a:pt x="122" y="96"/>
                        <a:pt x="112" y="96"/>
                      </a:cubicBezTo>
                      <a:cubicBezTo>
                        <a:pt x="102" y="96"/>
                        <a:pt x="94" y="88"/>
                        <a:pt x="94" y="78"/>
                      </a:cubicBezTo>
                      <a:cubicBezTo>
                        <a:pt x="94" y="68"/>
                        <a:pt x="102" y="60"/>
                        <a:pt x="112" y="60"/>
                      </a:cubicBezTo>
                      <a:close/>
                      <a:moveTo>
                        <a:pt x="168" y="60"/>
                      </a:moveTo>
                      <a:cubicBezTo>
                        <a:pt x="178" y="60"/>
                        <a:pt x="186" y="68"/>
                        <a:pt x="186" y="78"/>
                      </a:cubicBezTo>
                      <a:cubicBezTo>
                        <a:pt x="186" y="88"/>
                        <a:pt x="178" y="96"/>
                        <a:pt x="168" y="96"/>
                      </a:cubicBezTo>
                      <a:cubicBezTo>
                        <a:pt x="158" y="96"/>
                        <a:pt x="150" y="88"/>
                        <a:pt x="150" y="78"/>
                      </a:cubicBezTo>
                      <a:cubicBezTo>
                        <a:pt x="150" y="68"/>
                        <a:pt x="158" y="60"/>
                        <a:pt x="168" y="60"/>
                      </a:cubicBezTo>
                      <a:close/>
                      <a:moveTo>
                        <a:pt x="56" y="68"/>
                      </a:moveTo>
                      <a:cubicBezTo>
                        <a:pt x="50" y="68"/>
                        <a:pt x="46" y="72"/>
                        <a:pt x="46" y="78"/>
                      </a:cubicBezTo>
                      <a:cubicBezTo>
                        <a:pt x="46" y="84"/>
                        <a:pt x="50" y="88"/>
                        <a:pt x="56" y="88"/>
                      </a:cubicBezTo>
                      <a:cubicBezTo>
                        <a:pt x="62" y="88"/>
                        <a:pt x="66" y="84"/>
                        <a:pt x="66" y="78"/>
                      </a:cubicBezTo>
                      <a:cubicBezTo>
                        <a:pt x="66" y="72"/>
                        <a:pt x="62" y="68"/>
                        <a:pt x="56" y="68"/>
                      </a:cubicBezTo>
                      <a:close/>
                      <a:moveTo>
                        <a:pt x="112" y="68"/>
                      </a:moveTo>
                      <a:cubicBezTo>
                        <a:pt x="106" y="68"/>
                        <a:pt x="102" y="72"/>
                        <a:pt x="102" y="78"/>
                      </a:cubicBezTo>
                      <a:cubicBezTo>
                        <a:pt x="102" y="84"/>
                        <a:pt x="106" y="88"/>
                        <a:pt x="112" y="88"/>
                      </a:cubicBezTo>
                      <a:cubicBezTo>
                        <a:pt x="118" y="88"/>
                        <a:pt x="122" y="84"/>
                        <a:pt x="122" y="78"/>
                      </a:cubicBezTo>
                      <a:cubicBezTo>
                        <a:pt x="122" y="72"/>
                        <a:pt x="118" y="68"/>
                        <a:pt x="112" y="68"/>
                      </a:cubicBezTo>
                      <a:close/>
                      <a:moveTo>
                        <a:pt x="168" y="68"/>
                      </a:moveTo>
                      <a:cubicBezTo>
                        <a:pt x="162" y="68"/>
                        <a:pt x="158" y="72"/>
                        <a:pt x="158" y="78"/>
                      </a:cubicBezTo>
                      <a:cubicBezTo>
                        <a:pt x="158" y="84"/>
                        <a:pt x="162" y="88"/>
                        <a:pt x="168" y="88"/>
                      </a:cubicBezTo>
                      <a:cubicBezTo>
                        <a:pt x="174" y="88"/>
                        <a:pt x="178" y="84"/>
                        <a:pt x="178" y="78"/>
                      </a:cubicBezTo>
                      <a:cubicBezTo>
                        <a:pt x="178" y="72"/>
                        <a:pt x="174" y="68"/>
                        <a:pt x="168" y="6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 fontScale="70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dirty="0"/>
                </a:p>
              </p:txBody>
            </p:sp>
          </p:grpSp>
          <p:grpSp>
            <p:nvGrpSpPr>
              <p:cNvPr id="161" name="i$ļîďè">
                <a:extLst>
                  <a:ext uri="{FF2B5EF4-FFF2-40B4-BE49-F238E27FC236}">
                    <a16:creationId xmlns:a16="http://schemas.microsoft.com/office/drawing/2014/main" id="{6CA829A5-7F5A-4936-BD6E-2F25225334B0}"/>
                  </a:ext>
                </a:extLst>
              </p:cNvPr>
              <p:cNvGrpSpPr/>
              <p:nvPr/>
            </p:nvGrpSpPr>
            <p:grpSpPr>
              <a:xfrm>
                <a:off x="4906749" y="4186639"/>
                <a:ext cx="571996" cy="571996"/>
                <a:chOff x="4906749" y="4186639"/>
                <a:chExt cx="571996" cy="571996"/>
              </a:xfrm>
            </p:grpSpPr>
            <p:sp>
              <p:nvSpPr>
                <p:cNvPr id="162" name="íşľïdé">
                  <a:extLst>
                    <a:ext uri="{FF2B5EF4-FFF2-40B4-BE49-F238E27FC236}">
                      <a16:creationId xmlns:a16="http://schemas.microsoft.com/office/drawing/2014/main" id="{2BE21156-183D-4CEC-B4A2-8F6CB5FCAC5B}"/>
                    </a:ext>
                  </a:extLst>
                </p:cNvPr>
                <p:cNvSpPr/>
                <p:nvPr/>
              </p:nvSpPr>
              <p:spPr>
                <a:xfrm>
                  <a:off x="4906749" y="4186639"/>
                  <a:ext cx="571996" cy="571996"/>
                </a:xfrm>
                <a:prstGeom prst="ellipse">
                  <a:avLst/>
                </a:prstGeom>
                <a:solidFill>
                  <a:schemeClr val="accent1"/>
                </a:solidFill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dirty="0"/>
                </a:p>
              </p:txBody>
            </p:sp>
            <p:sp>
              <p:nvSpPr>
                <p:cNvPr id="163" name="iś1íďè">
                  <a:extLst>
                    <a:ext uri="{FF2B5EF4-FFF2-40B4-BE49-F238E27FC236}">
                      <a16:creationId xmlns:a16="http://schemas.microsoft.com/office/drawing/2014/main" id="{C94DBD6B-2C91-465F-BE7F-EC407404A00F}"/>
                    </a:ext>
                  </a:extLst>
                </p:cNvPr>
                <p:cNvSpPr/>
                <p:nvPr/>
              </p:nvSpPr>
              <p:spPr bwMode="auto">
                <a:xfrm>
                  <a:off x="5044442" y="4322674"/>
                  <a:ext cx="296610" cy="299925"/>
                </a:xfrm>
                <a:custGeom>
                  <a:avLst/>
                  <a:gdLst>
                    <a:gd name="T0" fmla="*/ 160 w 224"/>
                    <a:gd name="T1" fmla="*/ 0 h 224"/>
                    <a:gd name="T2" fmla="*/ 160 w 224"/>
                    <a:gd name="T3" fmla="*/ 48 h 224"/>
                    <a:gd name="T4" fmla="*/ 224 w 224"/>
                    <a:gd name="T5" fmla="*/ 48 h 224"/>
                    <a:gd name="T6" fmla="*/ 224 w 224"/>
                    <a:gd name="T7" fmla="*/ 176 h 224"/>
                    <a:gd name="T8" fmla="*/ 160 w 224"/>
                    <a:gd name="T9" fmla="*/ 176 h 224"/>
                    <a:gd name="T10" fmla="*/ 160 w 224"/>
                    <a:gd name="T11" fmla="*/ 224 h 224"/>
                    <a:gd name="T12" fmla="*/ 64 w 224"/>
                    <a:gd name="T13" fmla="*/ 224 h 224"/>
                    <a:gd name="T14" fmla="*/ 64 w 224"/>
                    <a:gd name="T15" fmla="*/ 176 h 224"/>
                    <a:gd name="T16" fmla="*/ 0 w 224"/>
                    <a:gd name="T17" fmla="*/ 176 h 224"/>
                    <a:gd name="T18" fmla="*/ 0 w 224"/>
                    <a:gd name="T19" fmla="*/ 76 h 224"/>
                    <a:gd name="T20" fmla="*/ 26 w 224"/>
                    <a:gd name="T21" fmla="*/ 48 h 224"/>
                    <a:gd name="T22" fmla="*/ 64 w 224"/>
                    <a:gd name="T23" fmla="*/ 48 h 224"/>
                    <a:gd name="T24" fmla="*/ 64 w 224"/>
                    <a:gd name="T25" fmla="*/ 0 h 224"/>
                    <a:gd name="T26" fmla="*/ 160 w 224"/>
                    <a:gd name="T27" fmla="*/ 0 h 224"/>
                    <a:gd name="T28" fmla="*/ 152 w 224"/>
                    <a:gd name="T29" fmla="*/ 120 h 224"/>
                    <a:gd name="T30" fmla="*/ 72 w 224"/>
                    <a:gd name="T31" fmla="*/ 120 h 224"/>
                    <a:gd name="T32" fmla="*/ 72 w 224"/>
                    <a:gd name="T33" fmla="*/ 216 h 224"/>
                    <a:gd name="T34" fmla="*/ 152 w 224"/>
                    <a:gd name="T35" fmla="*/ 216 h 224"/>
                    <a:gd name="T36" fmla="*/ 152 w 224"/>
                    <a:gd name="T37" fmla="*/ 120 h 224"/>
                    <a:gd name="T38" fmla="*/ 216 w 224"/>
                    <a:gd name="T39" fmla="*/ 56 h 224"/>
                    <a:gd name="T40" fmla="*/ 30 w 224"/>
                    <a:gd name="T41" fmla="*/ 56 h 224"/>
                    <a:gd name="T42" fmla="*/ 8 w 224"/>
                    <a:gd name="T43" fmla="*/ 80 h 224"/>
                    <a:gd name="T44" fmla="*/ 8 w 224"/>
                    <a:gd name="T45" fmla="*/ 168 h 224"/>
                    <a:gd name="T46" fmla="*/ 64 w 224"/>
                    <a:gd name="T47" fmla="*/ 168 h 224"/>
                    <a:gd name="T48" fmla="*/ 64 w 224"/>
                    <a:gd name="T49" fmla="*/ 112 h 224"/>
                    <a:gd name="T50" fmla="*/ 160 w 224"/>
                    <a:gd name="T51" fmla="*/ 112 h 224"/>
                    <a:gd name="T52" fmla="*/ 160 w 224"/>
                    <a:gd name="T53" fmla="*/ 168 h 224"/>
                    <a:gd name="T54" fmla="*/ 216 w 224"/>
                    <a:gd name="T55" fmla="*/ 168 h 224"/>
                    <a:gd name="T56" fmla="*/ 216 w 224"/>
                    <a:gd name="T57" fmla="*/ 56 h 224"/>
                    <a:gd name="T58" fmla="*/ 194 w 224"/>
                    <a:gd name="T59" fmla="*/ 72 h 224"/>
                    <a:gd name="T60" fmla="*/ 200 w 224"/>
                    <a:gd name="T61" fmla="*/ 78 h 224"/>
                    <a:gd name="T62" fmla="*/ 194 w 224"/>
                    <a:gd name="T63" fmla="*/ 84 h 224"/>
                    <a:gd name="T64" fmla="*/ 188 w 224"/>
                    <a:gd name="T65" fmla="*/ 78 h 224"/>
                    <a:gd name="T66" fmla="*/ 194 w 224"/>
                    <a:gd name="T67" fmla="*/ 72 h 224"/>
                    <a:gd name="T68" fmla="*/ 152 w 224"/>
                    <a:gd name="T69" fmla="*/ 8 h 224"/>
                    <a:gd name="T70" fmla="*/ 72 w 224"/>
                    <a:gd name="T71" fmla="*/ 8 h 224"/>
                    <a:gd name="T72" fmla="*/ 72 w 224"/>
                    <a:gd name="T73" fmla="*/ 48 h 224"/>
                    <a:gd name="T74" fmla="*/ 152 w 224"/>
                    <a:gd name="T75" fmla="*/ 48 h 224"/>
                    <a:gd name="T76" fmla="*/ 152 w 224"/>
                    <a:gd name="T77" fmla="*/ 8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224" h="224">
                      <a:moveTo>
                        <a:pt x="160" y="0"/>
                      </a:moveTo>
                      <a:cubicBezTo>
                        <a:pt x="160" y="48"/>
                        <a:pt x="160" y="48"/>
                        <a:pt x="160" y="48"/>
                      </a:cubicBezTo>
                      <a:cubicBezTo>
                        <a:pt x="224" y="48"/>
                        <a:pt x="224" y="48"/>
                        <a:pt x="224" y="48"/>
                      </a:cubicBezTo>
                      <a:cubicBezTo>
                        <a:pt x="224" y="176"/>
                        <a:pt x="224" y="176"/>
                        <a:pt x="224" y="176"/>
                      </a:cubicBezTo>
                      <a:cubicBezTo>
                        <a:pt x="160" y="176"/>
                        <a:pt x="160" y="176"/>
                        <a:pt x="160" y="176"/>
                      </a:cubicBezTo>
                      <a:cubicBezTo>
                        <a:pt x="160" y="224"/>
                        <a:pt x="160" y="224"/>
                        <a:pt x="160" y="224"/>
                      </a:cubicBezTo>
                      <a:cubicBezTo>
                        <a:pt x="64" y="224"/>
                        <a:pt x="64" y="224"/>
                        <a:pt x="64" y="224"/>
                      </a:cubicBezTo>
                      <a:cubicBezTo>
                        <a:pt x="64" y="176"/>
                        <a:pt x="64" y="176"/>
                        <a:pt x="64" y="176"/>
                      </a:cubicBezTo>
                      <a:cubicBezTo>
                        <a:pt x="0" y="176"/>
                        <a:pt x="0" y="176"/>
                        <a:pt x="0" y="176"/>
                      </a:cubicBezTo>
                      <a:cubicBezTo>
                        <a:pt x="0" y="76"/>
                        <a:pt x="0" y="76"/>
                        <a:pt x="0" y="76"/>
                      </a:cubicBezTo>
                      <a:cubicBezTo>
                        <a:pt x="26" y="48"/>
                        <a:pt x="26" y="48"/>
                        <a:pt x="26" y="48"/>
                      </a:cubicBezTo>
                      <a:cubicBezTo>
                        <a:pt x="64" y="48"/>
                        <a:pt x="64" y="48"/>
                        <a:pt x="64" y="48"/>
                      </a:cubicBezTo>
                      <a:cubicBezTo>
                        <a:pt x="64" y="0"/>
                        <a:pt x="64" y="0"/>
                        <a:pt x="64" y="0"/>
                      </a:cubicBezTo>
                      <a:lnTo>
                        <a:pt x="160" y="0"/>
                      </a:lnTo>
                      <a:close/>
                      <a:moveTo>
                        <a:pt x="152" y="120"/>
                      </a:moveTo>
                      <a:cubicBezTo>
                        <a:pt x="72" y="120"/>
                        <a:pt x="72" y="120"/>
                        <a:pt x="72" y="120"/>
                      </a:cubicBezTo>
                      <a:cubicBezTo>
                        <a:pt x="72" y="216"/>
                        <a:pt x="72" y="216"/>
                        <a:pt x="72" y="216"/>
                      </a:cubicBezTo>
                      <a:cubicBezTo>
                        <a:pt x="152" y="216"/>
                        <a:pt x="152" y="216"/>
                        <a:pt x="152" y="216"/>
                      </a:cubicBezTo>
                      <a:lnTo>
                        <a:pt x="152" y="120"/>
                      </a:lnTo>
                      <a:close/>
                      <a:moveTo>
                        <a:pt x="216" y="56"/>
                      </a:moveTo>
                      <a:cubicBezTo>
                        <a:pt x="30" y="56"/>
                        <a:pt x="30" y="56"/>
                        <a:pt x="30" y="56"/>
                      </a:cubicBezTo>
                      <a:cubicBezTo>
                        <a:pt x="8" y="80"/>
                        <a:pt x="8" y="80"/>
                        <a:pt x="8" y="80"/>
                      </a:cubicBezTo>
                      <a:cubicBezTo>
                        <a:pt x="8" y="168"/>
                        <a:pt x="8" y="168"/>
                        <a:pt x="8" y="168"/>
                      </a:cubicBezTo>
                      <a:cubicBezTo>
                        <a:pt x="64" y="168"/>
                        <a:pt x="64" y="168"/>
                        <a:pt x="64" y="168"/>
                      </a:cubicBezTo>
                      <a:cubicBezTo>
                        <a:pt x="64" y="112"/>
                        <a:pt x="64" y="112"/>
                        <a:pt x="64" y="112"/>
                      </a:cubicBezTo>
                      <a:cubicBezTo>
                        <a:pt x="160" y="112"/>
                        <a:pt x="160" y="112"/>
                        <a:pt x="160" y="112"/>
                      </a:cubicBezTo>
                      <a:cubicBezTo>
                        <a:pt x="160" y="168"/>
                        <a:pt x="160" y="168"/>
                        <a:pt x="160" y="168"/>
                      </a:cubicBezTo>
                      <a:cubicBezTo>
                        <a:pt x="216" y="168"/>
                        <a:pt x="216" y="168"/>
                        <a:pt x="216" y="168"/>
                      </a:cubicBezTo>
                      <a:lnTo>
                        <a:pt x="216" y="56"/>
                      </a:lnTo>
                      <a:close/>
                      <a:moveTo>
                        <a:pt x="194" y="72"/>
                      </a:moveTo>
                      <a:cubicBezTo>
                        <a:pt x="197" y="72"/>
                        <a:pt x="200" y="75"/>
                        <a:pt x="200" y="78"/>
                      </a:cubicBezTo>
                      <a:cubicBezTo>
                        <a:pt x="200" y="81"/>
                        <a:pt x="197" y="84"/>
                        <a:pt x="194" y="84"/>
                      </a:cubicBezTo>
                      <a:cubicBezTo>
                        <a:pt x="191" y="84"/>
                        <a:pt x="188" y="81"/>
                        <a:pt x="188" y="78"/>
                      </a:cubicBezTo>
                      <a:cubicBezTo>
                        <a:pt x="188" y="75"/>
                        <a:pt x="191" y="72"/>
                        <a:pt x="194" y="72"/>
                      </a:cubicBezTo>
                      <a:close/>
                      <a:moveTo>
                        <a:pt x="152" y="8"/>
                      </a:moveTo>
                      <a:cubicBezTo>
                        <a:pt x="72" y="8"/>
                        <a:pt x="72" y="8"/>
                        <a:pt x="72" y="8"/>
                      </a:cubicBezTo>
                      <a:cubicBezTo>
                        <a:pt x="72" y="48"/>
                        <a:pt x="72" y="48"/>
                        <a:pt x="72" y="48"/>
                      </a:cubicBezTo>
                      <a:cubicBezTo>
                        <a:pt x="152" y="48"/>
                        <a:pt x="152" y="48"/>
                        <a:pt x="152" y="48"/>
                      </a:cubicBezTo>
                      <a:lnTo>
                        <a:pt x="152" y="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dirty="0"/>
                </a:p>
              </p:txBody>
            </p:sp>
          </p:grpSp>
        </p:grpSp>
        <p:cxnSp>
          <p:nvCxnSpPr>
            <p:cNvPr id="139" name="直接连接符 138">
              <a:extLst>
                <a:ext uri="{FF2B5EF4-FFF2-40B4-BE49-F238E27FC236}">
                  <a16:creationId xmlns:a16="http://schemas.microsoft.com/office/drawing/2014/main" id="{AE86868A-D306-4CD9-816A-8B827DCB5712}"/>
                </a:ext>
              </a:extLst>
            </p:cNvPr>
            <p:cNvCxnSpPr>
              <a:cxnSpLocks/>
            </p:cNvCxnSpPr>
            <p:nvPr/>
          </p:nvCxnSpPr>
          <p:spPr>
            <a:xfrm>
              <a:off x="670718" y="3399564"/>
              <a:ext cx="2815282" cy="0"/>
            </a:xfrm>
            <a:prstGeom prst="line">
              <a:avLst/>
            </a:prstGeom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0" name="ïşlîḓe">
              <a:extLst>
                <a:ext uri="{FF2B5EF4-FFF2-40B4-BE49-F238E27FC236}">
                  <a16:creationId xmlns:a16="http://schemas.microsoft.com/office/drawing/2014/main" id="{140E2173-B775-43CB-9B4E-EDF8179736F1}"/>
                </a:ext>
              </a:extLst>
            </p:cNvPr>
            <p:cNvGrpSpPr/>
            <p:nvPr/>
          </p:nvGrpSpPr>
          <p:grpSpPr>
            <a:xfrm>
              <a:off x="670718" y="1626871"/>
              <a:ext cx="2906075" cy="1306539"/>
              <a:chOff x="719137" y="2442364"/>
              <a:chExt cx="5376847" cy="1306539"/>
            </a:xfrm>
          </p:grpSpPr>
          <p:sp>
            <p:nvSpPr>
              <p:cNvPr id="151" name="išḷíḋê">
                <a:extLst>
                  <a:ext uri="{FF2B5EF4-FFF2-40B4-BE49-F238E27FC236}">
                    <a16:creationId xmlns:a16="http://schemas.microsoft.com/office/drawing/2014/main" id="{0D9E8A89-E296-4C1D-994F-83434A1949DA}"/>
                  </a:ext>
                </a:extLst>
              </p:cNvPr>
              <p:cNvSpPr/>
              <p:nvPr/>
            </p:nvSpPr>
            <p:spPr bwMode="auto">
              <a:xfrm>
                <a:off x="719137" y="2884168"/>
                <a:ext cx="5376845" cy="8647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52" name="iś1íḋê">
                <a:extLst>
                  <a:ext uri="{FF2B5EF4-FFF2-40B4-BE49-F238E27FC236}">
                    <a16:creationId xmlns:a16="http://schemas.microsoft.com/office/drawing/2014/main" id="{7D4FFF94-4B14-4976-8914-E0134944CEEE}"/>
                  </a:ext>
                </a:extLst>
              </p:cNvPr>
              <p:cNvSpPr txBox="1"/>
              <p:nvPr/>
            </p:nvSpPr>
            <p:spPr bwMode="auto">
              <a:xfrm>
                <a:off x="719137" y="2442364"/>
                <a:ext cx="5376847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141" name="íśľïḓê">
              <a:extLst>
                <a:ext uri="{FF2B5EF4-FFF2-40B4-BE49-F238E27FC236}">
                  <a16:creationId xmlns:a16="http://schemas.microsoft.com/office/drawing/2014/main" id="{15264C7B-CDDB-4511-8450-93115A1ED4DC}"/>
                </a:ext>
              </a:extLst>
            </p:cNvPr>
            <p:cNvGrpSpPr/>
            <p:nvPr/>
          </p:nvGrpSpPr>
          <p:grpSpPr>
            <a:xfrm>
              <a:off x="670718" y="3924590"/>
              <a:ext cx="2906075" cy="1306539"/>
              <a:chOff x="719137" y="2442364"/>
              <a:chExt cx="5376847" cy="1306539"/>
            </a:xfrm>
          </p:grpSpPr>
          <p:sp>
            <p:nvSpPr>
              <p:cNvPr id="149" name="iṩḷïḋê">
                <a:extLst>
                  <a:ext uri="{FF2B5EF4-FFF2-40B4-BE49-F238E27FC236}">
                    <a16:creationId xmlns:a16="http://schemas.microsoft.com/office/drawing/2014/main" id="{FA230EC3-DA4E-4AE7-8DF6-670688A4C6E7}"/>
                  </a:ext>
                </a:extLst>
              </p:cNvPr>
              <p:cNvSpPr/>
              <p:nvPr/>
            </p:nvSpPr>
            <p:spPr bwMode="auto">
              <a:xfrm>
                <a:off x="719137" y="2884168"/>
                <a:ext cx="5376845" cy="8647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50" name="íṥľiḍè">
                <a:extLst>
                  <a:ext uri="{FF2B5EF4-FFF2-40B4-BE49-F238E27FC236}">
                    <a16:creationId xmlns:a16="http://schemas.microsoft.com/office/drawing/2014/main" id="{ACD5F842-FD42-4D48-9E04-9F251626759D}"/>
                  </a:ext>
                </a:extLst>
              </p:cNvPr>
              <p:cNvSpPr txBox="1"/>
              <p:nvPr/>
            </p:nvSpPr>
            <p:spPr bwMode="auto">
              <a:xfrm>
                <a:off x="719137" y="2442364"/>
                <a:ext cx="5376847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142" name="íṡlîḑè">
              <a:extLst>
                <a:ext uri="{FF2B5EF4-FFF2-40B4-BE49-F238E27FC236}">
                  <a16:creationId xmlns:a16="http://schemas.microsoft.com/office/drawing/2014/main" id="{72154A13-547D-46CC-834B-C422A21B2203}"/>
                </a:ext>
              </a:extLst>
            </p:cNvPr>
            <p:cNvGrpSpPr/>
            <p:nvPr/>
          </p:nvGrpSpPr>
          <p:grpSpPr>
            <a:xfrm>
              <a:off x="8615207" y="1626871"/>
              <a:ext cx="2906075" cy="1306539"/>
              <a:chOff x="719137" y="2442364"/>
              <a:chExt cx="5376847" cy="1306539"/>
            </a:xfrm>
          </p:grpSpPr>
          <p:sp>
            <p:nvSpPr>
              <p:cNvPr id="147" name="íSlíḋè">
                <a:extLst>
                  <a:ext uri="{FF2B5EF4-FFF2-40B4-BE49-F238E27FC236}">
                    <a16:creationId xmlns:a16="http://schemas.microsoft.com/office/drawing/2014/main" id="{6C81BD72-0F89-4FCF-B39A-8C0E75DE450D}"/>
                  </a:ext>
                </a:extLst>
              </p:cNvPr>
              <p:cNvSpPr/>
              <p:nvPr/>
            </p:nvSpPr>
            <p:spPr bwMode="auto">
              <a:xfrm>
                <a:off x="719137" y="2884168"/>
                <a:ext cx="5376845" cy="8647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 algn="r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 algn="r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48" name="îṣlîďê">
                <a:extLst>
                  <a:ext uri="{FF2B5EF4-FFF2-40B4-BE49-F238E27FC236}">
                    <a16:creationId xmlns:a16="http://schemas.microsoft.com/office/drawing/2014/main" id="{DFAA57E1-93A9-4193-9CCC-B6790E203AF7}"/>
                  </a:ext>
                </a:extLst>
              </p:cNvPr>
              <p:cNvSpPr txBox="1"/>
              <p:nvPr/>
            </p:nvSpPr>
            <p:spPr bwMode="auto">
              <a:xfrm>
                <a:off x="719137" y="2442364"/>
                <a:ext cx="5376847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143" name="ïṥľiḑè">
              <a:extLst>
                <a:ext uri="{FF2B5EF4-FFF2-40B4-BE49-F238E27FC236}">
                  <a16:creationId xmlns:a16="http://schemas.microsoft.com/office/drawing/2014/main" id="{C5332A81-21DF-43C0-BB25-EF49200226FA}"/>
                </a:ext>
              </a:extLst>
            </p:cNvPr>
            <p:cNvGrpSpPr/>
            <p:nvPr/>
          </p:nvGrpSpPr>
          <p:grpSpPr>
            <a:xfrm>
              <a:off x="8615207" y="3924590"/>
              <a:ext cx="2906075" cy="1306539"/>
              <a:chOff x="719137" y="2442364"/>
              <a:chExt cx="5376847" cy="1306539"/>
            </a:xfrm>
          </p:grpSpPr>
          <p:sp>
            <p:nvSpPr>
              <p:cNvPr id="145" name="îśḷidê">
                <a:extLst>
                  <a:ext uri="{FF2B5EF4-FFF2-40B4-BE49-F238E27FC236}">
                    <a16:creationId xmlns:a16="http://schemas.microsoft.com/office/drawing/2014/main" id="{1EF700AD-E2BB-4D0F-95AA-B8B7FBE1A052}"/>
                  </a:ext>
                </a:extLst>
              </p:cNvPr>
              <p:cNvSpPr/>
              <p:nvPr/>
            </p:nvSpPr>
            <p:spPr bwMode="auto">
              <a:xfrm>
                <a:off x="719137" y="2884168"/>
                <a:ext cx="5376845" cy="8647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 algn="r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 algn="r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46" name="isḷíďé">
                <a:extLst>
                  <a:ext uri="{FF2B5EF4-FFF2-40B4-BE49-F238E27FC236}">
                    <a16:creationId xmlns:a16="http://schemas.microsoft.com/office/drawing/2014/main" id="{D37496CF-F79B-4A2F-91B7-094E2E312B2F}"/>
                  </a:ext>
                </a:extLst>
              </p:cNvPr>
              <p:cNvSpPr txBox="1"/>
              <p:nvPr/>
            </p:nvSpPr>
            <p:spPr bwMode="auto">
              <a:xfrm>
                <a:off x="719137" y="2442364"/>
                <a:ext cx="5376847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cxnSp>
          <p:nvCxnSpPr>
            <p:cNvPr id="144" name="直接连接符 143">
              <a:extLst>
                <a:ext uri="{FF2B5EF4-FFF2-40B4-BE49-F238E27FC236}">
                  <a16:creationId xmlns:a16="http://schemas.microsoft.com/office/drawing/2014/main" id="{AE86868A-D306-4CD9-816A-8B827DCB5712}"/>
                </a:ext>
              </a:extLst>
            </p:cNvPr>
            <p:cNvCxnSpPr>
              <a:cxnSpLocks/>
            </p:cNvCxnSpPr>
            <p:nvPr/>
          </p:nvCxnSpPr>
          <p:spPr>
            <a:xfrm>
              <a:off x="8703618" y="3399564"/>
              <a:ext cx="2815282" cy="0"/>
            </a:xfrm>
            <a:prstGeom prst="line">
              <a:avLst/>
            </a:prstGeom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18894777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3BB8A01-015D-4131-8868-88B6B84795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ED46C33-F78E-44F9-B745-BF0AC48178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AC2CAFF-B654-42ED-B81B-213FE35DBB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grpSp>
        <p:nvGrpSpPr>
          <p:cNvPr id="103" name="416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7ED50D91-BA85-407C-9C5B-450B9863602B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5" y="1123949"/>
            <a:ext cx="10850562" cy="4981428"/>
            <a:chOff x="669925" y="1123949"/>
            <a:chExt cx="10850562" cy="4981428"/>
          </a:xfrm>
        </p:grpSpPr>
        <p:grpSp>
          <p:nvGrpSpPr>
            <p:cNvPr id="104" name="íṩ1îdé">
              <a:extLst>
                <a:ext uri="{FF2B5EF4-FFF2-40B4-BE49-F238E27FC236}">
                  <a16:creationId xmlns:a16="http://schemas.microsoft.com/office/drawing/2014/main" id="{38FC4384-4C07-4D95-8036-9D11CBF69321}"/>
                </a:ext>
              </a:extLst>
            </p:cNvPr>
            <p:cNvGrpSpPr/>
            <p:nvPr/>
          </p:nvGrpSpPr>
          <p:grpSpPr>
            <a:xfrm>
              <a:off x="5898831" y="1123949"/>
              <a:ext cx="630869" cy="4981428"/>
              <a:chOff x="5765207" y="1204812"/>
              <a:chExt cx="609979" cy="4816476"/>
            </a:xfrm>
          </p:grpSpPr>
          <p:sp>
            <p:nvSpPr>
              <p:cNvPr id="126" name="ïSlîḓè">
                <a:extLst>
                  <a:ext uri="{FF2B5EF4-FFF2-40B4-BE49-F238E27FC236}">
                    <a16:creationId xmlns:a16="http://schemas.microsoft.com/office/drawing/2014/main" id="{87BC1466-79C7-48F8-A199-65820646DB0C}"/>
                  </a:ext>
                </a:extLst>
              </p:cNvPr>
              <p:cNvSpPr/>
              <p:nvPr/>
            </p:nvSpPr>
            <p:spPr bwMode="auto">
              <a:xfrm>
                <a:off x="5765207" y="1204812"/>
                <a:ext cx="609979" cy="4086493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127" name="íşľîdè">
                <a:extLst>
                  <a:ext uri="{FF2B5EF4-FFF2-40B4-BE49-F238E27FC236}">
                    <a16:creationId xmlns:a16="http://schemas.microsoft.com/office/drawing/2014/main" id="{39861E8F-B226-4AA9-8882-EDD31EF89984}"/>
                  </a:ext>
                </a:extLst>
              </p:cNvPr>
              <p:cNvSpPr/>
              <p:nvPr/>
            </p:nvSpPr>
            <p:spPr bwMode="auto">
              <a:xfrm flipV="1">
                <a:off x="5816813" y="5291307"/>
                <a:ext cx="558373" cy="729980"/>
              </a:xfrm>
              <a:prstGeom prst="triangl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128" name="îṡľîḑè">
                <a:extLst>
                  <a:ext uri="{FF2B5EF4-FFF2-40B4-BE49-F238E27FC236}">
                    <a16:creationId xmlns:a16="http://schemas.microsoft.com/office/drawing/2014/main" id="{FBC3B788-4219-40D7-862B-9F3B1F771FD7}"/>
                  </a:ext>
                </a:extLst>
              </p:cNvPr>
              <p:cNvSpPr/>
              <p:nvPr/>
            </p:nvSpPr>
            <p:spPr bwMode="auto">
              <a:xfrm flipV="1">
                <a:off x="5988050" y="5783163"/>
                <a:ext cx="220662" cy="238125"/>
              </a:xfrm>
              <a:prstGeom prst="triangle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</p:grpSp>
        <p:grpSp>
          <p:nvGrpSpPr>
            <p:cNvPr id="105" name="íślïḑè">
              <a:extLst>
                <a:ext uri="{FF2B5EF4-FFF2-40B4-BE49-F238E27FC236}">
                  <a16:creationId xmlns:a16="http://schemas.microsoft.com/office/drawing/2014/main" id="{24900CDF-6E0E-4A5B-A804-8A381703C513}"/>
                </a:ext>
              </a:extLst>
            </p:cNvPr>
            <p:cNvGrpSpPr/>
            <p:nvPr/>
          </p:nvGrpSpPr>
          <p:grpSpPr>
            <a:xfrm>
              <a:off x="669925" y="2633650"/>
              <a:ext cx="5859777" cy="1193765"/>
              <a:chOff x="669925" y="1720832"/>
              <a:chExt cx="5859777" cy="1193765"/>
            </a:xfrm>
          </p:grpSpPr>
          <p:grpSp>
            <p:nvGrpSpPr>
              <p:cNvPr id="120" name="íṥlîďè">
                <a:extLst>
                  <a:ext uri="{FF2B5EF4-FFF2-40B4-BE49-F238E27FC236}">
                    <a16:creationId xmlns:a16="http://schemas.microsoft.com/office/drawing/2014/main" id="{2DB47932-BB18-4F27-AA21-715573DFA9A2}"/>
                  </a:ext>
                </a:extLst>
              </p:cNvPr>
              <p:cNvGrpSpPr/>
              <p:nvPr/>
            </p:nvGrpSpPr>
            <p:grpSpPr>
              <a:xfrm>
                <a:off x="5286374" y="1720832"/>
                <a:ext cx="1243328" cy="1193765"/>
                <a:chOff x="5286374" y="1720832"/>
                <a:chExt cx="1243328" cy="1193765"/>
              </a:xfrm>
            </p:grpSpPr>
            <p:sp>
              <p:nvSpPr>
                <p:cNvPr id="124" name="iSlíḋe">
                  <a:extLst>
                    <a:ext uri="{FF2B5EF4-FFF2-40B4-BE49-F238E27FC236}">
                      <a16:creationId xmlns:a16="http://schemas.microsoft.com/office/drawing/2014/main" id="{F61AAF1F-B602-45AB-A24B-0A9F406A5AD7}"/>
                    </a:ext>
                  </a:extLst>
                </p:cNvPr>
                <p:cNvSpPr/>
                <p:nvPr/>
              </p:nvSpPr>
              <p:spPr bwMode="auto">
                <a:xfrm>
                  <a:off x="5286374" y="1720832"/>
                  <a:ext cx="1243328" cy="1193765"/>
                </a:xfrm>
                <a:prstGeom prst="diamond">
                  <a:avLst/>
                </a:prstGeom>
                <a:solidFill>
                  <a:schemeClr val="accent2"/>
                </a:solidFill>
                <a:ln w="571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dirty="0"/>
                </a:p>
              </p:txBody>
            </p:sp>
            <p:sp>
              <p:nvSpPr>
                <p:cNvPr id="125" name="í$1íḑe">
                  <a:extLst>
                    <a:ext uri="{FF2B5EF4-FFF2-40B4-BE49-F238E27FC236}">
                      <a16:creationId xmlns:a16="http://schemas.microsoft.com/office/drawing/2014/main" id="{9ABB2D8A-F40D-41C1-8EF1-B5915A9AF6CB}"/>
                    </a:ext>
                  </a:extLst>
                </p:cNvPr>
                <p:cNvSpPr/>
                <p:nvPr/>
              </p:nvSpPr>
              <p:spPr bwMode="auto">
                <a:xfrm>
                  <a:off x="5718422" y="2110965"/>
                  <a:ext cx="379231" cy="413499"/>
                </a:xfrm>
                <a:custGeom>
                  <a:avLst/>
                  <a:gdLst>
                    <a:gd name="T0" fmla="*/ 156 w 208"/>
                    <a:gd name="T1" fmla="*/ 0 h 224"/>
                    <a:gd name="T2" fmla="*/ 156 w 208"/>
                    <a:gd name="T3" fmla="*/ 8 h 224"/>
                    <a:gd name="T4" fmla="*/ 144 w 208"/>
                    <a:gd name="T5" fmla="*/ 8 h 224"/>
                    <a:gd name="T6" fmla="*/ 144 w 208"/>
                    <a:gd name="T7" fmla="*/ 59 h 224"/>
                    <a:gd name="T8" fmla="*/ 208 w 208"/>
                    <a:gd name="T9" fmla="*/ 204 h 224"/>
                    <a:gd name="T10" fmla="*/ 201 w 208"/>
                    <a:gd name="T11" fmla="*/ 224 h 224"/>
                    <a:gd name="T12" fmla="*/ 7 w 208"/>
                    <a:gd name="T13" fmla="*/ 224 h 224"/>
                    <a:gd name="T14" fmla="*/ 0 w 208"/>
                    <a:gd name="T15" fmla="*/ 204 h 224"/>
                    <a:gd name="T16" fmla="*/ 64 w 208"/>
                    <a:gd name="T17" fmla="*/ 59 h 224"/>
                    <a:gd name="T18" fmla="*/ 64 w 208"/>
                    <a:gd name="T19" fmla="*/ 8 h 224"/>
                    <a:gd name="T20" fmla="*/ 52 w 208"/>
                    <a:gd name="T21" fmla="*/ 8 h 224"/>
                    <a:gd name="T22" fmla="*/ 52 w 208"/>
                    <a:gd name="T23" fmla="*/ 0 h 224"/>
                    <a:gd name="T24" fmla="*/ 156 w 208"/>
                    <a:gd name="T25" fmla="*/ 0 h 224"/>
                    <a:gd name="T26" fmla="*/ 108 w 208"/>
                    <a:gd name="T27" fmla="*/ 174 h 224"/>
                    <a:gd name="T28" fmla="*/ 106 w 208"/>
                    <a:gd name="T29" fmla="*/ 175 h 224"/>
                    <a:gd name="T30" fmla="*/ 22 w 208"/>
                    <a:gd name="T31" fmla="*/ 174 h 224"/>
                    <a:gd name="T32" fmla="*/ 8 w 208"/>
                    <a:gd name="T33" fmla="*/ 204 h 224"/>
                    <a:gd name="T34" fmla="*/ 13 w 208"/>
                    <a:gd name="T35" fmla="*/ 216 h 224"/>
                    <a:gd name="T36" fmla="*/ 195 w 208"/>
                    <a:gd name="T37" fmla="*/ 216 h 224"/>
                    <a:gd name="T38" fmla="*/ 200 w 208"/>
                    <a:gd name="T39" fmla="*/ 204 h 224"/>
                    <a:gd name="T40" fmla="*/ 185 w 208"/>
                    <a:gd name="T41" fmla="*/ 171 h 224"/>
                    <a:gd name="T42" fmla="*/ 108 w 208"/>
                    <a:gd name="T43" fmla="*/ 174 h 224"/>
                    <a:gd name="T44" fmla="*/ 136 w 208"/>
                    <a:gd name="T45" fmla="*/ 8 h 224"/>
                    <a:gd name="T46" fmla="*/ 72 w 208"/>
                    <a:gd name="T47" fmla="*/ 8 h 224"/>
                    <a:gd name="T48" fmla="*/ 72 w 208"/>
                    <a:gd name="T49" fmla="*/ 61 h 224"/>
                    <a:gd name="T50" fmla="*/ 25 w 208"/>
                    <a:gd name="T51" fmla="*/ 166 h 224"/>
                    <a:gd name="T52" fmla="*/ 101 w 208"/>
                    <a:gd name="T53" fmla="*/ 170 h 224"/>
                    <a:gd name="T54" fmla="*/ 102 w 208"/>
                    <a:gd name="T55" fmla="*/ 169 h 224"/>
                    <a:gd name="T56" fmla="*/ 180 w 208"/>
                    <a:gd name="T57" fmla="*/ 160 h 224"/>
                    <a:gd name="T58" fmla="*/ 136 w 208"/>
                    <a:gd name="T59" fmla="*/ 61 h 224"/>
                    <a:gd name="T60" fmla="*/ 136 w 208"/>
                    <a:gd name="T61" fmla="*/ 8 h 224"/>
                    <a:gd name="T62" fmla="*/ 130 w 208"/>
                    <a:gd name="T63" fmla="*/ 104 h 224"/>
                    <a:gd name="T64" fmla="*/ 148 w 208"/>
                    <a:gd name="T65" fmla="*/ 122 h 224"/>
                    <a:gd name="T66" fmla="*/ 130 w 208"/>
                    <a:gd name="T67" fmla="*/ 140 h 224"/>
                    <a:gd name="T68" fmla="*/ 112 w 208"/>
                    <a:gd name="T69" fmla="*/ 122 h 224"/>
                    <a:gd name="T70" fmla="*/ 130 w 208"/>
                    <a:gd name="T71" fmla="*/ 104 h 224"/>
                    <a:gd name="T72" fmla="*/ 130 w 208"/>
                    <a:gd name="T73" fmla="*/ 112 h 224"/>
                    <a:gd name="T74" fmla="*/ 120 w 208"/>
                    <a:gd name="T75" fmla="*/ 122 h 224"/>
                    <a:gd name="T76" fmla="*/ 130 w 208"/>
                    <a:gd name="T77" fmla="*/ 132 h 224"/>
                    <a:gd name="T78" fmla="*/ 140 w 208"/>
                    <a:gd name="T79" fmla="*/ 122 h 224"/>
                    <a:gd name="T80" fmla="*/ 130 w 208"/>
                    <a:gd name="T81" fmla="*/ 112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208" h="224">
                      <a:moveTo>
                        <a:pt x="156" y="0"/>
                      </a:moveTo>
                      <a:cubicBezTo>
                        <a:pt x="156" y="8"/>
                        <a:pt x="156" y="8"/>
                        <a:pt x="156" y="8"/>
                      </a:cubicBezTo>
                      <a:cubicBezTo>
                        <a:pt x="144" y="8"/>
                        <a:pt x="144" y="8"/>
                        <a:pt x="144" y="8"/>
                      </a:cubicBezTo>
                      <a:cubicBezTo>
                        <a:pt x="144" y="59"/>
                        <a:pt x="144" y="59"/>
                        <a:pt x="144" y="59"/>
                      </a:cubicBezTo>
                      <a:cubicBezTo>
                        <a:pt x="208" y="204"/>
                        <a:pt x="208" y="204"/>
                        <a:pt x="208" y="204"/>
                      </a:cubicBezTo>
                      <a:cubicBezTo>
                        <a:pt x="201" y="224"/>
                        <a:pt x="201" y="224"/>
                        <a:pt x="201" y="224"/>
                      </a:cubicBezTo>
                      <a:cubicBezTo>
                        <a:pt x="7" y="224"/>
                        <a:pt x="7" y="224"/>
                        <a:pt x="7" y="224"/>
                      </a:cubicBezTo>
                      <a:cubicBezTo>
                        <a:pt x="0" y="204"/>
                        <a:pt x="0" y="204"/>
                        <a:pt x="0" y="204"/>
                      </a:cubicBezTo>
                      <a:cubicBezTo>
                        <a:pt x="64" y="59"/>
                        <a:pt x="64" y="59"/>
                        <a:pt x="64" y="59"/>
                      </a:cubicBezTo>
                      <a:cubicBezTo>
                        <a:pt x="64" y="8"/>
                        <a:pt x="64" y="8"/>
                        <a:pt x="64" y="8"/>
                      </a:cubicBezTo>
                      <a:cubicBezTo>
                        <a:pt x="52" y="8"/>
                        <a:pt x="52" y="8"/>
                        <a:pt x="52" y="8"/>
                      </a:cubicBezTo>
                      <a:cubicBezTo>
                        <a:pt x="52" y="0"/>
                        <a:pt x="52" y="0"/>
                        <a:pt x="52" y="0"/>
                      </a:cubicBezTo>
                      <a:lnTo>
                        <a:pt x="156" y="0"/>
                      </a:lnTo>
                      <a:close/>
                      <a:moveTo>
                        <a:pt x="108" y="174"/>
                      </a:moveTo>
                      <a:cubicBezTo>
                        <a:pt x="106" y="175"/>
                        <a:pt x="106" y="175"/>
                        <a:pt x="106" y="175"/>
                      </a:cubicBezTo>
                      <a:cubicBezTo>
                        <a:pt x="83" y="192"/>
                        <a:pt x="50" y="191"/>
                        <a:pt x="22" y="174"/>
                      </a:cubicBezTo>
                      <a:cubicBezTo>
                        <a:pt x="8" y="204"/>
                        <a:pt x="8" y="204"/>
                        <a:pt x="8" y="204"/>
                      </a:cubicBezTo>
                      <a:cubicBezTo>
                        <a:pt x="13" y="216"/>
                        <a:pt x="13" y="216"/>
                        <a:pt x="13" y="216"/>
                      </a:cubicBezTo>
                      <a:cubicBezTo>
                        <a:pt x="195" y="216"/>
                        <a:pt x="195" y="216"/>
                        <a:pt x="195" y="216"/>
                      </a:cubicBezTo>
                      <a:cubicBezTo>
                        <a:pt x="200" y="204"/>
                        <a:pt x="200" y="204"/>
                        <a:pt x="200" y="204"/>
                      </a:cubicBezTo>
                      <a:cubicBezTo>
                        <a:pt x="185" y="171"/>
                        <a:pt x="185" y="171"/>
                        <a:pt x="185" y="171"/>
                      </a:cubicBezTo>
                      <a:cubicBezTo>
                        <a:pt x="159" y="159"/>
                        <a:pt x="128" y="160"/>
                        <a:pt x="108" y="174"/>
                      </a:cubicBezTo>
                      <a:close/>
                      <a:moveTo>
                        <a:pt x="136" y="8"/>
                      </a:moveTo>
                      <a:cubicBezTo>
                        <a:pt x="72" y="8"/>
                        <a:pt x="72" y="8"/>
                        <a:pt x="72" y="8"/>
                      </a:cubicBezTo>
                      <a:cubicBezTo>
                        <a:pt x="72" y="61"/>
                        <a:pt x="72" y="61"/>
                        <a:pt x="72" y="61"/>
                      </a:cubicBezTo>
                      <a:cubicBezTo>
                        <a:pt x="25" y="166"/>
                        <a:pt x="25" y="166"/>
                        <a:pt x="25" y="166"/>
                      </a:cubicBezTo>
                      <a:cubicBezTo>
                        <a:pt x="50" y="182"/>
                        <a:pt x="80" y="183"/>
                        <a:pt x="101" y="170"/>
                      </a:cubicBezTo>
                      <a:cubicBezTo>
                        <a:pt x="102" y="169"/>
                        <a:pt x="102" y="169"/>
                        <a:pt x="102" y="169"/>
                      </a:cubicBezTo>
                      <a:cubicBezTo>
                        <a:pt x="123" y="154"/>
                        <a:pt x="153" y="151"/>
                        <a:pt x="180" y="160"/>
                      </a:cubicBezTo>
                      <a:cubicBezTo>
                        <a:pt x="136" y="61"/>
                        <a:pt x="136" y="61"/>
                        <a:pt x="136" y="61"/>
                      </a:cubicBezTo>
                      <a:lnTo>
                        <a:pt x="136" y="8"/>
                      </a:lnTo>
                      <a:close/>
                      <a:moveTo>
                        <a:pt x="130" y="104"/>
                      </a:moveTo>
                      <a:cubicBezTo>
                        <a:pt x="140" y="104"/>
                        <a:pt x="148" y="112"/>
                        <a:pt x="148" y="122"/>
                      </a:cubicBezTo>
                      <a:cubicBezTo>
                        <a:pt x="148" y="132"/>
                        <a:pt x="140" y="140"/>
                        <a:pt x="130" y="140"/>
                      </a:cubicBezTo>
                      <a:cubicBezTo>
                        <a:pt x="120" y="140"/>
                        <a:pt x="112" y="132"/>
                        <a:pt x="112" y="122"/>
                      </a:cubicBezTo>
                      <a:cubicBezTo>
                        <a:pt x="112" y="112"/>
                        <a:pt x="120" y="104"/>
                        <a:pt x="130" y="104"/>
                      </a:cubicBezTo>
                      <a:close/>
                      <a:moveTo>
                        <a:pt x="130" y="112"/>
                      </a:moveTo>
                      <a:cubicBezTo>
                        <a:pt x="124" y="112"/>
                        <a:pt x="120" y="116"/>
                        <a:pt x="120" y="122"/>
                      </a:cubicBezTo>
                      <a:cubicBezTo>
                        <a:pt x="120" y="128"/>
                        <a:pt x="124" y="132"/>
                        <a:pt x="130" y="132"/>
                      </a:cubicBezTo>
                      <a:cubicBezTo>
                        <a:pt x="136" y="132"/>
                        <a:pt x="140" y="128"/>
                        <a:pt x="140" y="122"/>
                      </a:cubicBezTo>
                      <a:cubicBezTo>
                        <a:pt x="140" y="116"/>
                        <a:pt x="136" y="112"/>
                        <a:pt x="130" y="11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/>
                  <a:ext uri="{AF507438-7753-43e0-B8FC-AC1667EBCBE1}"/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dirty="0"/>
                </a:p>
              </p:txBody>
            </p:sp>
          </p:grpSp>
          <p:grpSp>
            <p:nvGrpSpPr>
              <p:cNvPr id="121" name="íṡļîḋê">
                <a:extLst>
                  <a:ext uri="{FF2B5EF4-FFF2-40B4-BE49-F238E27FC236}">
                    <a16:creationId xmlns:a16="http://schemas.microsoft.com/office/drawing/2014/main" id="{9C146360-9645-4173-BAA2-EC52E29EDC5E}"/>
                  </a:ext>
                </a:extLst>
              </p:cNvPr>
              <p:cNvGrpSpPr/>
              <p:nvPr/>
            </p:nvGrpSpPr>
            <p:grpSpPr>
              <a:xfrm>
                <a:off x="669925" y="1853534"/>
                <a:ext cx="4605122" cy="906236"/>
                <a:chOff x="1316991" y="1986688"/>
                <a:chExt cx="3507423" cy="906236"/>
              </a:xfrm>
            </p:grpSpPr>
            <p:sp>
              <p:nvSpPr>
                <p:cNvPr id="122" name="ïṣ1îḋe">
                  <a:extLst>
                    <a:ext uri="{FF2B5EF4-FFF2-40B4-BE49-F238E27FC236}">
                      <a16:creationId xmlns:a16="http://schemas.microsoft.com/office/drawing/2014/main" id="{29B87C8C-F74D-4B92-BF03-8C0E76CCA189}"/>
                    </a:ext>
                  </a:extLst>
                </p:cNvPr>
                <p:cNvSpPr txBox="1"/>
                <p:nvPr/>
              </p:nvSpPr>
              <p:spPr bwMode="auto">
                <a:xfrm>
                  <a:off x="1316991" y="1986688"/>
                  <a:ext cx="3507423" cy="427605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b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spcBef>
                      <a:spcPct val="0"/>
                    </a:spcBef>
                  </a:pPr>
                  <a:r>
                    <a:rPr lang="en-US" altLang="zh-CN" b="1" dirty="0"/>
                    <a:t>Text here</a:t>
                  </a:r>
                </a:p>
              </p:txBody>
            </p:sp>
            <p:sp>
              <p:nvSpPr>
                <p:cNvPr id="123" name="îṩ1íḑê">
                  <a:extLst>
                    <a:ext uri="{FF2B5EF4-FFF2-40B4-BE49-F238E27FC236}">
                      <a16:creationId xmlns:a16="http://schemas.microsoft.com/office/drawing/2014/main" id="{E6DB3BB2-1A32-4448-85C5-7373ADB772E8}"/>
                    </a:ext>
                  </a:extLst>
                </p:cNvPr>
                <p:cNvSpPr txBox="1"/>
                <p:nvPr/>
              </p:nvSpPr>
              <p:spPr bwMode="auto">
                <a:xfrm>
                  <a:off x="1316991" y="2414294"/>
                  <a:ext cx="3507423" cy="47863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lnSpc>
                      <a:spcPct val="120000"/>
                    </a:lnSpc>
                  </a:pPr>
                  <a:r>
                    <a:rPr lang="en-US" altLang="zh-CN" sz="1200" dirty="0"/>
                    <a:t>Copy paste fonts. Choose the only option to retain text……</a:t>
                  </a:r>
                </a:p>
              </p:txBody>
            </p:sp>
          </p:grpSp>
        </p:grpSp>
        <p:grpSp>
          <p:nvGrpSpPr>
            <p:cNvPr id="106" name="ïŝ1íde">
              <a:extLst>
                <a:ext uri="{FF2B5EF4-FFF2-40B4-BE49-F238E27FC236}">
                  <a16:creationId xmlns:a16="http://schemas.microsoft.com/office/drawing/2014/main" id="{D3CDBF24-81A8-4E7C-A392-F95DFC78CD8A}"/>
                </a:ext>
              </a:extLst>
            </p:cNvPr>
            <p:cNvGrpSpPr/>
            <p:nvPr/>
          </p:nvGrpSpPr>
          <p:grpSpPr>
            <a:xfrm>
              <a:off x="5898833" y="2036768"/>
              <a:ext cx="5621654" cy="1193765"/>
              <a:chOff x="5898833" y="1123950"/>
              <a:chExt cx="5621654" cy="1193765"/>
            </a:xfrm>
          </p:grpSpPr>
          <p:grpSp>
            <p:nvGrpSpPr>
              <p:cNvPr id="114" name="ïslíďé">
                <a:extLst>
                  <a:ext uri="{FF2B5EF4-FFF2-40B4-BE49-F238E27FC236}">
                    <a16:creationId xmlns:a16="http://schemas.microsoft.com/office/drawing/2014/main" id="{D577BA73-C0C0-41FF-942F-84DC5FF320C9}"/>
                  </a:ext>
                </a:extLst>
              </p:cNvPr>
              <p:cNvGrpSpPr/>
              <p:nvPr/>
            </p:nvGrpSpPr>
            <p:grpSpPr>
              <a:xfrm>
                <a:off x="5898833" y="1123950"/>
                <a:ext cx="1243328" cy="1193765"/>
                <a:chOff x="5898833" y="1123950"/>
                <a:chExt cx="1243328" cy="1193765"/>
              </a:xfrm>
            </p:grpSpPr>
            <p:sp>
              <p:nvSpPr>
                <p:cNvPr id="118" name="îslîḍè">
                  <a:extLst>
                    <a:ext uri="{FF2B5EF4-FFF2-40B4-BE49-F238E27FC236}">
                      <a16:creationId xmlns:a16="http://schemas.microsoft.com/office/drawing/2014/main" id="{318829E2-D9F4-443E-9B3C-FDF3D49FD6B1}"/>
                    </a:ext>
                  </a:extLst>
                </p:cNvPr>
                <p:cNvSpPr/>
                <p:nvPr/>
              </p:nvSpPr>
              <p:spPr bwMode="auto">
                <a:xfrm>
                  <a:off x="5898833" y="1123950"/>
                  <a:ext cx="1243328" cy="1193765"/>
                </a:xfrm>
                <a:prstGeom prst="diamond">
                  <a:avLst/>
                </a:prstGeom>
                <a:solidFill>
                  <a:schemeClr val="accent1"/>
                </a:solidFill>
                <a:ln w="571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dirty="0"/>
                </a:p>
              </p:txBody>
            </p:sp>
            <p:sp>
              <p:nvSpPr>
                <p:cNvPr id="119" name="ïṩḻiďe">
                  <a:extLst>
                    <a:ext uri="{FF2B5EF4-FFF2-40B4-BE49-F238E27FC236}">
                      <a16:creationId xmlns:a16="http://schemas.microsoft.com/office/drawing/2014/main" id="{CA3ABB45-2871-48B5-97CB-99A85D6F1AD3}"/>
                    </a:ext>
                  </a:extLst>
                </p:cNvPr>
                <p:cNvSpPr/>
                <p:nvPr/>
              </p:nvSpPr>
              <p:spPr bwMode="auto">
                <a:xfrm>
                  <a:off x="6330881" y="1514083"/>
                  <a:ext cx="379231" cy="413499"/>
                </a:xfrm>
                <a:custGeom>
                  <a:avLst/>
                  <a:gdLst>
                    <a:gd name="T0" fmla="*/ 168 w 208"/>
                    <a:gd name="T1" fmla="*/ 0 h 224"/>
                    <a:gd name="T2" fmla="*/ 168 w 208"/>
                    <a:gd name="T3" fmla="*/ 68 h 224"/>
                    <a:gd name="T4" fmla="*/ 108 w 208"/>
                    <a:gd name="T5" fmla="*/ 68 h 224"/>
                    <a:gd name="T6" fmla="*/ 108 w 208"/>
                    <a:gd name="T7" fmla="*/ 124 h 224"/>
                    <a:gd name="T8" fmla="*/ 192 w 208"/>
                    <a:gd name="T9" fmla="*/ 124 h 224"/>
                    <a:gd name="T10" fmla="*/ 192 w 208"/>
                    <a:gd name="T11" fmla="*/ 184 h 224"/>
                    <a:gd name="T12" fmla="*/ 208 w 208"/>
                    <a:gd name="T13" fmla="*/ 184 h 224"/>
                    <a:gd name="T14" fmla="*/ 208 w 208"/>
                    <a:gd name="T15" fmla="*/ 224 h 224"/>
                    <a:gd name="T16" fmla="*/ 168 w 208"/>
                    <a:gd name="T17" fmla="*/ 224 h 224"/>
                    <a:gd name="T18" fmla="*/ 168 w 208"/>
                    <a:gd name="T19" fmla="*/ 184 h 224"/>
                    <a:gd name="T20" fmla="*/ 184 w 208"/>
                    <a:gd name="T21" fmla="*/ 184 h 224"/>
                    <a:gd name="T22" fmla="*/ 184 w 208"/>
                    <a:gd name="T23" fmla="*/ 132 h 224"/>
                    <a:gd name="T24" fmla="*/ 108 w 208"/>
                    <a:gd name="T25" fmla="*/ 132 h 224"/>
                    <a:gd name="T26" fmla="*/ 108 w 208"/>
                    <a:gd name="T27" fmla="*/ 184 h 224"/>
                    <a:gd name="T28" fmla="*/ 124 w 208"/>
                    <a:gd name="T29" fmla="*/ 184 h 224"/>
                    <a:gd name="T30" fmla="*/ 124 w 208"/>
                    <a:gd name="T31" fmla="*/ 224 h 224"/>
                    <a:gd name="T32" fmla="*/ 84 w 208"/>
                    <a:gd name="T33" fmla="*/ 224 h 224"/>
                    <a:gd name="T34" fmla="*/ 84 w 208"/>
                    <a:gd name="T35" fmla="*/ 184 h 224"/>
                    <a:gd name="T36" fmla="*/ 100 w 208"/>
                    <a:gd name="T37" fmla="*/ 184 h 224"/>
                    <a:gd name="T38" fmla="*/ 100 w 208"/>
                    <a:gd name="T39" fmla="*/ 132 h 224"/>
                    <a:gd name="T40" fmla="*/ 24 w 208"/>
                    <a:gd name="T41" fmla="*/ 132 h 224"/>
                    <a:gd name="T42" fmla="*/ 24 w 208"/>
                    <a:gd name="T43" fmla="*/ 184 h 224"/>
                    <a:gd name="T44" fmla="*/ 40 w 208"/>
                    <a:gd name="T45" fmla="*/ 184 h 224"/>
                    <a:gd name="T46" fmla="*/ 40 w 208"/>
                    <a:gd name="T47" fmla="*/ 224 h 224"/>
                    <a:gd name="T48" fmla="*/ 0 w 208"/>
                    <a:gd name="T49" fmla="*/ 224 h 224"/>
                    <a:gd name="T50" fmla="*/ 0 w 208"/>
                    <a:gd name="T51" fmla="*/ 184 h 224"/>
                    <a:gd name="T52" fmla="*/ 16 w 208"/>
                    <a:gd name="T53" fmla="*/ 184 h 224"/>
                    <a:gd name="T54" fmla="*/ 16 w 208"/>
                    <a:gd name="T55" fmla="*/ 124 h 224"/>
                    <a:gd name="T56" fmla="*/ 100 w 208"/>
                    <a:gd name="T57" fmla="*/ 124 h 224"/>
                    <a:gd name="T58" fmla="*/ 100 w 208"/>
                    <a:gd name="T59" fmla="*/ 68 h 224"/>
                    <a:gd name="T60" fmla="*/ 40 w 208"/>
                    <a:gd name="T61" fmla="*/ 68 h 224"/>
                    <a:gd name="T62" fmla="*/ 40 w 208"/>
                    <a:gd name="T63" fmla="*/ 0 h 224"/>
                    <a:gd name="T64" fmla="*/ 168 w 208"/>
                    <a:gd name="T65" fmla="*/ 0 h 224"/>
                    <a:gd name="T66" fmla="*/ 32 w 208"/>
                    <a:gd name="T67" fmla="*/ 192 h 224"/>
                    <a:gd name="T68" fmla="*/ 8 w 208"/>
                    <a:gd name="T69" fmla="*/ 192 h 224"/>
                    <a:gd name="T70" fmla="*/ 8 w 208"/>
                    <a:gd name="T71" fmla="*/ 216 h 224"/>
                    <a:gd name="T72" fmla="*/ 32 w 208"/>
                    <a:gd name="T73" fmla="*/ 216 h 224"/>
                    <a:gd name="T74" fmla="*/ 32 w 208"/>
                    <a:gd name="T75" fmla="*/ 192 h 224"/>
                    <a:gd name="T76" fmla="*/ 116 w 208"/>
                    <a:gd name="T77" fmla="*/ 192 h 224"/>
                    <a:gd name="T78" fmla="*/ 92 w 208"/>
                    <a:gd name="T79" fmla="*/ 192 h 224"/>
                    <a:gd name="T80" fmla="*/ 92 w 208"/>
                    <a:gd name="T81" fmla="*/ 216 h 224"/>
                    <a:gd name="T82" fmla="*/ 116 w 208"/>
                    <a:gd name="T83" fmla="*/ 216 h 224"/>
                    <a:gd name="T84" fmla="*/ 116 w 208"/>
                    <a:gd name="T85" fmla="*/ 192 h 224"/>
                    <a:gd name="T86" fmla="*/ 200 w 208"/>
                    <a:gd name="T87" fmla="*/ 192 h 224"/>
                    <a:gd name="T88" fmla="*/ 176 w 208"/>
                    <a:gd name="T89" fmla="*/ 192 h 224"/>
                    <a:gd name="T90" fmla="*/ 176 w 208"/>
                    <a:gd name="T91" fmla="*/ 216 h 224"/>
                    <a:gd name="T92" fmla="*/ 200 w 208"/>
                    <a:gd name="T93" fmla="*/ 216 h 224"/>
                    <a:gd name="T94" fmla="*/ 200 w 208"/>
                    <a:gd name="T95" fmla="*/ 192 h 224"/>
                    <a:gd name="T96" fmla="*/ 160 w 208"/>
                    <a:gd name="T97" fmla="*/ 8 h 224"/>
                    <a:gd name="T98" fmla="*/ 48 w 208"/>
                    <a:gd name="T99" fmla="*/ 8 h 224"/>
                    <a:gd name="T100" fmla="*/ 48 w 208"/>
                    <a:gd name="T101" fmla="*/ 60 h 224"/>
                    <a:gd name="T102" fmla="*/ 160 w 208"/>
                    <a:gd name="T103" fmla="*/ 60 h 224"/>
                    <a:gd name="T104" fmla="*/ 160 w 208"/>
                    <a:gd name="T105" fmla="*/ 8 h 224"/>
                    <a:gd name="T106" fmla="*/ 66 w 208"/>
                    <a:gd name="T107" fmla="*/ 36 h 224"/>
                    <a:gd name="T108" fmla="*/ 72 w 208"/>
                    <a:gd name="T109" fmla="*/ 42 h 224"/>
                    <a:gd name="T110" fmla="*/ 66 w 208"/>
                    <a:gd name="T111" fmla="*/ 48 h 224"/>
                    <a:gd name="T112" fmla="*/ 60 w 208"/>
                    <a:gd name="T113" fmla="*/ 42 h 224"/>
                    <a:gd name="T114" fmla="*/ 66 w 208"/>
                    <a:gd name="T115" fmla="*/ 36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08" h="224">
                      <a:moveTo>
                        <a:pt x="168" y="0"/>
                      </a:moveTo>
                      <a:cubicBezTo>
                        <a:pt x="168" y="68"/>
                        <a:pt x="168" y="68"/>
                        <a:pt x="168" y="68"/>
                      </a:cubicBezTo>
                      <a:cubicBezTo>
                        <a:pt x="108" y="68"/>
                        <a:pt x="108" y="68"/>
                        <a:pt x="108" y="68"/>
                      </a:cubicBezTo>
                      <a:cubicBezTo>
                        <a:pt x="108" y="124"/>
                        <a:pt x="108" y="124"/>
                        <a:pt x="108" y="124"/>
                      </a:cubicBezTo>
                      <a:cubicBezTo>
                        <a:pt x="192" y="124"/>
                        <a:pt x="192" y="124"/>
                        <a:pt x="192" y="124"/>
                      </a:cubicBezTo>
                      <a:cubicBezTo>
                        <a:pt x="192" y="184"/>
                        <a:pt x="192" y="184"/>
                        <a:pt x="192" y="184"/>
                      </a:cubicBezTo>
                      <a:cubicBezTo>
                        <a:pt x="208" y="184"/>
                        <a:pt x="208" y="184"/>
                        <a:pt x="208" y="184"/>
                      </a:cubicBezTo>
                      <a:cubicBezTo>
                        <a:pt x="208" y="224"/>
                        <a:pt x="208" y="224"/>
                        <a:pt x="208" y="224"/>
                      </a:cubicBezTo>
                      <a:cubicBezTo>
                        <a:pt x="168" y="224"/>
                        <a:pt x="168" y="224"/>
                        <a:pt x="168" y="224"/>
                      </a:cubicBezTo>
                      <a:cubicBezTo>
                        <a:pt x="168" y="184"/>
                        <a:pt x="168" y="184"/>
                        <a:pt x="168" y="184"/>
                      </a:cubicBezTo>
                      <a:cubicBezTo>
                        <a:pt x="184" y="184"/>
                        <a:pt x="184" y="184"/>
                        <a:pt x="184" y="184"/>
                      </a:cubicBezTo>
                      <a:cubicBezTo>
                        <a:pt x="184" y="132"/>
                        <a:pt x="184" y="132"/>
                        <a:pt x="184" y="132"/>
                      </a:cubicBezTo>
                      <a:cubicBezTo>
                        <a:pt x="108" y="132"/>
                        <a:pt x="108" y="132"/>
                        <a:pt x="108" y="132"/>
                      </a:cubicBezTo>
                      <a:cubicBezTo>
                        <a:pt x="108" y="184"/>
                        <a:pt x="108" y="184"/>
                        <a:pt x="108" y="184"/>
                      </a:cubicBezTo>
                      <a:cubicBezTo>
                        <a:pt x="124" y="184"/>
                        <a:pt x="124" y="184"/>
                        <a:pt x="124" y="184"/>
                      </a:cubicBezTo>
                      <a:cubicBezTo>
                        <a:pt x="124" y="224"/>
                        <a:pt x="124" y="224"/>
                        <a:pt x="124" y="224"/>
                      </a:cubicBezTo>
                      <a:cubicBezTo>
                        <a:pt x="84" y="224"/>
                        <a:pt x="84" y="224"/>
                        <a:pt x="84" y="224"/>
                      </a:cubicBezTo>
                      <a:cubicBezTo>
                        <a:pt x="84" y="184"/>
                        <a:pt x="84" y="184"/>
                        <a:pt x="84" y="184"/>
                      </a:cubicBezTo>
                      <a:cubicBezTo>
                        <a:pt x="100" y="184"/>
                        <a:pt x="100" y="184"/>
                        <a:pt x="100" y="184"/>
                      </a:cubicBezTo>
                      <a:cubicBezTo>
                        <a:pt x="100" y="132"/>
                        <a:pt x="100" y="132"/>
                        <a:pt x="100" y="132"/>
                      </a:cubicBezTo>
                      <a:cubicBezTo>
                        <a:pt x="24" y="132"/>
                        <a:pt x="24" y="132"/>
                        <a:pt x="24" y="132"/>
                      </a:cubicBezTo>
                      <a:cubicBezTo>
                        <a:pt x="24" y="184"/>
                        <a:pt x="24" y="184"/>
                        <a:pt x="24" y="184"/>
                      </a:cubicBezTo>
                      <a:cubicBezTo>
                        <a:pt x="40" y="184"/>
                        <a:pt x="40" y="184"/>
                        <a:pt x="40" y="184"/>
                      </a:cubicBezTo>
                      <a:cubicBezTo>
                        <a:pt x="40" y="224"/>
                        <a:pt x="40" y="224"/>
                        <a:pt x="40" y="224"/>
                      </a:cubicBezTo>
                      <a:cubicBezTo>
                        <a:pt x="0" y="224"/>
                        <a:pt x="0" y="224"/>
                        <a:pt x="0" y="224"/>
                      </a:cubicBezTo>
                      <a:cubicBezTo>
                        <a:pt x="0" y="184"/>
                        <a:pt x="0" y="184"/>
                        <a:pt x="0" y="184"/>
                      </a:cubicBezTo>
                      <a:cubicBezTo>
                        <a:pt x="16" y="184"/>
                        <a:pt x="16" y="184"/>
                        <a:pt x="16" y="184"/>
                      </a:cubicBezTo>
                      <a:cubicBezTo>
                        <a:pt x="16" y="124"/>
                        <a:pt x="16" y="124"/>
                        <a:pt x="16" y="124"/>
                      </a:cubicBezTo>
                      <a:cubicBezTo>
                        <a:pt x="100" y="124"/>
                        <a:pt x="100" y="124"/>
                        <a:pt x="100" y="124"/>
                      </a:cubicBezTo>
                      <a:cubicBezTo>
                        <a:pt x="100" y="68"/>
                        <a:pt x="100" y="68"/>
                        <a:pt x="100" y="68"/>
                      </a:cubicBezTo>
                      <a:cubicBezTo>
                        <a:pt x="40" y="68"/>
                        <a:pt x="40" y="68"/>
                        <a:pt x="40" y="68"/>
                      </a:cubicBezTo>
                      <a:cubicBezTo>
                        <a:pt x="40" y="0"/>
                        <a:pt x="40" y="0"/>
                        <a:pt x="40" y="0"/>
                      </a:cubicBezTo>
                      <a:lnTo>
                        <a:pt x="168" y="0"/>
                      </a:lnTo>
                      <a:close/>
                      <a:moveTo>
                        <a:pt x="32" y="192"/>
                      </a:moveTo>
                      <a:cubicBezTo>
                        <a:pt x="8" y="192"/>
                        <a:pt x="8" y="192"/>
                        <a:pt x="8" y="192"/>
                      </a:cubicBezTo>
                      <a:cubicBezTo>
                        <a:pt x="8" y="216"/>
                        <a:pt x="8" y="216"/>
                        <a:pt x="8" y="216"/>
                      </a:cubicBezTo>
                      <a:cubicBezTo>
                        <a:pt x="32" y="216"/>
                        <a:pt x="32" y="216"/>
                        <a:pt x="32" y="216"/>
                      </a:cubicBezTo>
                      <a:lnTo>
                        <a:pt x="32" y="192"/>
                      </a:lnTo>
                      <a:close/>
                      <a:moveTo>
                        <a:pt x="116" y="192"/>
                      </a:moveTo>
                      <a:cubicBezTo>
                        <a:pt x="92" y="192"/>
                        <a:pt x="92" y="192"/>
                        <a:pt x="92" y="192"/>
                      </a:cubicBezTo>
                      <a:cubicBezTo>
                        <a:pt x="92" y="216"/>
                        <a:pt x="92" y="216"/>
                        <a:pt x="92" y="216"/>
                      </a:cubicBezTo>
                      <a:cubicBezTo>
                        <a:pt x="116" y="216"/>
                        <a:pt x="116" y="216"/>
                        <a:pt x="116" y="216"/>
                      </a:cubicBezTo>
                      <a:lnTo>
                        <a:pt x="116" y="192"/>
                      </a:lnTo>
                      <a:close/>
                      <a:moveTo>
                        <a:pt x="200" y="192"/>
                      </a:moveTo>
                      <a:cubicBezTo>
                        <a:pt x="176" y="192"/>
                        <a:pt x="176" y="192"/>
                        <a:pt x="176" y="192"/>
                      </a:cubicBezTo>
                      <a:cubicBezTo>
                        <a:pt x="176" y="216"/>
                        <a:pt x="176" y="216"/>
                        <a:pt x="176" y="216"/>
                      </a:cubicBezTo>
                      <a:cubicBezTo>
                        <a:pt x="200" y="216"/>
                        <a:pt x="200" y="216"/>
                        <a:pt x="200" y="216"/>
                      </a:cubicBezTo>
                      <a:lnTo>
                        <a:pt x="200" y="192"/>
                      </a:lnTo>
                      <a:close/>
                      <a:moveTo>
                        <a:pt x="160" y="8"/>
                      </a:moveTo>
                      <a:cubicBezTo>
                        <a:pt x="48" y="8"/>
                        <a:pt x="48" y="8"/>
                        <a:pt x="48" y="8"/>
                      </a:cubicBezTo>
                      <a:cubicBezTo>
                        <a:pt x="48" y="60"/>
                        <a:pt x="48" y="60"/>
                        <a:pt x="48" y="60"/>
                      </a:cubicBezTo>
                      <a:cubicBezTo>
                        <a:pt x="160" y="60"/>
                        <a:pt x="160" y="60"/>
                        <a:pt x="160" y="60"/>
                      </a:cubicBezTo>
                      <a:lnTo>
                        <a:pt x="160" y="8"/>
                      </a:lnTo>
                      <a:close/>
                      <a:moveTo>
                        <a:pt x="66" y="36"/>
                      </a:moveTo>
                      <a:cubicBezTo>
                        <a:pt x="69" y="36"/>
                        <a:pt x="72" y="39"/>
                        <a:pt x="72" y="42"/>
                      </a:cubicBezTo>
                      <a:cubicBezTo>
                        <a:pt x="72" y="45"/>
                        <a:pt x="69" y="48"/>
                        <a:pt x="66" y="48"/>
                      </a:cubicBezTo>
                      <a:cubicBezTo>
                        <a:pt x="63" y="48"/>
                        <a:pt x="60" y="45"/>
                        <a:pt x="60" y="42"/>
                      </a:cubicBezTo>
                      <a:cubicBezTo>
                        <a:pt x="60" y="39"/>
                        <a:pt x="63" y="36"/>
                        <a:pt x="66" y="36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/>
                  <a:ext uri="{AF507438-7753-43e0-B8FC-AC1667EBCBE1}"/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dirty="0"/>
                </a:p>
              </p:txBody>
            </p:sp>
          </p:grpSp>
          <p:grpSp>
            <p:nvGrpSpPr>
              <p:cNvPr id="115" name="iŝľïďé">
                <a:extLst>
                  <a:ext uri="{FF2B5EF4-FFF2-40B4-BE49-F238E27FC236}">
                    <a16:creationId xmlns:a16="http://schemas.microsoft.com/office/drawing/2014/main" id="{3FED140B-D813-48DA-85E2-8F21E18313EB}"/>
                  </a:ext>
                </a:extLst>
              </p:cNvPr>
              <p:cNvGrpSpPr/>
              <p:nvPr/>
            </p:nvGrpSpPr>
            <p:grpSpPr>
              <a:xfrm>
                <a:off x="7142156" y="1301767"/>
                <a:ext cx="4378331" cy="906236"/>
                <a:chOff x="1316991" y="1986688"/>
                <a:chExt cx="3507423" cy="906236"/>
              </a:xfrm>
            </p:grpSpPr>
            <p:sp>
              <p:nvSpPr>
                <p:cNvPr id="116" name="îṩḻiḋé">
                  <a:extLst>
                    <a:ext uri="{FF2B5EF4-FFF2-40B4-BE49-F238E27FC236}">
                      <a16:creationId xmlns:a16="http://schemas.microsoft.com/office/drawing/2014/main" id="{ED1B06DE-8DA8-47D7-B3F3-D1CC5356E07B}"/>
                    </a:ext>
                  </a:extLst>
                </p:cNvPr>
                <p:cNvSpPr txBox="1"/>
                <p:nvPr/>
              </p:nvSpPr>
              <p:spPr bwMode="auto">
                <a:xfrm>
                  <a:off x="1316991" y="1986688"/>
                  <a:ext cx="3507423" cy="427605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b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spcBef>
                      <a:spcPct val="0"/>
                    </a:spcBef>
                  </a:pPr>
                  <a:r>
                    <a:rPr lang="en-US" altLang="zh-CN" b="1" dirty="0"/>
                    <a:t>Text here</a:t>
                  </a:r>
                </a:p>
              </p:txBody>
            </p:sp>
            <p:sp>
              <p:nvSpPr>
                <p:cNvPr id="117" name="íṧľíḓè">
                  <a:extLst>
                    <a:ext uri="{FF2B5EF4-FFF2-40B4-BE49-F238E27FC236}">
                      <a16:creationId xmlns:a16="http://schemas.microsoft.com/office/drawing/2014/main" id="{AA5FBA0E-A785-4074-9530-B42F8D937B62}"/>
                    </a:ext>
                  </a:extLst>
                </p:cNvPr>
                <p:cNvSpPr txBox="1"/>
                <p:nvPr/>
              </p:nvSpPr>
              <p:spPr bwMode="auto">
                <a:xfrm>
                  <a:off x="1316991" y="2414294"/>
                  <a:ext cx="3507423" cy="47863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lnSpc>
                      <a:spcPct val="120000"/>
                    </a:lnSpc>
                  </a:pPr>
                  <a:r>
                    <a:rPr lang="en-US" altLang="zh-CN" sz="1200" dirty="0"/>
                    <a:t>Copy paste fonts. Choose the only option to retain text……</a:t>
                  </a:r>
                </a:p>
              </p:txBody>
            </p:sp>
          </p:grpSp>
        </p:grpSp>
        <p:grpSp>
          <p:nvGrpSpPr>
            <p:cNvPr id="107" name="ïs1íḋe">
              <a:extLst>
                <a:ext uri="{FF2B5EF4-FFF2-40B4-BE49-F238E27FC236}">
                  <a16:creationId xmlns:a16="http://schemas.microsoft.com/office/drawing/2014/main" id="{440AFB43-3607-4E60-8C39-9C37B49669DE}"/>
                </a:ext>
              </a:extLst>
            </p:cNvPr>
            <p:cNvGrpSpPr/>
            <p:nvPr/>
          </p:nvGrpSpPr>
          <p:grpSpPr>
            <a:xfrm>
              <a:off x="5898833" y="3243808"/>
              <a:ext cx="5621654" cy="1193765"/>
              <a:chOff x="5898833" y="2330990"/>
              <a:chExt cx="5621654" cy="1193765"/>
            </a:xfrm>
          </p:grpSpPr>
          <p:grpSp>
            <p:nvGrpSpPr>
              <p:cNvPr id="108" name="ïṩḷíḑè">
                <a:extLst>
                  <a:ext uri="{FF2B5EF4-FFF2-40B4-BE49-F238E27FC236}">
                    <a16:creationId xmlns:a16="http://schemas.microsoft.com/office/drawing/2014/main" id="{5F6A3172-FB44-49FA-803E-E87E272158D3}"/>
                  </a:ext>
                </a:extLst>
              </p:cNvPr>
              <p:cNvGrpSpPr/>
              <p:nvPr/>
            </p:nvGrpSpPr>
            <p:grpSpPr>
              <a:xfrm>
                <a:off x="5898833" y="2330990"/>
                <a:ext cx="1243328" cy="1193765"/>
                <a:chOff x="5898833" y="2330990"/>
                <a:chExt cx="1243328" cy="1193765"/>
              </a:xfrm>
            </p:grpSpPr>
            <p:sp>
              <p:nvSpPr>
                <p:cNvPr id="112" name="isliḋe">
                  <a:extLst>
                    <a:ext uri="{FF2B5EF4-FFF2-40B4-BE49-F238E27FC236}">
                      <a16:creationId xmlns:a16="http://schemas.microsoft.com/office/drawing/2014/main" id="{606BCFE3-F366-4963-91B2-6D068068101E}"/>
                    </a:ext>
                  </a:extLst>
                </p:cNvPr>
                <p:cNvSpPr/>
                <p:nvPr/>
              </p:nvSpPr>
              <p:spPr bwMode="auto">
                <a:xfrm>
                  <a:off x="5898833" y="2330990"/>
                  <a:ext cx="1243328" cy="1193765"/>
                </a:xfrm>
                <a:prstGeom prst="diamond">
                  <a:avLst/>
                </a:prstGeom>
                <a:solidFill>
                  <a:schemeClr val="accent3"/>
                </a:solidFill>
                <a:ln w="571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dirty="0"/>
                </a:p>
              </p:txBody>
            </p:sp>
            <p:sp>
              <p:nvSpPr>
                <p:cNvPr id="113" name="íṥļíďe">
                  <a:extLst>
                    <a:ext uri="{FF2B5EF4-FFF2-40B4-BE49-F238E27FC236}">
                      <a16:creationId xmlns:a16="http://schemas.microsoft.com/office/drawing/2014/main" id="{D3D71CEF-AFA0-4EBF-A3E4-BDD4E88F611F}"/>
                    </a:ext>
                  </a:extLst>
                </p:cNvPr>
                <p:cNvSpPr/>
                <p:nvPr/>
              </p:nvSpPr>
              <p:spPr bwMode="auto">
                <a:xfrm>
                  <a:off x="6313748" y="2755291"/>
                  <a:ext cx="413499" cy="345161"/>
                </a:xfrm>
                <a:custGeom>
                  <a:avLst/>
                  <a:gdLst>
                    <a:gd name="T0" fmla="*/ 224 w 224"/>
                    <a:gd name="T1" fmla="*/ 0 h 184"/>
                    <a:gd name="T2" fmla="*/ 224 w 224"/>
                    <a:gd name="T3" fmla="*/ 156 h 184"/>
                    <a:gd name="T4" fmla="*/ 86 w 224"/>
                    <a:gd name="T5" fmla="*/ 156 h 184"/>
                    <a:gd name="T6" fmla="*/ 48 w 224"/>
                    <a:gd name="T7" fmla="*/ 184 h 184"/>
                    <a:gd name="T8" fmla="*/ 48 w 224"/>
                    <a:gd name="T9" fmla="*/ 156 h 184"/>
                    <a:gd name="T10" fmla="*/ 0 w 224"/>
                    <a:gd name="T11" fmla="*/ 156 h 184"/>
                    <a:gd name="T12" fmla="*/ 0 w 224"/>
                    <a:gd name="T13" fmla="*/ 0 h 184"/>
                    <a:gd name="T14" fmla="*/ 224 w 224"/>
                    <a:gd name="T15" fmla="*/ 0 h 184"/>
                    <a:gd name="T16" fmla="*/ 216 w 224"/>
                    <a:gd name="T17" fmla="*/ 8 h 184"/>
                    <a:gd name="T18" fmla="*/ 8 w 224"/>
                    <a:gd name="T19" fmla="*/ 8 h 184"/>
                    <a:gd name="T20" fmla="*/ 8 w 224"/>
                    <a:gd name="T21" fmla="*/ 148 h 184"/>
                    <a:gd name="T22" fmla="*/ 56 w 224"/>
                    <a:gd name="T23" fmla="*/ 148 h 184"/>
                    <a:gd name="T24" fmla="*/ 56 w 224"/>
                    <a:gd name="T25" fmla="*/ 168 h 184"/>
                    <a:gd name="T26" fmla="*/ 83 w 224"/>
                    <a:gd name="T27" fmla="*/ 148 h 184"/>
                    <a:gd name="T28" fmla="*/ 216 w 224"/>
                    <a:gd name="T29" fmla="*/ 148 h 184"/>
                    <a:gd name="T30" fmla="*/ 216 w 224"/>
                    <a:gd name="T31" fmla="*/ 8 h 184"/>
                    <a:gd name="T32" fmla="*/ 56 w 224"/>
                    <a:gd name="T33" fmla="*/ 60 h 184"/>
                    <a:gd name="T34" fmla="*/ 74 w 224"/>
                    <a:gd name="T35" fmla="*/ 78 h 184"/>
                    <a:gd name="T36" fmla="*/ 56 w 224"/>
                    <a:gd name="T37" fmla="*/ 96 h 184"/>
                    <a:gd name="T38" fmla="*/ 38 w 224"/>
                    <a:gd name="T39" fmla="*/ 78 h 184"/>
                    <a:gd name="T40" fmla="*/ 56 w 224"/>
                    <a:gd name="T41" fmla="*/ 60 h 184"/>
                    <a:gd name="T42" fmla="*/ 112 w 224"/>
                    <a:gd name="T43" fmla="*/ 60 h 184"/>
                    <a:gd name="T44" fmla="*/ 130 w 224"/>
                    <a:gd name="T45" fmla="*/ 78 h 184"/>
                    <a:gd name="T46" fmla="*/ 112 w 224"/>
                    <a:gd name="T47" fmla="*/ 96 h 184"/>
                    <a:gd name="T48" fmla="*/ 94 w 224"/>
                    <a:gd name="T49" fmla="*/ 78 h 184"/>
                    <a:gd name="T50" fmla="*/ 112 w 224"/>
                    <a:gd name="T51" fmla="*/ 60 h 184"/>
                    <a:gd name="T52" fmla="*/ 168 w 224"/>
                    <a:gd name="T53" fmla="*/ 60 h 184"/>
                    <a:gd name="T54" fmla="*/ 186 w 224"/>
                    <a:gd name="T55" fmla="*/ 78 h 184"/>
                    <a:gd name="T56" fmla="*/ 168 w 224"/>
                    <a:gd name="T57" fmla="*/ 96 h 184"/>
                    <a:gd name="T58" fmla="*/ 150 w 224"/>
                    <a:gd name="T59" fmla="*/ 78 h 184"/>
                    <a:gd name="T60" fmla="*/ 168 w 224"/>
                    <a:gd name="T61" fmla="*/ 60 h 184"/>
                    <a:gd name="T62" fmla="*/ 56 w 224"/>
                    <a:gd name="T63" fmla="*/ 68 h 184"/>
                    <a:gd name="T64" fmla="*/ 46 w 224"/>
                    <a:gd name="T65" fmla="*/ 78 h 184"/>
                    <a:gd name="T66" fmla="*/ 56 w 224"/>
                    <a:gd name="T67" fmla="*/ 88 h 184"/>
                    <a:gd name="T68" fmla="*/ 66 w 224"/>
                    <a:gd name="T69" fmla="*/ 78 h 184"/>
                    <a:gd name="T70" fmla="*/ 56 w 224"/>
                    <a:gd name="T71" fmla="*/ 68 h 184"/>
                    <a:gd name="T72" fmla="*/ 112 w 224"/>
                    <a:gd name="T73" fmla="*/ 68 h 184"/>
                    <a:gd name="T74" fmla="*/ 102 w 224"/>
                    <a:gd name="T75" fmla="*/ 78 h 184"/>
                    <a:gd name="T76" fmla="*/ 112 w 224"/>
                    <a:gd name="T77" fmla="*/ 88 h 184"/>
                    <a:gd name="T78" fmla="*/ 122 w 224"/>
                    <a:gd name="T79" fmla="*/ 78 h 184"/>
                    <a:gd name="T80" fmla="*/ 112 w 224"/>
                    <a:gd name="T81" fmla="*/ 68 h 184"/>
                    <a:gd name="T82" fmla="*/ 168 w 224"/>
                    <a:gd name="T83" fmla="*/ 68 h 184"/>
                    <a:gd name="T84" fmla="*/ 158 w 224"/>
                    <a:gd name="T85" fmla="*/ 78 h 184"/>
                    <a:gd name="T86" fmla="*/ 168 w 224"/>
                    <a:gd name="T87" fmla="*/ 88 h 184"/>
                    <a:gd name="T88" fmla="*/ 178 w 224"/>
                    <a:gd name="T89" fmla="*/ 78 h 184"/>
                    <a:gd name="T90" fmla="*/ 168 w 224"/>
                    <a:gd name="T91" fmla="*/ 68 h 1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224" h="184">
                      <a:moveTo>
                        <a:pt x="224" y="0"/>
                      </a:moveTo>
                      <a:cubicBezTo>
                        <a:pt x="224" y="156"/>
                        <a:pt x="224" y="156"/>
                        <a:pt x="224" y="156"/>
                      </a:cubicBezTo>
                      <a:cubicBezTo>
                        <a:pt x="86" y="156"/>
                        <a:pt x="86" y="156"/>
                        <a:pt x="86" y="156"/>
                      </a:cubicBezTo>
                      <a:cubicBezTo>
                        <a:pt x="48" y="184"/>
                        <a:pt x="48" y="184"/>
                        <a:pt x="48" y="184"/>
                      </a:cubicBezTo>
                      <a:cubicBezTo>
                        <a:pt x="48" y="156"/>
                        <a:pt x="48" y="156"/>
                        <a:pt x="48" y="156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224" y="0"/>
                      </a:lnTo>
                      <a:close/>
                      <a:moveTo>
                        <a:pt x="216" y="8"/>
                      </a:moveTo>
                      <a:cubicBezTo>
                        <a:pt x="8" y="8"/>
                        <a:pt x="8" y="8"/>
                        <a:pt x="8" y="8"/>
                      </a:cubicBezTo>
                      <a:cubicBezTo>
                        <a:pt x="8" y="148"/>
                        <a:pt x="8" y="148"/>
                        <a:pt x="8" y="148"/>
                      </a:cubicBezTo>
                      <a:cubicBezTo>
                        <a:pt x="56" y="148"/>
                        <a:pt x="56" y="148"/>
                        <a:pt x="56" y="148"/>
                      </a:cubicBezTo>
                      <a:cubicBezTo>
                        <a:pt x="56" y="168"/>
                        <a:pt x="56" y="168"/>
                        <a:pt x="56" y="168"/>
                      </a:cubicBezTo>
                      <a:cubicBezTo>
                        <a:pt x="83" y="148"/>
                        <a:pt x="83" y="148"/>
                        <a:pt x="83" y="148"/>
                      </a:cubicBezTo>
                      <a:cubicBezTo>
                        <a:pt x="216" y="148"/>
                        <a:pt x="216" y="148"/>
                        <a:pt x="216" y="148"/>
                      </a:cubicBezTo>
                      <a:lnTo>
                        <a:pt x="216" y="8"/>
                      </a:lnTo>
                      <a:close/>
                      <a:moveTo>
                        <a:pt x="56" y="60"/>
                      </a:moveTo>
                      <a:cubicBezTo>
                        <a:pt x="66" y="60"/>
                        <a:pt x="74" y="68"/>
                        <a:pt x="74" y="78"/>
                      </a:cubicBezTo>
                      <a:cubicBezTo>
                        <a:pt x="74" y="88"/>
                        <a:pt x="66" y="96"/>
                        <a:pt x="56" y="96"/>
                      </a:cubicBezTo>
                      <a:cubicBezTo>
                        <a:pt x="46" y="96"/>
                        <a:pt x="38" y="88"/>
                        <a:pt x="38" y="78"/>
                      </a:cubicBezTo>
                      <a:cubicBezTo>
                        <a:pt x="38" y="68"/>
                        <a:pt x="46" y="60"/>
                        <a:pt x="56" y="60"/>
                      </a:cubicBezTo>
                      <a:close/>
                      <a:moveTo>
                        <a:pt x="112" y="60"/>
                      </a:moveTo>
                      <a:cubicBezTo>
                        <a:pt x="122" y="60"/>
                        <a:pt x="130" y="68"/>
                        <a:pt x="130" y="78"/>
                      </a:cubicBezTo>
                      <a:cubicBezTo>
                        <a:pt x="130" y="88"/>
                        <a:pt x="122" y="96"/>
                        <a:pt x="112" y="96"/>
                      </a:cubicBezTo>
                      <a:cubicBezTo>
                        <a:pt x="102" y="96"/>
                        <a:pt x="94" y="88"/>
                        <a:pt x="94" y="78"/>
                      </a:cubicBezTo>
                      <a:cubicBezTo>
                        <a:pt x="94" y="68"/>
                        <a:pt x="102" y="60"/>
                        <a:pt x="112" y="60"/>
                      </a:cubicBezTo>
                      <a:close/>
                      <a:moveTo>
                        <a:pt x="168" y="60"/>
                      </a:moveTo>
                      <a:cubicBezTo>
                        <a:pt x="178" y="60"/>
                        <a:pt x="186" y="68"/>
                        <a:pt x="186" y="78"/>
                      </a:cubicBezTo>
                      <a:cubicBezTo>
                        <a:pt x="186" y="88"/>
                        <a:pt x="178" y="96"/>
                        <a:pt x="168" y="96"/>
                      </a:cubicBezTo>
                      <a:cubicBezTo>
                        <a:pt x="158" y="96"/>
                        <a:pt x="150" y="88"/>
                        <a:pt x="150" y="78"/>
                      </a:cubicBezTo>
                      <a:cubicBezTo>
                        <a:pt x="150" y="68"/>
                        <a:pt x="158" y="60"/>
                        <a:pt x="168" y="60"/>
                      </a:cubicBezTo>
                      <a:close/>
                      <a:moveTo>
                        <a:pt x="56" y="68"/>
                      </a:moveTo>
                      <a:cubicBezTo>
                        <a:pt x="50" y="68"/>
                        <a:pt x="46" y="72"/>
                        <a:pt x="46" y="78"/>
                      </a:cubicBezTo>
                      <a:cubicBezTo>
                        <a:pt x="46" y="84"/>
                        <a:pt x="50" y="88"/>
                        <a:pt x="56" y="88"/>
                      </a:cubicBezTo>
                      <a:cubicBezTo>
                        <a:pt x="62" y="88"/>
                        <a:pt x="66" y="84"/>
                        <a:pt x="66" y="78"/>
                      </a:cubicBezTo>
                      <a:cubicBezTo>
                        <a:pt x="66" y="72"/>
                        <a:pt x="62" y="68"/>
                        <a:pt x="56" y="68"/>
                      </a:cubicBezTo>
                      <a:close/>
                      <a:moveTo>
                        <a:pt x="112" y="68"/>
                      </a:moveTo>
                      <a:cubicBezTo>
                        <a:pt x="106" y="68"/>
                        <a:pt x="102" y="72"/>
                        <a:pt x="102" y="78"/>
                      </a:cubicBezTo>
                      <a:cubicBezTo>
                        <a:pt x="102" y="84"/>
                        <a:pt x="106" y="88"/>
                        <a:pt x="112" y="88"/>
                      </a:cubicBezTo>
                      <a:cubicBezTo>
                        <a:pt x="118" y="88"/>
                        <a:pt x="122" y="84"/>
                        <a:pt x="122" y="78"/>
                      </a:cubicBezTo>
                      <a:cubicBezTo>
                        <a:pt x="122" y="72"/>
                        <a:pt x="118" y="68"/>
                        <a:pt x="112" y="68"/>
                      </a:cubicBezTo>
                      <a:close/>
                      <a:moveTo>
                        <a:pt x="168" y="68"/>
                      </a:moveTo>
                      <a:cubicBezTo>
                        <a:pt x="162" y="68"/>
                        <a:pt x="158" y="72"/>
                        <a:pt x="158" y="78"/>
                      </a:cubicBezTo>
                      <a:cubicBezTo>
                        <a:pt x="158" y="84"/>
                        <a:pt x="162" y="88"/>
                        <a:pt x="168" y="88"/>
                      </a:cubicBezTo>
                      <a:cubicBezTo>
                        <a:pt x="174" y="88"/>
                        <a:pt x="178" y="84"/>
                        <a:pt x="178" y="78"/>
                      </a:cubicBezTo>
                      <a:cubicBezTo>
                        <a:pt x="178" y="72"/>
                        <a:pt x="174" y="68"/>
                        <a:pt x="168" y="6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/>
                  <a:ext uri="{AF507438-7753-43e0-B8FC-AC1667EBCBE1}"/>
                </a:extLst>
              </p:spPr>
              <p:txBody>
                <a:bodyPr wrap="square" lIns="91440" tIns="45720" rIns="91440" bIns="45720" anchor="ctr">
                  <a:normAutofit fontScale="92500"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dirty="0"/>
                </a:p>
              </p:txBody>
            </p:sp>
          </p:grpSp>
          <p:grpSp>
            <p:nvGrpSpPr>
              <p:cNvPr id="109" name="iṣlíḓè">
                <a:extLst>
                  <a:ext uri="{FF2B5EF4-FFF2-40B4-BE49-F238E27FC236}">
                    <a16:creationId xmlns:a16="http://schemas.microsoft.com/office/drawing/2014/main" id="{ADBF8C88-F844-4367-BD82-9C6580456FEE}"/>
                  </a:ext>
                </a:extLst>
              </p:cNvPr>
              <p:cNvGrpSpPr/>
              <p:nvPr/>
            </p:nvGrpSpPr>
            <p:grpSpPr>
              <a:xfrm>
                <a:off x="7142156" y="2488029"/>
                <a:ext cx="4378331" cy="906236"/>
                <a:chOff x="1316991" y="1986688"/>
                <a:chExt cx="3507423" cy="906236"/>
              </a:xfrm>
            </p:grpSpPr>
            <p:sp>
              <p:nvSpPr>
                <p:cNvPr id="110" name="ïṥḷîḓe">
                  <a:extLst>
                    <a:ext uri="{FF2B5EF4-FFF2-40B4-BE49-F238E27FC236}">
                      <a16:creationId xmlns:a16="http://schemas.microsoft.com/office/drawing/2014/main" id="{946B4E39-AA91-4770-83D7-6EA4AB66E7E0}"/>
                    </a:ext>
                  </a:extLst>
                </p:cNvPr>
                <p:cNvSpPr txBox="1"/>
                <p:nvPr/>
              </p:nvSpPr>
              <p:spPr bwMode="auto">
                <a:xfrm>
                  <a:off x="1316991" y="1986688"/>
                  <a:ext cx="3507423" cy="427605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b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spcBef>
                      <a:spcPct val="0"/>
                    </a:spcBef>
                  </a:pPr>
                  <a:r>
                    <a:rPr lang="en-US" altLang="zh-CN" b="1" dirty="0"/>
                    <a:t>Text here</a:t>
                  </a:r>
                </a:p>
              </p:txBody>
            </p:sp>
            <p:sp>
              <p:nvSpPr>
                <p:cNvPr id="111" name="iṣḷiḓê">
                  <a:extLst>
                    <a:ext uri="{FF2B5EF4-FFF2-40B4-BE49-F238E27FC236}">
                      <a16:creationId xmlns:a16="http://schemas.microsoft.com/office/drawing/2014/main" id="{B336F2F9-839C-49C5-B63F-F21B9E83510E}"/>
                    </a:ext>
                  </a:extLst>
                </p:cNvPr>
                <p:cNvSpPr txBox="1"/>
                <p:nvPr/>
              </p:nvSpPr>
              <p:spPr bwMode="auto">
                <a:xfrm>
                  <a:off x="1316991" y="2414294"/>
                  <a:ext cx="3507423" cy="47863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lnSpc>
                      <a:spcPct val="120000"/>
                    </a:lnSpc>
                  </a:pPr>
                  <a:r>
                    <a:rPr lang="en-US" altLang="zh-CN" sz="1200" dirty="0"/>
                    <a:t>Copy paste fonts. Choose the only option to retain text……</a:t>
                  </a:r>
                </a:p>
              </p:txBody>
            </p:sp>
          </p:grp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8071523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8BDAA1C-1746-42E9-9B48-96DD61C60C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6C0E3C0-D9F5-40D2-A2C5-3C396224E6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CEDB9E5-8A99-4166-96B9-9543E9A40F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sp>
        <p:nvSpPr>
          <p:cNvPr id="215" name="íś1íḋe">
            <a:extLst>
              <a:ext uri="{FF2B5EF4-FFF2-40B4-BE49-F238E27FC236}">
                <a16:creationId xmlns:a16="http://schemas.microsoft.com/office/drawing/2014/main" id="{A7CBDE62-B793-4043-ABC2-394CFF23183D}"/>
              </a:ext>
            </a:extLst>
          </p:cNvPr>
          <p:cNvSpPr/>
          <p:nvPr/>
        </p:nvSpPr>
        <p:spPr bwMode="auto">
          <a:xfrm>
            <a:off x="3098069" y="2563175"/>
            <a:ext cx="597364" cy="498639"/>
          </a:xfrm>
          <a:custGeom>
            <a:avLst/>
            <a:gdLst>
              <a:gd name="T0" fmla="*/ 224 w 224"/>
              <a:gd name="T1" fmla="*/ 0 h 184"/>
              <a:gd name="T2" fmla="*/ 224 w 224"/>
              <a:gd name="T3" fmla="*/ 156 h 184"/>
              <a:gd name="T4" fmla="*/ 86 w 224"/>
              <a:gd name="T5" fmla="*/ 156 h 184"/>
              <a:gd name="T6" fmla="*/ 48 w 224"/>
              <a:gd name="T7" fmla="*/ 184 h 184"/>
              <a:gd name="T8" fmla="*/ 48 w 224"/>
              <a:gd name="T9" fmla="*/ 156 h 184"/>
              <a:gd name="T10" fmla="*/ 0 w 224"/>
              <a:gd name="T11" fmla="*/ 156 h 184"/>
              <a:gd name="T12" fmla="*/ 0 w 224"/>
              <a:gd name="T13" fmla="*/ 0 h 184"/>
              <a:gd name="T14" fmla="*/ 224 w 224"/>
              <a:gd name="T15" fmla="*/ 0 h 184"/>
              <a:gd name="T16" fmla="*/ 216 w 224"/>
              <a:gd name="T17" fmla="*/ 8 h 184"/>
              <a:gd name="T18" fmla="*/ 8 w 224"/>
              <a:gd name="T19" fmla="*/ 8 h 184"/>
              <a:gd name="T20" fmla="*/ 8 w 224"/>
              <a:gd name="T21" fmla="*/ 148 h 184"/>
              <a:gd name="T22" fmla="*/ 56 w 224"/>
              <a:gd name="T23" fmla="*/ 148 h 184"/>
              <a:gd name="T24" fmla="*/ 56 w 224"/>
              <a:gd name="T25" fmla="*/ 168 h 184"/>
              <a:gd name="T26" fmla="*/ 83 w 224"/>
              <a:gd name="T27" fmla="*/ 148 h 184"/>
              <a:gd name="T28" fmla="*/ 216 w 224"/>
              <a:gd name="T29" fmla="*/ 148 h 184"/>
              <a:gd name="T30" fmla="*/ 216 w 224"/>
              <a:gd name="T31" fmla="*/ 8 h 184"/>
              <a:gd name="T32" fmla="*/ 56 w 224"/>
              <a:gd name="T33" fmla="*/ 60 h 184"/>
              <a:gd name="T34" fmla="*/ 74 w 224"/>
              <a:gd name="T35" fmla="*/ 78 h 184"/>
              <a:gd name="T36" fmla="*/ 56 w 224"/>
              <a:gd name="T37" fmla="*/ 96 h 184"/>
              <a:gd name="T38" fmla="*/ 38 w 224"/>
              <a:gd name="T39" fmla="*/ 78 h 184"/>
              <a:gd name="T40" fmla="*/ 56 w 224"/>
              <a:gd name="T41" fmla="*/ 60 h 184"/>
              <a:gd name="T42" fmla="*/ 112 w 224"/>
              <a:gd name="T43" fmla="*/ 60 h 184"/>
              <a:gd name="T44" fmla="*/ 130 w 224"/>
              <a:gd name="T45" fmla="*/ 78 h 184"/>
              <a:gd name="T46" fmla="*/ 112 w 224"/>
              <a:gd name="T47" fmla="*/ 96 h 184"/>
              <a:gd name="T48" fmla="*/ 94 w 224"/>
              <a:gd name="T49" fmla="*/ 78 h 184"/>
              <a:gd name="T50" fmla="*/ 112 w 224"/>
              <a:gd name="T51" fmla="*/ 60 h 184"/>
              <a:gd name="T52" fmla="*/ 168 w 224"/>
              <a:gd name="T53" fmla="*/ 60 h 184"/>
              <a:gd name="T54" fmla="*/ 186 w 224"/>
              <a:gd name="T55" fmla="*/ 78 h 184"/>
              <a:gd name="T56" fmla="*/ 168 w 224"/>
              <a:gd name="T57" fmla="*/ 96 h 184"/>
              <a:gd name="T58" fmla="*/ 150 w 224"/>
              <a:gd name="T59" fmla="*/ 78 h 184"/>
              <a:gd name="T60" fmla="*/ 168 w 224"/>
              <a:gd name="T61" fmla="*/ 60 h 184"/>
              <a:gd name="T62" fmla="*/ 56 w 224"/>
              <a:gd name="T63" fmla="*/ 68 h 184"/>
              <a:gd name="T64" fmla="*/ 46 w 224"/>
              <a:gd name="T65" fmla="*/ 78 h 184"/>
              <a:gd name="T66" fmla="*/ 56 w 224"/>
              <a:gd name="T67" fmla="*/ 88 h 184"/>
              <a:gd name="T68" fmla="*/ 66 w 224"/>
              <a:gd name="T69" fmla="*/ 78 h 184"/>
              <a:gd name="T70" fmla="*/ 56 w 224"/>
              <a:gd name="T71" fmla="*/ 68 h 184"/>
              <a:gd name="T72" fmla="*/ 112 w 224"/>
              <a:gd name="T73" fmla="*/ 68 h 184"/>
              <a:gd name="T74" fmla="*/ 102 w 224"/>
              <a:gd name="T75" fmla="*/ 78 h 184"/>
              <a:gd name="T76" fmla="*/ 112 w 224"/>
              <a:gd name="T77" fmla="*/ 88 h 184"/>
              <a:gd name="T78" fmla="*/ 122 w 224"/>
              <a:gd name="T79" fmla="*/ 78 h 184"/>
              <a:gd name="T80" fmla="*/ 112 w 224"/>
              <a:gd name="T81" fmla="*/ 68 h 184"/>
              <a:gd name="T82" fmla="*/ 168 w 224"/>
              <a:gd name="T83" fmla="*/ 68 h 184"/>
              <a:gd name="T84" fmla="*/ 158 w 224"/>
              <a:gd name="T85" fmla="*/ 78 h 184"/>
              <a:gd name="T86" fmla="*/ 168 w 224"/>
              <a:gd name="T87" fmla="*/ 88 h 184"/>
              <a:gd name="T88" fmla="*/ 178 w 224"/>
              <a:gd name="T89" fmla="*/ 78 h 184"/>
              <a:gd name="T90" fmla="*/ 168 w 224"/>
              <a:gd name="T91" fmla="*/ 68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24" h="184">
                <a:moveTo>
                  <a:pt x="224" y="0"/>
                </a:moveTo>
                <a:cubicBezTo>
                  <a:pt x="224" y="156"/>
                  <a:pt x="224" y="156"/>
                  <a:pt x="224" y="156"/>
                </a:cubicBezTo>
                <a:cubicBezTo>
                  <a:pt x="86" y="156"/>
                  <a:pt x="86" y="156"/>
                  <a:pt x="86" y="156"/>
                </a:cubicBezTo>
                <a:cubicBezTo>
                  <a:pt x="48" y="184"/>
                  <a:pt x="48" y="184"/>
                  <a:pt x="48" y="184"/>
                </a:cubicBezTo>
                <a:cubicBezTo>
                  <a:pt x="48" y="156"/>
                  <a:pt x="48" y="156"/>
                  <a:pt x="48" y="156"/>
                </a:cubicBezTo>
                <a:cubicBezTo>
                  <a:pt x="0" y="156"/>
                  <a:pt x="0" y="156"/>
                  <a:pt x="0" y="156"/>
                </a:cubicBezTo>
                <a:cubicBezTo>
                  <a:pt x="0" y="0"/>
                  <a:pt x="0" y="0"/>
                  <a:pt x="0" y="0"/>
                </a:cubicBezTo>
                <a:lnTo>
                  <a:pt x="224" y="0"/>
                </a:lnTo>
                <a:close/>
                <a:moveTo>
                  <a:pt x="216" y="8"/>
                </a:moveTo>
                <a:cubicBezTo>
                  <a:pt x="8" y="8"/>
                  <a:pt x="8" y="8"/>
                  <a:pt x="8" y="8"/>
                </a:cubicBezTo>
                <a:cubicBezTo>
                  <a:pt x="8" y="148"/>
                  <a:pt x="8" y="148"/>
                  <a:pt x="8" y="148"/>
                </a:cubicBezTo>
                <a:cubicBezTo>
                  <a:pt x="56" y="148"/>
                  <a:pt x="56" y="148"/>
                  <a:pt x="56" y="148"/>
                </a:cubicBezTo>
                <a:cubicBezTo>
                  <a:pt x="56" y="168"/>
                  <a:pt x="56" y="168"/>
                  <a:pt x="56" y="168"/>
                </a:cubicBezTo>
                <a:cubicBezTo>
                  <a:pt x="83" y="148"/>
                  <a:pt x="83" y="148"/>
                  <a:pt x="83" y="148"/>
                </a:cubicBezTo>
                <a:cubicBezTo>
                  <a:pt x="216" y="148"/>
                  <a:pt x="216" y="148"/>
                  <a:pt x="216" y="148"/>
                </a:cubicBezTo>
                <a:lnTo>
                  <a:pt x="216" y="8"/>
                </a:lnTo>
                <a:close/>
                <a:moveTo>
                  <a:pt x="56" y="60"/>
                </a:moveTo>
                <a:cubicBezTo>
                  <a:pt x="66" y="60"/>
                  <a:pt x="74" y="68"/>
                  <a:pt x="74" y="78"/>
                </a:cubicBezTo>
                <a:cubicBezTo>
                  <a:pt x="74" y="88"/>
                  <a:pt x="66" y="96"/>
                  <a:pt x="56" y="96"/>
                </a:cubicBezTo>
                <a:cubicBezTo>
                  <a:pt x="46" y="96"/>
                  <a:pt x="38" y="88"/>
                  <a:pt x="38" y="78"/>
                </a:cubicBezTo>
                <a:cubicBezTo>
                  <a:pt x="38" y="68"/>
                  <a:pt x="46" y="60"/>
                  <a:pt x="56" y="60"/>
                </a:cubicBezTo>
                <a:close/>
                <a:moveTo>
                  <a:pt x="112" y="60"/>
                </a:moveTo>
                <a:cubicBezTo>
                  <a:pt x="122" y="60"/>
                  <a:pt x="130" y="68"/>
                  <a:pt x="130" y="78"/>
                </a:cubicBezTo>
                <a:cubicBezTo>
                  <a:pt x="130" y="88"/>
                  <a:pt x="122" y="96"/>
                  <a:pt x="112" y="96"/>
                </a:cubicBezTo>
                <a:cubicBezTo>
                  <a:pt x="102" y="96"/>
                  <a:pt x="94" y="88"/>
                  <a:pt x="94" y="78"/>
                </a:cubicBezTo>
                <a:cubicBezTo>
                  <a:pt x="94" y="68"/>
                  <a:pt x="102" y="60"/>
                  <a:pt x="112" y="60"/>
                </a:cubicBezTo>
                <a:close/>
                <a:moveTo>
                  <a:pt x="168" y="60"/>
                </a:moveTo>
                <a:cubicBezTo>
                  <a:pt x="178" y="60"/>
                  <a:pt x="186" y="68"/>
                  <a:pt x="186" y="78"/>
                </a:cubicBezTo>
                <a:cubicBezTo>
                  <a:pt x="186" y="88"/>
                  <a:pt x="178" y="96"/>
                  <a:pt x="168" y="96"/>
                </a:cubicBezTo>
                <a:cubicBezTo>
                  <a:pt x="158" y="96"/>
                  <a:pt x="150" y="88"/>
                  <a:pt x="150" y="78"/>
                </a:cubicBezTo>
                <a:cubicBezTo>
                  <a:pt x="150" y="68"/>
                  <a:pt x="158" y="60"/>
                  <a:pt x="168" y="60"/>
                </a:cubicBezTo>
                <a:close/>
                <a:moveTo>
                  <a:pt x="56" y="68"/>
                </a:moveTo>
                <a:cubicBezTo>
                  <a:pt x="50" y="68"/>
                  <a:pt x="46" y="72"/>
                  <a:pt x="46" y="78"/>
                </a:cubicBezTo>
                <a:cubicBezTo>
                  <a:pt x="46" y="84"/>
                  <a:pt x="50" y="88"/>
                  <a:pt x="56" y="88"/>
                </a:cubicBezTo>
                <a:cubicBezTo>
                  <a:pt x="62" y="88"/>
                  <a:pt x="66" y="84"/>
                  <a:pt x="66" y="78"/>
                </a:cubicBezTo>
                <a:cubicBezTo>
                  <a:pt x="66" y="72"/>
                  <a:pt x="62" y="68"/>
                  <a:pt x="56" y="68"/>
                </a:cubicBezTo>
                <a:close/>
                <a:moveTo>
                  <a:pt x="112" y="68"/>
                </a:moveTo>
                <a:cubicBezTo>
                  <a:pt x="106" y="68"/>
                  <a:pt x="102" y="72"/>
                  <a:pt x="102" y="78"/>
                </a:cubicBezTo>
                <a:cubicBezTo>
                  <a:pt x="102" y="84"/>
                  <a:pt x="106" y="88"/>
                  <a:pt x="112" y="88"/>
                </a:cubicBezTo>
                <a:cubicBezTo>
                  <a:pt x="118" y="88"/>
                  <a:pt x="122" y="84"/>
                  <a:pt x="122" y="78"/>
                </a:cubicBezTo>
                <a:cubicBezTo>
                  <a:pt x="122" y="72"/>
                  <a:pt x="118" y="68"/>
                  <a:pt x="112" y="68"/>
                </a:cubicBezTo>
                <a:close/>
                <a:moveTo>
                  <a:pt x="168" y="68"/>
                </a:moveTo>
                <a:cubicBezTo>
                  <a:pt x="162" y="68"/>
                  <a:pt x="158" y="72"/>
                  <a:pt x="158" y="78"/>
                </a:cubicBezTo>
                <a:cubicBezTo>
                  <a:pt x="158" y="84"/>
                  <a:pt x="162" y="88"/>
                  <a:pt x="168" y="88"/>
                </a:cubicBezTo>
                <a:cubicBezTo>
                  <a:pt x="174" y="88"/>
                  <a:pt x="178" y="84"/>
                  <a:pt x="178" y="78"/>
                </a:cubicBezTo>
                <a:cubicBezTo>
                  <a:pt x="178" y="72"/>
                  <a:pt x="174" y="68"/>
                  <a:pt x="168" y="6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216" name="îş1îďê">
            <a:extLst>
              <a:ext uri="{FF2B5EF4-FFF2-40B4-BE49-F238E27FC236}">
                <a16:creationId xmlns:a16="http://schemas.microsoft.com/office/drawing/2014/main" id="{9B054782-D8F7-4546-9791-59DC8D84E8DD}"/>
              </a:ext>
            </a:extLst>
          </p:cNvPr>
          <p:cNvSpPr/>
          <p:nvPr/>
        </p:nvSpPr>
        <p:spPr bwMode="auto">
          <a:xfrm>
            <a:off x="1631452" y="3240992"/>
            <a:ext cx="3530600" cy="1305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200" dirty="0"/>
              <a:t>Theme color makes PPT more convenient to </a:t>
            </a:r>
            <a:r>
              <a:rPr lang="en-US" altLang="zh-CN" sz="1200" dirty="0" err="1"/>
              <a:t>change.Adjust</a:t>
            </a:r>
            <a:r>
              <a:rPr lang="en-US" altLang="zh-CN" sz="1200" dirty="0"/>
              <a:t> the spacing to adapt to Chinese typesetting, use the reference line in PPT.</a:t>
            </a:r>
          </a:p>
          <a:p>
            <a:pPr algn="ctr">
              <a:lnSpc>
                <a:spcPct val="150000"/>
              </a:lnSpc>
            </a:pPr>
            <a:r>
              <a:rPr lang="en-US" altLang="zh-CN" sz="1200" dirty="0"/>
              <a:t>……</a:t>
            </a:r>
          </a:p>
        </p:txBody>
      </p:sp>
      <p:grpSp>
        <p:nvGrpSpPr>
          <p:cNvPr id="193" name="ïŝḷîḋé">
            <a:extLst>
              <a:ext uri="{FF2B5EF4-FFF2-40B4-BE49-F238E27FC236}">
                <a16:creationId xmlns:a16="http://schemas.microsoft.com/office/drawing/2014/main" id="{A7924778-13D9-4B1B-AA13-DF4263477099}"/>
              </a:ext>
            </a:extLst>
          </p:cNvPr>
          <p:cNvGrpSpPr/>
          <p:nvPr/>
        </p:nvGrpSpPr>
        <p:grpSpPr>
          <a:xfrm>
            <a:off x="6246935" y="1566250"/>
            <a:ext cx="4473452" cy="4305912"/>
            <a:chOff x="6246936" y="1807020"/>
            <a:chExt cx="4473452" cy="4305912"/>
          </a:xfrm>
        </p:grpSpPr>
        <p:grpSp>
          <p:nvGrpSpPr>
            <p:cNvPr id="196" name="ï$ľïḓe">
              <a:extLst>
                <a:ext uri="{FF2B5EF4-FFF2-40B4-BE49-F238E27FC236}">
                  <a16:creationId xmlns:a16="http://schemas.microsoft.com/office/drawing/2014/main" id="{87A84917-95B6-40E8-9514-DC5D5CC3C98A}"/>
                </a:ext>
              </a:extLst>
            </p:cNvPr>
            <p:cNvGrpSpPr/>
            <p:nvPr/>
          </p:nvGrpSpPr>
          <p:grpSpPr>
            <a:xfrm>
              <a:off x="6246936" y="1808178"/>
              <a:ext cx="878080" cy="880403"/>
              <a:chOff x="3852543" y="1668897"/>
              <a:chExt cx="823456" cy="825634"/>
            </a:xfrm>
          </p:grpSpPr>
          <p:sp>
            <p:nvSpPr>
              <p:cNvPr id="212" name="ïšḷiďê">
                <a:extLst>
                  <a:ext uri="{FF2B5EF4-FFF2-40B4-BE49-F238E27FC236}">
                    <a16:creationId xmlns:a16="http://schemas.microsoft.com/office/drawing/2014/main" id="{C5BA6DAF-2F2F-481F-9DCC-2F086B266B6B}"/>
                  </a:ext>
                </a:extLst>
              </p:cNvPr>
              <p:cNvSpPr/>
              <p:nvPr/>
            </p:nvSpPr>
            <p:spPr bwMode="auto">
              <a:xfrm>
                <a:off x="3852543" y="1668897"/>
                <a:ext cx="823456" cy="825634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 w="2857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3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3" name="íšḷíḑé">
                <a:extLst>
                  <a:ext uri="{FF2B5EF4-FFF2-40B4-BE49-F238E27FC236}">
                    <a16:creationId xmlns:a16="http://schemas.microsoft.com/office/drawing/2014/main" id="{C03F7592-22B8-4944-9ADC-446272A1558D}"/>
                  </a:ext>
                </a:extLst>
              </p:cNvPr>
              <p:cNvSpPr/>
              <p:nvPr/>
            </p:nvSpPr>
            <p:spPr bwMode="auto">
              <a:xfrm>
                <a:off x="4070956" y="1870930"/>
                <a:ext cx="386629" cy="421566"/>
              </a:xfrm>
              <a:custGeom>
                <a:avLst/>
                <a:gdLst>
                  <a:gd name="T0" fmla="*/ 168 w 208"/>
                  <a:gd name="T1" fmla="*/ 0 h 224"/>
                  <a:gd name="T2" fmla="*/ 168 w 208"/>
                  <a:gd name="T3" fmla="*/ 68 h 224"/>
                  <a:gd name="T4" fmla="*/ 108 w 208"/>
                  <a:gd name="T5" fmla="*/ 68 h 224"/>
                  <a:gd name="T6" fmla="*/ 108 w 208"/>
                  <a:gd name="T7" fmla="*/ 124 h 224"/>
                  <a:gd name="T8" fmla="*/ 192 w 208"/>
                  <a:gd name="T9" fmla="*/ 124 h 224"/>
                  <a:gd name="T10" fmla="*/ 192 w 208"/>
                  <a:gd name="T11" fmla="*/ 184 h 224"/>
                  <a:gd name="T12" fmla="*/ 208 w 208"/>
                  <a:gd name="T13" fmla="*/ 184 h 224"/>
                  <a:gd name="T14" fmla="*/ 208 w 208"/>
                  <a:gd name="T15" fmla="*/ 224 h 224"/>
                  <a:gd name="T16" fmla="*/ 168 w 208"/>
                  <a:gd name="T17" fmla="*/ 224 h 224"/>
                  <a:gd name="T18" fmla="*/ 168 w 208"/>
                  <a:gd name="T19" fmla="*/ 184 h 224"/>
                  <a:gd name="T20" fmla="*/ 184 w 208"/>
                  <a:gd name="T21" fmla="*/ 184 h 224"/>
                  <a:gd name="T22" fmla="*/ 184 w 208"/>
                  <a:gd name="T23" fmla="*/ 132 h 224"/>
                  <a:gd name="T24" fmla="*/ 108 w 208"/>
                  <a:gd name="T25" fmla="*/ 132 h 224"/>
                  <a:gd name="T26" fmla="*/ 108 w 208"/>
                  <a:gd name="T27" fmla="*/ 184 h 224"/>
                  <a:gd name="T28" fmla="*/ 124 w 208"/>
                  <a:gd name="T29" fmla="*/ 184 h 224"/>
                  <a:gd name="T30" fmla="*/ 124 w 208"/>
                  <a:gd name="T31" fmla="*/ 224 h 224"/>
                  <a:gd name="T32" fmla="*/ 84 w 208"/>
                  <a:gd name="T33" fmla="*/ 224 h 224"/>
                  <a:gd name="T34" fmla="*/ 84 w 208"/>
                  <a:gd name="T35" fmla="*/ 184 h 224"/>
                  <a:gd name="T36" fmla="*/ 100 w 208"/>
                  <a:gd name="T37" fmla="*/ 184 h 224"/>
                  <a:gd name="T38" fmla="*/ 100 w 208"/>
                  <a:gd name="T39" fmla="*/ 132 h 224"/>
                  <a:gd name="T40" fmla="*/ 24 w 208"/>
                  <a:gd name="T41" fmla="*/ 132 h 224"/>
                  <a:gd name="T42" fmla="*/ 24 w 208"/>
                  <a:gd name="T43" fmla="*/ 184 h 224"/>
                  <a:gd name="T44" fmla="*/ 40 w 208"/>
                  <a:gd name="T45" fmla="*/ 184 h 224"/>
                  <a:gd name="T46" fmla="*/ 40 w 208"/>
                  <a:gd name="T47" fmla="*/ 224 h 224"/>
                  <a:gd name="T48" fmla="*/ 0 w 208"/>
                  <a:gd name="T49" fmla="*/ 224 h 224"/>
                  <a:gd name="T50" fmla="*/ 0 w 208"/>
                  <a:gd name="T51" fmla="*/ 184 h 224"/>
                  <a:gd name="T52" fmla="*/ 16 w 208"/>
                  <a:gd name="T53" fmla="*/ 184 h 224"/>
                  <a:gd name="T54" fmla="*/ 16 w 208"/>
                  <a:gd name="T55" fmla="*/ 124 h 224"/>
                  <a:gd name="T56" fmla="*/ 100 w 208"/>
                  <a:gd name="T57" fmla="*/ 124 h 224"/>
                  <a:gd name="T58" fmla="*/ 100 w 208"/>
                  <a:gd name="T59" fmla="*/ 68 h 224"/>
                  <a:gd name="T60" fmla="*/ 40 w 208"/>
                  <a:gd name="T61" fmla="*/ 68 h 224"/>
                  <a:gd name="T62" fmla="*/ 40 w 208"/>
                  <a:gd name="T63" fmla="*/ 0 h 224"/>
                  <a:gd name="T64" fmla="*/ 168 w 208"/>
                  <a:gd name="T65" fmla="*/ 0 h 224"/>
                  <a:gd name="T66" fmla="*/ 32 w 208"/>
                  <a:gd name="T67" fmla="*/ 192 h 224"/>
                  <a:gd name="T68" fmla="*/ 8 w 208"/>
                  <a:gd name="T69" fmla="*/ 192 h 224"/>
                  <a:gd name="T70" fmla="*/ 8 w 208"/>
                  <a:gd name="T71" fmla="*/ 216 h 224"/>
                  <a:gd name="T72" fmla="*/ 32 w 208"/>
                  <a:gd name="T73" fmla="*/ 216 h 224"/>
                  <a:gd name="T74" fmla="*/ 32 w 208"/>
                  <a:gd name="T75" fmla="*/ 192 h 224"/>
                  <a:gd name="T76" fmla="*/ 116 w 208"/>
                  <a:gd name="T77" fmla="*/ 192 h 224"/>
                  <a:gd name="T78" fmla="*/ 92 w 208"/>
                  <a:gd name="T79" fmla="*/ 192 h 224"/>
                  <a:gd name="T80" fmla="*/ 92 w 208"/>
                  <a:gd name="T81" fmla="*/ 216 h 224"/>
                  <a:gd name="T82" fmla="*/ 116 w 208"/>
                  <a:gd name="T83" fmla="*/ 216 h 224"/>
                  <a:gd name="T84" fmla="*/ 116 w 208"/>
                  <a:gd name="T85" fmla="*/ 192 h 224"/>
                  <a:gd name="T86" fmla="*/ 200 w 208"/>
                  <a:gd name="T87" fmla="*/ 192 h 224"/>
                  <a:gd name="T88" fmla="*/ 176 w 208"/>
                  <a:gd name="T89" fmla="*/ 192 h 224"/>
                  <a:gd name="T90" fmla="*/ 176 w 208"/>
                  <a:gd name="T91" fmla="*/ 216 h 224"/>
                  <a:gd name="T92" fmla="*/ 200 w 208"/>
                  <a:gd name="T93" fmla="*/ 216 h 224"/>
                  <a:gd name="T94" fmla="*/ 200 w 208"/>
                  <a:gd name="T95" fmla="*/ 192 h 224"/>
                  <a:gd name="T96" fmla="*/ 160 w 208"/>
                  <a:gd name="T97" fmla="*/ 8 h 224"/>
                  <a:gd name="T98" fmla="*/ 48 w 208"/>
                  <a:gd name="T99" fmla="*/ 8 h 224"/>
                  <a:gd name="T100" fmla="*/ 48 w 208"/>
                  <a:gd name="T101" fmla="*/ 60 h 224"/>
                  <a:gd name="T102" fmla="*/ 160 w 208"/>
                  <a:gd name="T103" fmla="*/ 60 h 224"/>
                  <a:gd name="T104" fmla="*/ 160 w 208"/>
                  <a:gd name="T105" fmla="*/ 8 h 224"/>
                  <a:gd name="T106" fmla="*/ 66 w 208"/>
                  <a:gd name="T107" fmla="*/ 36 h 224"/>
                  <a:gd name="T108" fmla="*/ 72 w 208"/>
                  <a:gd name="T109" fmla="*/ 42 h 224"/>
                  <a:gd name="T110" fmla="*/ 66 w 208"/>
                  <a:gd name="T111" fmla="*/ 48 h 224"/>
                  <a:gd name="T112" fmla="*/ 60 w 208"/>
                  <a:gd name="T113" fmla="*/ 42 h 224"/>
                  <a:gd name="T114" fmla="*/ 66 w 208"/>
                  <a:gd name="T115" fmla="*/ 36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08" h="224">
                    <a:moveTo>
                      <a:pt x="168" y="0"/>
                    </a:moveTo>
                    <a:cubicBezTo>
                      <a:pt x="168" y="68"/>
                      <a:pt x="168" y="68"/>
                      <a:pt x="168" y="68"/>
                    </a:cubicBezTo>
                    <a:cubicBezTo>
                      <a:pt x="108" y="68"/>
                      <a:pt x="108" y="68"/>
                      <a:pt x="108" y="68"/>
                    </a:cubicBezTo>
                    <a:cubicBezTo>
                      <a:pt x="108" y="124"/>
                      <a:pt x="108" y="124"/>
                      <a:pt x="108" y="124"/>
                    </a:cubicBezTo>
                    <a:cubicBezTo>
                      <a:pt x="192" y="124"/>
                      <a:pt x="192" y="124"/>
                      <a:pt x="192" y="124"/>
                    </a:cubicBezTo>
                    <a:cubicBezTo>
                      <a:pt x="192" y="184"/>
                      <a:pt x="192" y="184"/>
                      <a:pt x="192" y="184"/>
                    </a:cubicBezTo>
                    <a:cubicBezTo>
                      <a:pt x="208" y="184"/>
                      <a:pt x="208" y="184"/>
                      <a:pt x="208" y="184"/>
                    </a:cubicBezTo>
                    <a:cubicBezTo>
                      <a:pt x="208" y="224"/>
                      <a:pt x="208" y="224"/>
                      <a:pt x="208" y="224"/>
                    </a:cubicBezTo>
                    <a:cubicBezTo>
                      <a:pt x="168" y="224"/>
                      <a:pt x="168" y="224"/>
                      <a:pt x="168" y="224"/>
                    </a:cubicBezTo>
                    <a:cubicBezTo>
                      <a:pt x="168" y="184"/>
                      <a:pt x="168" y="184"/>
                      <a:pt x="168" y="184"/>
                    </a:cubicBezTo>
                    <a:cubicBezTo>
                      <a:pt x="184" y="184"/>
                      <a:pt x="184" y="184"/>
                      <a:pt x="184" y="184"/>
                    </a:cubicBezTo>
                    <a:cubicBezTo>
                      <a:pt x="184" y="132"/>
                      <a:pt x="184" y="132"/>
                      <a:pt x="184" y="132"/>
                    </a:cubicBezTo>
                    <a:cubicBezTo>
                      <a:pt x="108" y="132"/>
                      <a:pt x="108" y="132"/>
                      <a:pt x="108" y="132"/>
                    </a:cubicBezTo>
                    <a:cubicBezTo>
                      <a:pt x="108" y="184"/>
                      <a:pt x="108" y="184"/>
                      <a:pt x="108" y="184"/>
                    </a:cubicBezTo>
                    <a:cubicBezTo>
                      <a:pt x="124" y="184"/>
                      <a:pt x="124" y="184"/>
                      <a:pt x="124" y="184"/>
                    </a:cubicBezTo>
                    <a:cubicBezTo>
                      <a:pt x="124" y="224"/>
                      <a:pt x="124" y="224"/>
                      <a:pt x="124" y="224"/>
                    </a:cubicBezTo>
                    <a:cubicBezTo>
                      <a:pt x="84" y="224"/>
                      <a:pt x="84" y="224"/>
                      <a:pt x="84" y="224"/>
                    </a:cubicBezTo>
                    <a:cubicBezTo>
                      <a:pt x="84" y="184"/>
                      <a:pt x="84" y="184"/>
                      <a:pt x="84" y="184"/>
                    </a:cubicBezTo>
                    <a:cubicBezTo>
                      <a:pt x="100" y="184"/>
                      <a:pt x="100" y="184"/>
                      <a:pt x="100" y="184"/>
                    </a:cubicBezTo>
                    <a:cubicBezTo>
                      <a:pt x="100" y="132"/>
                      <a:pt x="100" y="132"/>
                      <a:pt x="100" y="132"/>
                    </a:cubicBezTo>
                    <a:cubicBezTo>
                      <a:pt x="24" y="132"/>
                      <a:pt x="24" y="132"/>
                      <a:pt x="24" y="132"/>
                    </a:cubicBezTo>
                    <a:cubicBezTo>
                      <a:pt x="24" y="184"/>
                      <a:pt x="24" y="184"/>
                      <a:pt x="24" y="184"/>
                    </a:cubicBezTo>
                    <a:cubicBezTo>
                      <a:pt x="40" y="184"/>
                      <a:pt x="40" y="184"/>
                      <a:pt x="40" y="184"/>
                    </a:cubicBezTo>
                    <a:cubicBezTo>
                      <a:pt x="40" y="224"/>
                      <a:pt x="40" y="224"/>
                      <a:pt x="40" y="224"/>
                    </a:cubicBezTo>
                    <a:cubicBezTo>
                      <a:pt x="0" y="224"/>
                      <a:pt x="0" y="224"/>
                      <a:pt x="0" y="224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16" y="184"/>
                      <a:pt x="16" y="184"/>
                      <a:pt x="16" y="184"/>
                    </a:cubicBezTo>
                    <a:cubicBezTo>
                      <a:pt x="16" y="124"/>
                      <a:pt x="16" y="124"/>
                      <a:pt x="16" y="124"/>
                    </a:cubicBezTo>
                    <a:cubicBezTo>
                      <a:pt x="100" y="124"/>
                      <a:pt x="100" y="124"/>
                      <a:pt x="100" y="124"/>
                    </a:cubicBezTo>
                    <a:cubicBezTo>
                      <a:pt x="100" y="68"/>
                      <a:pt x="100" y="68"/>
                      <a:pt x="100" y="68"/>
                    </a:cubicBezTo>
                    <a:cubicBezTo>
                      <a:pt x="40" y="68"/>
                      <a:pt x="40" y="68"/>
                      <a:pt x="40" y="68"/>
                    </a:cubicBezTo>
                    <a:cubicBezTo>
                      <a:pt x="40" y="0"/>
                      <a:pt x="40" y="0"/>
                      <a:pt x="40" y="0"/>
                    </a:cubicBezTo>
                    <a:lnTo>
                      <a:pt x="168" y="0"/>
                    </a:lnTo>
                    <a:close/>
                    <a:moveTo>
                      <a:pt x="32" y="192"/>
                    </a:moveTo>
                    <a:cubicBezTo>
                      <a:pt x="8" y="192"/>
                      <a:pt x="8" y="192"/>
                      <a:pt x="8" y="192"/>
                    </a:cubicBezTo>
                    <a:cubicBezTo>
                      <a:pt x="8" y="216"/>
                      <a:pt x="8" y="216"/>
                      <a:pt x="8" y="216"/>
                    </a:cubicBezTo>
                    <a:cubicBezTo>
                      <a:pt x="32" y="216"/>
                      <a:pt x="32" y="216"/>
                      <a:pt x="32" y="216"/>
                    </a:cubicBezTo>
                    <a:lnTo>
                      <a:pt x="32" y="192"/>
                    </a:lnTo>
                    <a:close/>
                    <a:moveTo>
                      <a:pt x="116" y="192"/>
                    </a:moveTo>
                    <a:cubicBezTo>
                      <a:pt x="92" y="192"/>
                      <a:pt x="92" y="192"/>
                      <a:pt x="92" y="192"/>
                    </a:cubicBezTo>
                    <a:cubicBezTo>
                      <a:pt x="92" y="216"/>
                      <a:pt x="92" y="216"/>
                      <a:pt x="92" y="216"/>
                    </a:cubicBezTo>
                    <a:cubicBezTo>
                      <a:pt x="116" y="216"/>
                      <a:pt x="116" y="216"/>
                      <a:pt x="116" y="216"/>
                    </a:cubicBezTo>
                    <a:lnTo>
                      <a:pt x="116" y="192"/>
                    </a:lnTo>
                    <a:close/>
                    <a:moveTo>
                      <a:pt x="200" y="192"/>
                    </a:moveTo>
                    <a:cubicBezTo>
                      <a:pt x="176" y="192"/>
                      <a:pt x="176" y="192"/>
                      <a:pt x="176" y="192"/>
                    </a:cubicBezTo>
                    <a:cubicBezTo>
                      <a:pt x="176" y="216"/>
                      <a:pt x="176" y="216"/>
                      <a:pt x="176" y="216"/>
                    </a:cubicBezTo>
                    <a:cubicBezTo>
                      <a:pt x="200" y="216"/>
                      <a:pt x="200" y="216"/>
                      <a:pt x="200" y="216"/>
                    </a:cubicBezTo>
                    <a:lnTo>
                      <a:pt x="200" y="192"/>
                    </a:lnTo>
                    <a:close/>
                    <a:moveTo>
                      <a:pt x="160" y="8"/>
                    </a:moveTo>
                    <a:cubicBezTo>
                      <a:pt x="48" y="8"/>
                      <a:pt x="48" y="8"/>
                      <a:pt x="48" y="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160" y="60"/>
                      <a:pt x="160" y="60"/>
                      <a:pt x="160" y="60"/>
                    </a:cubicBezTo>
                    <a:lnTo>
                      <a:pt x="160" y="8"/>
                    </a:lnTo>
                    <a:close/>
                    <a:moveTo>
                      <a:pt x="66" y="36"/>
                    </a:moveTo>
                    <a:cubicBezTo>
                      <a:pt x="69" y="36"/>
                      <a:pt x="72" y="39"/>
                      <a:pt x="72" y="42"/>
                    </a:cubicBezTo>
                    <a:cubicBezTo>
                      <a:pt x="72" y="45"/>
                      <a:pt x="69" y="48"/>
                      <a:pt x="66" y="48"/>
                    </a:cubicBezTo>
                    <a:cubicBezTo>
                      <a:pt x="63" y="48"/>
                      <a:pt x="60" y="45"/>
                      <a:pt x="60" y="42"/>
                    </a:cubicBezTo>
                    <a:cubicBezTo>
                      <a:pt x="60" y="39"/>
                      <a:pt x="63" y="36"/>
                      <a:pt x="66" y="3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197" name="î$ḷiḍè">
              <a:extLst>
                <a:ext uri="{FF2B5EF4-FFF2-40B4-BE49-F238E27FC236}">
                  <a16:creationId xmlns:a16="http://schemas.microsoft.com/office/drawing/2014/main" id="{5D17649B-A8AF-49BF-AF5C-4E80E0C38C1C}"/>
                </a:ext>
              </a:extLst>
            </p:cNvPr>
            <p:cNvGrpSpPr/>
            <p:nvPr/>
          </p:nvGrpSpPr>
          <p:grpSpPr>
            <a:xfrm>
              <a:off x="7286625" y="1807020"/>
              <a:ext cx="3433763" cy="1233752"/>
              <a:chOff x="1760651" y="1440088"/>
              <a:chExt cx="3126184" cy="1233752"/>
            </a:xfrm>
          </p:grpSpPr>
          <p:sp>
            <p:nvSpPr>
              <p:cNvPr id="210" name="ïṩḷîḋè">
                <a:extLst>
                  <a:ext uri="{FF2B5EF4-FFF2-40B4-BE49-F238E27FC236}">
                    <a16:creationId xmlns:a16="http://schemas.microsoft.com/office/drawing/2014/main" id="{55A2D7E7-FEC2-4B1D-9A51-94BCA59784E9}"/>
                  </a:ext>
                </a:extLst>
              </p:cNvPr>
              <p:cNvSpPr/>
              <p:nvPr/>
            </p:nvSpPr>
            <p:spPr bwMode="auto">
              <a:xfrm>
                <a:off x="1760651" y="1881893"/>
                <a:ext cx="3126184" cy="7919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11" name="îṧ1iďé">
                <a:extLst>
                  <a:ext uri="{FF2B5EF4-FFF2-40B4-BE49-F238E27FC236}">
                    <a16:creationId xmlns:a16="http://schemas.microsoft.com/office/drawing/2014/main" id="{335A0105-282D-4E61-8360-ADF5A6D201DE}"/>
                  </a:ext>
                </a:extLst>
              </p:cNvPr>
              <p:cNvSpPr txBox="1"/>
              <p:nvPr/>
            </p:nvSpPr>
            <p:spPr bwMode="auto">
              <a:xfrm>
                <a:off x="1760651" y="1440088"/>
                <a:ext cx="3126184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/>
                  <a:t>Text here</a:t>
                </a:r>
              </a:p>
            </p:txBody>
          </p:sp>
        </p:grpSp>
        <p:grpSp>
          <p:nvGrpSpPr>
            <p:cNvPr id="198" name="îṡ1ïďe">
              <a:extLst>
                <a:ext uri="{FF2B5EF4-FFF2-40B4-BE49-F238E27FC236}">
                  <a16:creationId xmlns:a16="http://schemas.microsoft.com/office/drawing/2014/main" id="{9DF08915-0560-4E61-AFEE-899CAF3550A8}"/>
                </a:ext>
              </a:extLst>
            </p:cNvPr>
            <p:cNvGrpSpPr/>
            <p:nvPr/>
          </p:nvGrpSpPr>
          <p:grpSpPr>
            <a:xfrm>
              <a:off x="6246936" y="3287124"/>
              <a:ext cx="878080" cy="880403"/>
              <a:chOff x="3852543" y="1667810"/>
              <a:chExt cx="823456" cy="825634"/>
            </a:xfrm>
          </p:grpSpPr>
          <p:sp>
            <p:nvSpPr>
              <p:cNvPr id="208" name="iṡḻiḍè">
                <a:extLst>
                  <a:ext uri="{FF2B5EF4-FFF2-40B4-BE49-F238E27FC236}">
                    <a16:creationId xmlns:a16="http://schemas.microsoft.com/office/drawing/2014/main" id="{422D24B7-665A-44F7-882D-EBDDE545A8D4}"/>
                  </a:ext>
                </a:extLst>
              </p:cNvPr>
              <p:cNvSpPr/>
              <p:nvPr/>
            </p:nvSpPr>
            <p:spPr bwMode="auto">
              <a:xfrm>
                <a:off x="3852543" y="1667810"/>
                <a:ext cx="823456" cy="825634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 w="2857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3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9" name="íšḷiḍê">
                <a:extLst>
                  <a:ext uri="{FF2B5EF4-FFF2-40B4-BE49-F238E27FC236}">
                    <a16:creationId xmlns:a16="http://schemas.microsoft.com/office/drawing/2014/main" id="{0CCBAB2C-F344-4943-95BF-43C9FDC08DAB}"/>
                  </a:ext>
                </a:extLst>
              </p:cNvPr>
              <p:cNvSpPr/>
              <p:nvPr/>
            </p:nvSpPr>
            <p:spPr bwMode="auto">
              <a:xfrm>
                <a:off x="4055816" y="1869843"/>
                <a:ext cx="416907" cy="421566"/>
              </a:xfrm>
              <a:custGeom>
                <a:avLst/>
                <a:gdLst>
                  <a:gd name="T0" fmla="*/ 160 w 224"/>
                  <a:gd name="T1" fmla="*/ 0 h 224"/>
                  <a:gd name="T2" fmla="*/ 160 w 224"/>
                  <a:gd name="T3" fmla="*/ 48 h 224"/>
                  <a:gd name="T4" fmla="*/ 224 w 224"/>
                  <a:gd name="T5" fmla="*/ 48 h 224"/>
                  <a:gd name="T6" fmla="*/ 224 w 224"/>
                  <a:gd name="T7" fmla="*/ 176 h 224"/>
                  <a:gd name="T8" fmla="*/ 160 w 224"/>
                  <a:gd name="T9" fmla="*/ 176 h 224"/>
                  <a:gd name="T10" fmla="*/ 160 w 224"/>
                  <a:gd name="T11" fmla="*/ 224 h 224"/>
                  <a:gd name="T12" fmla="*/ 64 w 224"/>
                  <a:gd name="T13" fmla="*/ 224 h 224"/>
                  <a:gd name="T14" fmla="*/ 64 w 224"/>
                  <a:gd name="T15" fmla="*/ 176 h 224"/>
                  <a:gd name="T16" fmla="*/ 0 w 224"/>
                  <a:gd name="T17" fmla="*/ 176 h 224"/>
                  <a:gd name="T18" fmla="*/ 0 w 224"/>
                  <a:gd name="T19" fmla="*/ 76 h 224"/>
                  <a:gd name="T20" fmla="*/ 26 w 224"/>
                  <a:gd name="T21" fmla="*/ 48 h 224"/>
                  <a:gd name="T22" fmla="*/ 64 w 224"/>
                  <a:gd name="T23" fmla="*/ 48 h 224"/>
                  <a:gd name="T24" fmla="*/ 64 w 224"/>
                  <a:gd name="T25" fmla="*/ 0 h 224"/>
                  <a:gd name="T26" fmla="*/ 160 w 224"/>
                  <a:gd name="T27" fmla="*/ 0 h 224"/>
                  <a:gd name="T28" fmla="*/ 152 w 224"/>
                  <a:gd name="T29" fmla="*/ 120 h 224"/>
                  <a:gd name="T30" fmla="*/ 72 w 224"/>
                  <a:gd name="T31" fmla="*/ 120 h 224"/>
                  <a:gd name="T32" fmla="*/ 72 w 224"/>
                  <a:gd name="T33" fmla="*/ 216 h 224"/>
                  <a:gd name="T34" fmla="*/ 152 w 224"/>
                  <a:gd name="T35" fmla="*/ 216 h 224"/>
                  <a:gd name="T36" fmla="*/ 152 w 224"/>
                  <a:gd name="T37" fmla="*/ 120 h 224"/>
                  <a:gd name="T38" fmla="*/ 216 w 224"/>
                  <a:gd name="T39" fmla="*/ 56 h 224"/>
                  <a:gd name="T40" fmla="*/ 30 w 224"/>
                  <a:gd name="T41" fmla="*/ 56 h 224"/>
                  <a:gd name="T42" fmla="*/ 8 w 224"/>
                  <a:gd name="T43" fmla="*/ 80 h 224"/>
                  <a:gd name="T44" fmla="*/ 8 w 224"/>
                  <a:gd name="T45" fmla="*/ 168 h 224"/>
                  <a:gd name="T46" fmla="*/ 64 w 224"/>
                  <a:gd name="T47" fmla="*/ 168 h 224"/>
                  <a:gd name="T48" fmla="*/ 64 w 224"/>
                  <a:gd name="T49" fmla="*/ 112 h 224"/>
                  <a:gd name="T50" fmla="*/ 160 w 224"/>
                  <a:gd name="T51" fmla="*/ 112 h 224"/>
                  <a:gd name="T52" fmla="*/ 160 w 224"/>
                  <a:gd name="T53" fmla="*/ 168 h 224"/>
                  <a:gd name="T54" fmla="*/ 216 w 224"/>
                  <a:gd name="T55" fmla="*/ 168 h 224"/>
                  <a:gd name="T56" fmla="*/ 216 w 224"/>
                  <a:gd name="T57" fmla="*/ 56 h 224"/>
                  <a:gd name="T58" fmla="*/ 194 w 224"/>
                  <a:gd name="T59" fmla="*/ 72 h 224"/>
                  <a:gd name="T60" fmla="*/ 200 w 224"/>
                  <a:gd name="T61" fmla="*/ 78 h 224"/>
                  <a:gd name="T62" fmla="*/ 194 w 224"/>
                  <a:gd name="T63" fmla="*/ 84 h 224"/>
                  <a:gd name="T64" fmla="*/ 188 w 224"/>
                  <a:gd name="T65" fmla="*/ 78 h 224"/>
                  <a:gd name="T66" fmla="*/ 194 w 224"/>
                  <a:gd name="T67" fmla="*/ 72 h 224"/>
                  <a:gd name="T68" fmla="*/ 152 w 224"/>
                  <a:gd name="T69" fmla="*/ 8 h 224"/>
                  <a:gd name="T70" fmla="*/ 72 w 224"/>
                  <a:gd name="T71" fmla="*/ 8 h 224"/>
                  <a:gd name="T72" fmla="*/ 72 w 224"/>
                  <a:gd name="T73" fmla="*/ 48 h 224"/>
                  <a:gd name="T74" fmla="*/ 152 w 224"/>
                  <a:gd name="T75" fmla="*/ 48 h 224"/>
                  <a:gd name="T76" fmla="*/ 152 w 224"/>
                  <a:gd name="T77" fmla="*/ 8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24" h="224">
                    <a:moveTo>
                      <a:pt x="160" y="0"/>
                    </a:moveTo>
                    <a:cubicBezTo>
                      <a:pt x="160" y="48"/>
                      <a:pt x="160" y="48"/>
                      <a:pt x="160" y="48"/>
                    </a:cubicBezTo>
                    <a:cubicBezTo>
                      <a:pt x="224" y="48"/>
                      <a:pt x="224" y="48"/>
                      <a:pt x="224" y="48"/>
                    </a:cubicBezTo>
                    <a:cubicBezTo>
                      <a:pt x="224" y="176"/>
                      <a:pt x="224" y="176"/>
                      <a:pt x="224" y="176"/>
                    </a:cubicBezTo>
                    <a:cubicBezTo>
                      <a:pt x="160" y="176"/>
                      <a:pt x="160" y="176"/>
                      <a:pt x="160" y="176"/>
                    </a:cubicBezTo>
                    <a:cubicBezTo>
                      <a:pt x="160" y="224"/>
                      <a:pt x="160" y="224"/>
                      <a:pt x="160" y="224"/>
                    </a:cubicBezTo>
                    <a:cubicBezTo>
                      <a:pt x="64" y="224"/>
                      <a:pt x="64" y="224"/>
                      <a:pt x="64" y="224"/>
                    </a:cubicBezTo>
                    <a:cubicBezTo>
                      <a:pt x="64" y="176"/>
                      <a:pt x="64" y="176"/>
                      <a:pt x="64" y="176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6" y="48"/>
                      <a:pt x="26" y="48"/>
                      <a:pt x="26" y="48"/>
                    </a:cubicBezTo>
                    <a:cubicBezTo>
                      <a:pt x="64" y="48"/>
                      <a:pt x="64" y="48"/>
                      <a:pt x="64" y="48"/>
                    </a:cubicBezTo>
                    <a:cubicBezTo>
                      <a:pt x="64" y="0"/>
                      <a:pt x="64" y="0"/>
                      <a:pt x="64" y="0"/>
                    </a:cubicBezTo>
                    <a:lnTo>
                      <a:pt x="160" y="0"/>
                    </a:lnTo>
                    <a:close/>
                    <a:moveTo>
                      <a:pt x="152" y="120"/>
                    </a:moveTo>
                    <a:cubicBezTo>
                      <a:pt x="72" y="120"/>
                      <a:pt x="72" y="120"/>
                      <a:pt x="72" y="120"/>
                    </a:cubicBezTo>
                    <a:cubicBezTo>
                      <a:pt x="72" y="216"/>
                      <a:pt x="72" y="216"/>
                      <a:pt x="72" y="216"/>
                    </a:cubicBezTo>
                    <a:cubicBezTo>
                      <a:pt x="152" y="216"/>
                      <a:pt x="152" y="216"/>
                      <a:pt x="152" y="216"/>
                    </a:cubicBezTo>
                    <a:lnTo>
                      <a:pt x="152" y="120"/>
                    </a:lnTo>
                    <a:close/>
                    <a:moveTo>
                      <a:pt x="216" y="56"/>
                    </a:moveTo>
                    <a:cubicBezTo>
                      <a:pt x="30" y="56"/>
                      <a:pt x="30" y="56"/>
                      <a:pt x="30" y="56"/>
                    </a:cubicBezTo>
                    <a:cubicBezTo>
                      <a:pt x="8" y="80"/>
                      <a:pt x="8" y="80"/>
                      <a:pt x="8" y="80"/>
                    </a:cubicBezTo>
                    <a:cubicBezTo>
                      <a:pt x="8" y="168"/>
                      <a:pt x="8" y="168"/>
                      <a:pt x="8" y="168"/>
                    </a:cubicBezTo>
                    <a:cubicBezTo>
                      <a:pt x="64" y="168"/>
                      <a:pt x="64" y="168"/>
                      <a:pt x="64" y="168"/>
                    </a:cubicBezTo>
                    <a:cubicBezTo>
                      <a:pt x="64" y="112"/>
                      <a:pt x="64" y="112"/>
                      <a:pt x="64" y="112"/>
                    </a:cubicBezTo>
                    <a:cubicBezTo>
                      <a:pt x="160" y="112"/>
                      <a:pt x="160" y="112"/>
                      <a:pt x="160" y="112"/>
                    </a:cubicBezTo>
                    <a:cubicBezTo>
                      <a:pt x="160" y="168"/>
                      <a:pt x="160" y="168"/>
                      <a:pt x="160" y="168"/>
                    </a:cubicBezTo>
                    <a:cubicBezTo>
                      <a:pt x="216" y="168"/>
                      <a:pt x="216" y="168"/>
                      <a:pt x="216" y="168"/>
                    </a:cubicBezTo>
                    <a:lnTo>
                      <a:pt x="216" y="56"/>
                    </a:lnTo>
                    <a:close/>
                    <a:moveTo>
                      <a:pt x="194" y="72"/>
                    </a:moveTo>
                    <a:cubicBezTo>
                      <a:pt x="197" y="72"/>
                      <a:pt x="200" y="75"/>
                      <a:pt x="200" y="78"/>
                    </a:cubicBezTo>
                    <a:cubicBezTo>
                      <a:pt x="200" y="81"/>
                      <a:pt x="197" y="84"/>
                      <a:pt x="194" y="84"/>
                    </a:cubicBezTo>
                    <a:cubicBezTo>
                      <a:pt x="191" y="84"/>
                      <a:pt x="188" y="81"/>
                      <a:pt x="188" y="78"/>
                    </a:cubicBezTo>
                    <a:cubicBezTo>
                      <a:pt x="188" y="75"/>
                      <a:pt x="191" y="72"/>
                      <a:pt x="194" y="72"/>
                    </a:cubicBezTo>
                    <a:close/>
                    <a:moveTo>
                      <a:pt x="152" y="8"/>
                    </a:moveTo>
                    <a:cubicBezTo>
                      <a:pt x="72" y="8"/>
                      <a:pt x="72" y="8"/>
                      <a:pt x="72" y="8"/>
                    </a:cubicBezTo>
                    <a:cubicBezTo>
                      <a:pt x="72" y="48"/>
                      <a:pt x="72" y="48"/>
                      <a:pt x="72" y="48"/>
                    </a:cubicBezTo>
                    <a:cubicBezTo>
                      <a:pt x="152" y="48"/>
                      <a:pt x="152" y="48"/>
                      <a:pt x="152" y="48"/>
                    </a:cubicBezTo>
                    <a:lnTo>
                      <a:pt x="152" y="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199" name="îṧ1ïḋe">
              <a:extLst>
                <a:ext uri="{FF2B5EF4-FFF2-40B4-BE49-F238E27FC236}">
                  <a16:creationId xmlns:a16="http://schemas.microsoft.com/office/drawing/2014/main" id="{C9533B76-3C8B-4D41-9EB4-5DBC3B964E35}"/>
                </a:ext>
              </a:extLst>
            </p:cNvPr>
            <p:cNvGrpSpPr/>
            <p:nvPr/>
          </p:nvGrpSpPr>
          <p:grpSpPr>
            <a:xfrm>
              <a:off x="7286625" y="3287125"/>
              <a:ext cx="3433763" cy="1233752"/>
              <a:chOff x="1760651" y="1440088"/>
              <a:chExt cx="3126184" cy="1233752"/>
            </a:xfrm>
          </p:grpSpPr>
          <p:sp>
            <p:nvSpPr>
              <p:cNvPr id="206" name="íṩľîḋê">
                <a:extLst>
                  <a:ext uri="{FF2B5EF4-FFF2-40B4-BE49-F238E27FC236}">
                    <a16:creationId xmlns:a16="http://schemas.microsoft.com/office/drawing/2014/main" id="{08F6F529-2664-4294-A89D-4B7746B08572}"/>
                  </a:ext>
                </a:extLst>
              </p:cNvPr>
              <p:cNvSpPr/>
              <p:nvPr/>
            </p:nvSpPr>
            <p:spPr bwMode="auto">
              <a:xfrm>
                <a:off x="1760651" y="1881893"/>
                <a:ext cx="3126184" cy="7919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07" name="îṧḷíḋé">
                <a:extLst>
                  <a:ext uri="{FF2B5EF4-FFF2-40B4-BE49-F238E27FC236}">
                    <a16:creationId xmlns:a16="http://schemas.microsoft.com/office/drawing/2014/main" id="{12AFCCE6-B350-4726-875F-8C5A843262CC}"/>
                  </a:ext>
                </a:extLst>
              </p:cNvPr>
              <p:cNvSpPr txBox="1"/>
              <p:nvPr/>
            </p:nvSpPr>
            <p:spPr bwMode="auto">
              <a:xfrm>
                <a:off x="1760651" y="1440088"/>
                <a:ext cx="3126184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/>
                  <a:t>Text here</a:t>
                </a:r>
              </a:p>
            </p:txBody>
          </p:sp>
        </p:grpSp>
        <p:grpSp>
          <p:nvGrpSpPr>
            <p:cNvPr id="200" name="íṥliḑè">
              <a:extLst>
                <a:ext uri="{FF2B5EF4-FFF2-40B4-BE49-F238E27FC236}">
                  <a16:creationId xmlns:a16="http://schemas.microsoft.com/office/drawing/2014/main" id="{A725C41A-3DB1-403E-A3DC-5C00F2849306}"/>
                </a:ext>
              </a:extLst>
            </p:cNvPr>
            <p:cNvGrpSpPr/>
            <p:nvPr/>
          </p:nvGrpSpPr>
          <p:grpSpPr>
            <a:xfrm>
              <a:off x="6246936" y="4879179"/>
              <a:ext cx="878080" cy="880403"/>
              <a:chOff x="3852543" y="1667810"/>
              <a:chExt cx="823456" cy="825634"/>
            </a:xfrm>
          </p:grpSpPr>
          <p:sp>
            <p:nvSpPr>
              <p:cNvPr id="204" name="í$ḷïde">
                <a:extLst>
                  <a:ext uri="{FF2B5EF4-FFF2-40B4-BE49-F238E27FC236}">
                    <a16:creationId xmlns:a16="http://schemas.microsoft.com/office/drawing/2014/main" id="{0D82AAFD-95E6-4561-9E48-3916EC98A599}"/>
                  </a:ext>
                </a:extLst>
              </p:cNvPr>
              <p:cNvSpPr/>
              <p:nvPr/>
            </p:nvSpPr>
            <p:spPr bwMode="auto">
              <a:xfrm>
                <a:off x="3852543" y="1667810"/>
                <a:ext cx="823456" cy="825634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 w="2857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3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5" name="ïŝḻidé">
                <a:extLst>
                  <a:ext uri="{FF2B5EF4-FFF2-40B4-BE49-F238E27FC236}">
                    <a16:creationId xmlns:a16="http://schemas.microsoft.com/office/drawing/2014/main" id="{EFEE38E8-ADDD-41CE-B95C-1053F0DF0646}"/>
                  </a:ext>
                </a:extLst>
              </p:cNvPr>
              <p:cNvSpPr/>
              <p:nvPr/>
            </p:nvSpPr>
            <p:spPr bwMode="auto">
              <a:xfrm>
                <a:off x="4070956" y="1869843"/>
                <a:ext cx="386629" cy="421566"/>
              </a:xfrm>
              <a:custGeom>
                <a:avLst/>
                <a:gdLst>
                  <a:gd name="T0" fmla="*/ 156 w 208"/>
                  <a:gd name="T1" fmla="*/ 0 h 224"/>
                  <a:gd name="T2" fmla="*/ 156 w 208"/>
                  <a:gd name="T3" fmla="*/ 8 h 224"/>
                  <a:gd name="T4" fmla="*/ 144 w 208"/>
                  <a:gd name="T5" fmla="*/ 8 h 224"/>
                  <a:gd name="T6" fmla="*/ 144 w 208"/>
                  <a:gd name="T7" fmla="*/ 59 h 224"/>
                  <a:gd name="T8" fmla="*/ 208 w 208"/>
                  <a:gd name="T9" fmla="*/ 204 h 224"/>
                  <a:gd name="T10" fmla="*/ 201 w 208"/>
                  <a:gd name="T11" fmla="*/ 224 h 224"/>
                  <a:gd name="T12" fmla="*/ 7 w 208"/>
                  <a:gd name="T13" fmla="*/ 224 h 224"/>
                  <a:gd name="T14" fmla="*/ 0 w 208"/>
                  <a:gd name="T15" fmla="*/ 204 h 224"/>
                  <a:gd name="T16" fmla="*/ 64 w 208"/>
                  <a:gd name="T17" fmla="*/ 59 h 224"/>
                  <a:gd name="T18" fmla="*/ 64 w 208"/>
                  <a:gd name="T19" fmla="*/ 8 h 224"/>
                  <a:gd name="T20" fmla="*/ 52 w 208"/>
                  <a:gd name="T21" fmla="*/ 8 h 224"/>
                  <a:gd name="T22" fmla="*/ 52 w 208"/>
                  <a:gd name="T23" fmla="*/ 0 h 224"/>
                  <a:gd name="T24" fmla="*/ 156 w 208"/>
                  <a:gd name="T25" fmla="*/ 0 h 224"/>
                  <a:gd name="T26" fmla="*/ 108 w 208"/>
                  <a:gd name="T27" fmla="*/ 174 h 224"/>
                  <a:gd name="T28" fmla="*/ 106 w 208"/>
                  <a:gd name="T29" fmla="*/ 175 h 224"/>
                  <a:gd name="T30" fmla="*/ 22 w 208"/>
                  <a:gd name="T31" fmla="*/ 174 h 224"/>
                  <a:gd name="T32" fmla="*/ 8 w 208"/>
                  <a:gd name="T33" fmla="*/ 204 h 224"/>
                  <a:gd name="T34" fmla="*/ 13 w 208"/>
                  <a:gd name="T35" fmla="*/ 216 h 224"/>
                  <a:gd name="T36" fmla="*/ 195 w 208"/>
                  <a:gd name="T37" fmla="*/ 216 h 224"/>
                  <a:gd name="T38" fmla="*/ 200 w 208"/>
                  <a:gd name="T39" fmla="*/ 204 h 224"/>
                  <a:gd name="T40" fmla="*/ 185 w 208"/>
                  <a:gd name="T41" fmla="*/ 171 h 224"/>
                  <a:gd name="T42" fmla="*/ 108 w 208"/>
                  <a:gd name="T43" fmla="*/ 174 h 224"/>
                  <a:gd name="T44" fmla="*/ 136 w 208"/>
                  <a:gd name="T45" fmla="*/ 8 h 224"/>
                  <a:gd name="T46" fmla="*/ 72 w 208"/>
                  <a:gd name="T47" fmla="*/ 8 h 224"/>
                  <a:gd name="T48" fmla="*/ 72 w 208"/>
                  <a:gd name="T49" fmla="*/ 61 h 224"/>
                  <a:gd name="T50" fmla="*/ 25 w 208"/>
                  <a:gd name="T51" fmla="*/ 166 h 224"/>
                  <a:gd name="T52" fmla="*/ 101 w 208"/>
                  <a:gd name="T53" fmla="*/ 170 h 224"/>
                  <a:gd name="T54" fmla="*/ 102 w 208"/>
                  <a:gd name="T55" fmla="*/ 169 h 224"/>
                  <a:gd name="T56" fmla="*/ 180 w 208"/>
                  <a:gd name="T57" fmla="*/ 160 h 224"/>
                  <a:gd name="T58" fmla="*/ 136 w 208"/>
                  <a:gd name="T59" fmla="*/ 61 h 224"/>
                  <a:gd name="T60" fmla="*/ 136 w 208"/>
                  <a:gd name="T61" fmla="*/ 8 h 224"/>
                  <a:gd name="T62" fmla="*/ 130 w 208"/>
                  <a:gd name="T63" fmla="*/ 104 h 224"/>
                  <a:gd name="T64" fmla="*/ 148 w 208"/>
                  <a:gd name="T65" fmla="*/ 122 h 224"/>
                  <a:gd name="T66" fmla="*/ 130 w 208"/>
                  <a:gd name="T67" fmla="*/ 140 h 224"/>
                  <a:gd name="T68" fmla="*/ 112 w 208"/>
                  <a:gd name="T69" fmla="*/ 122 h 224"/>
                  <a:gd name="T70" fmla="*/ 130 w 208"/>
                  <a:gd name="T71" fmla="*/ 104 h 224"/>
                  <a:gd name="T72" fmla="*/ 130 w 208"/>
                  <a:gd name="T73" fmla="*/ 112 h 224"/>
                  <a:gd name="T74" fmla="*/ 120 w 208"/>
                  <a:gd name="T75" fmla="*/ 122 h 224"/>
                  <a:gd name="T76" fmla="*/ 130 w 208"/>
                  <a:gd name="T77" fmla="*/ 132 h 224"/>
                  <a:gd name="T78" fmla="*/ 140 w 208"/>
                  <a:gd name="T79" fmla="*/ 122 h 224"/>
                  <a:gd name="T80" fmla="*/ 130 w 208"/>
                  <a:gd name="T81" fmla="*/ 112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08" h="224">
                    <a:moveTo>
                      <a:pt x="156" y="0"/>
                    </a:moveTo>
                    <a:cubicBezTo>
                      <a:pt x="156" y="8"/>
                      <a:pt x="156" y="8"/>
                      <a:pt x="156" y="8"/>
                    </a:cubicBezTo>
                    <a:cubicBezTo>
                      <a:pt x="144" y="8"/>
                      <a:pt x="144" y="8"/>
                      <a:pt x="144" y="8"/>
                    </a:cubicBezTo>
                    <a:cubicBezTo>
                      <a:pt x="144" y="59"/>
                      <a:pt x="144" y="59"/>
                      <a:pt x="144" y="59"/>
                    </a:cubicBezTo>
                    <a:cubicBezTo>
                      <a:pt x="208" y="204"/>
                      <a:pt x="208" y="204"/>
                      <a:pt x="208" y="204"/>
                    </a:cubicBezTo>
                    <a:cubicBezTo>
                      <a:pt x="201" y="224"/>
                      <a:pt x="201" y="224"/>
                      <a:pt x="201" y="224"/>
                    </a:cubicBezTo>
                    <a:cubicBezTo>
                      <a:pt x="7" y="224"/>
                      <a:pt x="7" y="224"/>
                      <a:pt x="7" y="224"/>
                    </a:cubicBezTo>
                    <a:cubicBezTo>
                      <a:pt x="0" y="204"/>
                      <a:pt x="0" y="204"/>
                      <a:pt x="0" y="204"/>
                    </a:cubicBezTo>
                    <a:cubicBezTo>
                      <a:pt x="64" y="59"/>
                      <a:pt x="64" y="59"/>
                      <a:pt x="64" y="59"/>
                    </a:cubicBezTo>
                    <a:cubicBezTo>
                      <a:pt x="64" y="8"/>
                      <a:pt x="64" y="8"/>
                      <a:pt x="64" y="8"/>
                    </a:cubicBezTo>
                    <a:cubicBezTo>
                      <a:pt x="52" y="8"/>
                      <a:pt x="52" y="8"/>
                      <a:pt x="52" y="8"/>
                    </a:cubicBezTo>
                    <a:cubicBezTo>
                      <a:pt x="52" y="0"/>
                      <a:pt x="52" y="0"/>
                      <a:pt x="52" y="0"/>
                    </a:cubicBezTo>
                    <a:lnTo>
                      <a:pt x="156" y="0"/>
                    </a:lnTo>
                    <a:close/>
                    <a:moveTo>
                      <a:pt x="108" y="174"/>
                    </a:moveTo>
                    <a:cubicBezTo>
                      <a:pt x="106" y="175"/>
                      <a:pt x="106" y="175"/>
                      <a:pt x="106" y="175"/>
                    </a:cubicBezTo>
                    <a:cubicBezTo>
                      <a:pt x="83" y="192"/>
                      <a:pt x="50" y="191"/>
                      <a:pt x="22" y="174"/>
                    </a:cubicBezTo>
                    <a:cubicBezTo>
                      <a:pt x="8" y="204"/>
                      <a:pt x="8" y="204"/>
                      <a:pt x="8" y="204"/>
                    </a:cubicBezTo>
                    <a:cubicBezTo>
                      <a:pt x="13" y="216"/>
                      <a:pt x="13" y="216"/>
                      <a:pt x="13" y="216"/>
                    </a:cubicBezTo>
                    <a:cubicBezTo>
                      <a:pt x="195" y="216"/>
                      <a:pt x="195" y="216"/>
                      <a:pt x="195" y="216"/>
                    </a:cubicBezTo>
                    <a:cubicBezTo>
                      <a:pt x="200" y="204"/>
                      <a:pt x="200" y="204"/>
                      <a:pt x="200" y="204"/>
                    </a:cubicBezTo>
                    <a:cubicBezTo>
                      <a:pt x="185" y="171"/>
                      <a:pt x="185" y="171"/>
                      <a:pt x="185" y="171"/>
                    </a:cubicBezTo>
                    <a:cubicBezTo>
                      <a:pt x="159" y="159"/>
                      <a:pt x="128" y="160"/>
                      <a:pt x="108" y="174"/>
                    </a:cubicBezTo>
                    <a:close/>
                    <a:moveTo>
                      <a:pt x="136" y="8"/>
                    </a:moveTo>
                    <a:cubicBezTo>
                      <a:pt x="72" y="8"/>
                      <a:pt x="72" y="8"/>
                      <a:pt x="72" y="8"/>
                    </a:cubicBezTo>
                    <a:cubicBezTo>
                      <a:pt x="72" y="61"/>
                      <a:pt x="72" y="61"/>
                      <a:pt x="72" y="61"/>
                    </a:cubicBezTo>
                    <a:cubicBezTo>
                      <a:pt x="25" y="166"/>
                      <a:pt x="25" y="166"/>
                      <a:pt x="25" y="166"/>
                    </a:cubicBezTo>
                    <a:cubicBezTo>
                      <a:pt x="50" y="182"/>
                      <a:pt x="80" y="183"/>
                      <a:pt x="101" y="170"/>
                    </a:cubicBezTo>
                    <a:cubicBezTo>
                      <a:pt x="102" y="169"/>
                      <a:pt x="102" y="169"/>
                      <a:pt x="102" y="169"/>
                    </a:cubicBezTo>
                    <a:cubicBezTo>
                      <a:pt x="123" y="154"/>
                      <a:pt x="153" y="151"/>
                      <a:pt x="180" y="160"/>
                    </a:cubicBezTo>
                    <a:cubicBezTo>
                      <a:pt x="136" y="61"/>
                      <a:pt x="136" y="61"/>
                      <a:pt x="136" y="61"/>
                    </a:cubicBezTo>
                    <a:lnTo>
                      <a:pt x="136" y="8"/>
                    </a:lnTo>
                    <a:close/>
                    <a:moveTo>
                      <a:pt x="130" y="104"/>
                    </a:moveTo>
                    <a:cubicBezTo>
                      <a:pt x="140" y="104"/>
                      <a:pt x="148" y="112"/>
                      <a:pt x="148" y="122"/>
                    </a:cubicBezTo>
                    <a:cubicBezTo>
                      <a:pt x="148" y="132"/>
                      <a:pt x="140" y="140"/>
                      <a:pt x="130" y="140"/>
                    </a:cubicBezTo>
                    <a:cubicBezTo>
                      <a:pt x="120" y="140"/>
                      <a:pt x="112" y="132"/>
                      <a:pt x="112" y="122"/>
                    </a:cubicBezTo>
                    <a:cubicBezTo>
                      <a:pt x="112" y="112"/>
                      <a:pt x="120" y="104"/>
                      <a:pt x="130" y="104"/>
                    </a:cubicBezTo>
                    <a:close/>
                    <a:moveTo>
                      <a:pt x="130" y="112"/>
                    </a:moveTo>
                    <a:cubicBezTo>
                      <a:pt x="124" y="112"/>
                      <a:pt x="120" y="116"/>
                      <a:pt x="120" y="122"/>
                    </a:cubicBezTo>
                    <a:cubicBezTo>
                      <a:pt x="120" y="128"/>
                      <a:pt x="124" y="132"/>
                      <a:pt x="130" y="132"/>
                    </a:cubicBezTo>
                    <a:cubicBezTo>
                      <a:pt x="136" y="132"/>
                      <a:pt x="140" y="128"/>
                      <a:pt x="140" y="122"/>
                    </a:cubicBezTo>
                    <a:cubicBezTo>
                      <a:pt x="140" y="116"/>
                      <a:pt x="136" y="112"/>
                      <a:pt x="130" y="11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201" name="ïṡḷídê">
              <a:extLst>
                <a:ext uri="{FF2B5EF4-FFF2-40B4-BE49-F238E27FC236}">
                  <a16:creationId xmlns:a16="http://schemas.microsoft.com/office/drawing/2014/main" id="{DF6B9A13-E610-4DBD-A620-9786EE06EBBD}"/>
                </a:ext>
              </a:extLst>
            </p:cNvPr>
            <p:cNvGrpSpPr/>
            <p:nvPr/>
          </p:nvGrpSpPr>
          <p:grpSpPr>
            <a:xfrm>
              <a:off x="7286625" y="4879180"/>
              <a:ext cx="3433763" cy="1233752"/>
              <a:chOff x="1760651" y="1440088"/>
              <a:chExt cx="3126184" cy="1233752"/>
            </a:xfrm>
          </p:grpSpPr>
          <p:sp>
            <p:nvSpPr>
              <p:cNvPr id="202" name="ïsľídé">
                <a:extLst>
                  <a:ext uri="{FF2B5EF4-FFF2-40B4-BE49-F238E27FC236}">
                    <a16:creationId xmlns:a16="http://schemas.microsoft.com/office/drawing/2014/main" id="{EC5F52A6-A875-4EA5-B9EB-9D366B45FF84}"/>
                  </a:ext>
                </a:extLst>
              </p:cNvPr>
              <p:cNvSpPr/>
              <p:nvPr/>
            </p:nvSpPr>
            <p:spPr bwMode="auto">
              <a:xfrm>
                <a:off x="1760651" y="1881893"/>
                <a:ext cx="3126184" cy="7919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03" name="ïš1ïdê">
                <a:extLst>
                  <a:ext uri="{FF2B5EF4-FFF2-40B4-BE49-F238E27FC236}">
                    <a16:creationId xmlns:a16="http://schemas.microsoft.com/office/drawing/2014/main" id="{D7FEEF44-C915-40FE-AF61-3AF31E273164}"/>
                  </a:ext>
                </a:extLst>
              </p:cNvPr>
              <p:cNvSpPr txBox="1"/>
              <p:nvPr/>
            </p:nvSpPr>
            <p:spPr bwMode="auto">
              <a:xfrm>
                <a:off x="1760651" y="1440088"/>
                <a:ext cx="3126184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/>
                  <a:t>Text here</a:t>
                </a:r>
              </a:p>
            </p:txBody>
          </p:sp>
        </p:grpSp>
      </p:grpSp>
      <p:cxnSp>
        <p:nvCxnSpPr>
          <p:cNvPr id="194" name="直接连接符 193">
            <a:extLst>
              <a:ext uri="{FF2B5EF4-FFF2-40B4-BE49-F238E27FC236}">
                <a16:creationId xmlns:a16="http://schemas.microsoft.com/office/drawing/2014/main" id="{E6D33CC6-346F-4CCB-B13B-7C724608ABFC}"/>
              </a:ext>
            </a:extLst>
          </p:cNvPr>
          <p:cNvCxnSpPr/>
          <p:nvPr/>
        </p:nvCxnSpPr>
        <p:spPr>
          <a:xfrm>
            <a:off x="7286624" y="2847627"/>
            <a:ext cx="3433763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直接连接符 194">
            <a:extLst>
              <a:ext uri="{FF2B5EF4-FFF2-40B4-BE49-F238E27FC236}">
                <a16:creationId xmlns:a16="http://schemas.microsoft.com/office/drawing/2014/main" id="{F4910EAD-2F3B-45C0-9D5C-B4307F7E8EAC}"/>
              </a:ext>
            </a:extLst>
          </p:cNvPr>
          <p:cNvCxnSpPr/>
          <p:nvPr/>
        </p:nvCxnSpPr>
        <p:spPr>
          <a:xfrm>
            <a:off x="7286624" y="4447827"/>
            <a:ext cx="3433763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9144093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D802051-15E6-4C4A-8E69-22268ED07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0389556-8398-45C5-9F9D-1DAD4ED670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CF3DB1C-C56C-4872-83EF-74289B5DB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94" name="îS1idè">
            <a:extLst>
              <a:ext uri="{FF2B5EF4-FFF2-40B4-BE49-F238E27FC236}">
                <a16:creationId xmlns:a16="http://schemas.microsoft.com/office/drawing/2014/main" id="{607B4FC9-24B0-4A50-8875-ECD6952F8777}"/>
              </a:ext>
            </a:extLst>
          </p:cNvPr>
          <p:cNvSpPr txBox="1"/>
          <p:nvPr/>
        </p:nvSpPr>
        <p:spPr>
          <a:xfrm>
            <a:off x="1068066" y="5129370"/>
            <a:ext cx="2091600" cy="39251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ext here</a:t>
            </a:r>
          </a:p>
        </p:txBody>
      </p:sp>
      <p:sp>
        <p:nvSpPr>
          <p:cNvPr id="95" name="išļîḑè">
            <a:extLst>
              <a:ext uri="{FF2B5EF4-FFF2-40B4-BE49-F238E27FC236}">
                <a16:creationId xmlns:a16="http://schemas.microsoft.com/office/drawing/2014/main" id="{DE55EED5-0C1B-4C28-B6EC-06661394CA60}"/>
              </a:ext>
            </a:extLst>
          </p:cNvPr>
          <p:cNvSpPr txBox="1"/>
          <p:nvPr/>
        </p:nvSpPr>
        <p:spPr>
          <a:xfrm>
            <a:off x="1068066" y="5521882"/>
            <a:ext cx="2091600" cy="62491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Supporting text here. 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……</a:t>
            </a:r>
          </a:p>
        </p:txBody>
      </p:sp>
      <p:sp>
        <p:nvSpPr>
          <p:cNvPr id="92" name="ïṣľïďe">
            <a:extLst>
              <a:ext uri="{FF2B5EF4-FFF2-40B4-BE49-F238E27FC236}">
                <a16:creationId xmlns:a16="http://schemas.microsoft.com/office/drawing/2014/main" id="{18B913A7-C9B6-47D3-865B-B8CD7E3E3AD9}"/>
              </a:ext>
            </a:extLst>
          </p:cNvPr>
          <p:cNvSpPr txBox="1"/>
          <p:nvPr/>
        </p:nvSpPr>
        <p:spPr>
          <a:xfrm>
            <a:off x="3157874" y="5129370"/>
            <a:ext cx="2091600" cy="39251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ext here</a:t>
            </a:r>
          </a:p>
        </p:txBody>
      </p:sp>
      <p:sp>
        <p:nvSpPr>
          <p:cNvPr id="93" name="ïṡľïḑé">
            <a:extLst>
              <a:ext uri="{FF2B5EF4-FFF2-40B4-BE49-F238E27FC236}">
                <a16:creationId xmlns:a16="http://schemas.microsoft.com/office/drawing/2014/main" id="{7FAD2D0A-8C13-48CE-B06B-18AEC4E5555A}"/>
              </a:ext>
            </a:extLst>
          </p:cNvPr>
          <p:cNvSpPr txBox="1"/>
          <p:nvPr/>
        </p:nvSpPr>
        <p:spPr>
          <a:xfrm>
            <a:off x="3157874" y="5521882"/>
            <a:ext cx="2091600" cy="62491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Supporting text here. 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……</a:t>
            </a:r>
          </a:p>
        </p:txBody>
      </p:sp>
      <p:sp>
        <p:nvSpPr>
          <p:cNvPr id="90" name="íṡľïḋè">
            <a:extLst>
              <a:ext uri="{FF2B5EF4-FFF2-40B4-BE49-F238E27FC236}">
                <a16:creationId xmlns:a16="http://schemas.microsoft.com/office/drawing/2014/main" id="{5A5D6085-37D0-4432-A99C-FC447611AD48}"/>
              </a:ext>
            </a:extLst>
          </p:cNvPr>
          <p:cNvSpPr txBox="1"/>
          <p:nvPr/>
        </p:nvSpPr>
        <p:spPr>
          <a:xfrm>
            <a:off x="5247682" y="5129370"/>
            <a:ext cx="2091600" cy="39251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ext here</a:t>
            </a:r>
          </a:p>
        </p:txBody>
      </p:sp>
      <p:sp>
        <p:nvSpPr>
          <p:cNvPr id="91" name="íṧḻiḋê">
            <a:extLst>
              <a:ext uri="{FF2B5EF4-FFF2-40B4-BE49-F238E27FC236}">
                <a16:creationId xmlns:a16="http://schemas.microsoft.com/office/drawing/2014/main" id="{43352CFF-DB72-48D8-BBC5-CBAFA644CAF9}"/>
              </a:ext>
            </a:extLst>
          </p:cNvPr>
          <p:cNvSpPr txBox="1"/>
          <p:nvPr/>
        </p:nvSpPr>
        <p:spPr>
          <a:xfrm>
            <a:off x="5247682" y="5521882"/>
            <a:ext cx="2091600" cy="62491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Supporting text here. 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……</a:t>
            </a:r>
          </a:p>
        </p:txBody>
      </p:sp>
      <p:sp>
        <p:nvSpPr>
          <p:cNvPr id="88" name="íṣ1îḍè">
            <a:extLst>
              <a:ext uri="{FF2B5EF4-FFF2-40B4-BE49-F238E27FC236}">
                <a16:creationId xmlns:a16="http://schemas.microsoft.com/office/drawing/2014/main" id="{83E7E8A3-E6B1-433C-93B9-0F871EA37268}"/>
              </a:ext>
            </a:extLst>
          </p:cNvPr>
          <p:cNvSpPr txBox="1"/>
          <p:nvPr/>
        </p:nvSpPr>
        <p:spPr>
          <a:xfrm>
            <a:off x="7337490" y="5129370"/>
            <a:ext cx="2091600" cy="39251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ext here</a:t>
            </a:r>
          </a:p>
        </p:txBody>
      </p:sp>
      <p:sp>
        <p:nvSpPr>
          <p:cNvPr id="89" name="íśḻíḍe">
            <a:extLst>
              <a:ext uri="{FF2B5EF4-FFF2-40B4-BE49-F238E27FC236}">
                <a16:creationId xmlns:a16="http://schemas.microsoft.com/office/drawing/2014/main" id="{849F6A47-9F84-444C-9B51-B670C60AF422}"/>
              </a:ext>
            </a:extLst>
          </p:cNvPr>
          <p:cNvSpPr txBox="1"/>
          <p:nvPr/>
        </p:nvSpPr>
        <p:spPr>
          <a:xfrm>
            <a:off x="7337490" y="5521882"/>
            <a:ext cx="2091600" cy="62491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Supporting text here. 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……</a:t>
            </a:r>
          </a:p>
        </p:txBody>
      </p:sp>
      <p:sp>
        <p:nvSpPr>
          <p:cNvPr id="86" name="ïśḷiḑè">
            <a:extLst>
              <a:ext uri="{FF2B5EF4-FFF2-40B4-BE49-F238E27FC236}">
                <a16:creationId xmlns:a16="http://schemas.microsoft.com/office/drawing/2014/main" id="{824F586A-8FD7-4CD9-97FE-D7603A3DFF7A}"/>
              </a:ext>
            </a:extLst>
          </p:cNvPr>
          <p:cNvSpPr txBox="1"/>
          <p:nvPr/>
        </p:nvSpPr>
        <p:spPr>
          <a:xfrm>
            <a:off x="9427300" y="5129370"/>
            <a:ext cx="2091600" cy="39251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ext here</a:t>
            </a:r>
          </a:p>
        </p:txBody>
      </p:sp>
      <p:sp>
        <p:nvSpPr>
          <p:cNvPr id="87" name="ïṣļíḓé">
            <a:extLst>
              <a:ext uri="{FF2B5EF4-FFF2-40B4-BE49-F238E27FC236}">
                <a16:creationId xmlns:a16="http://schemas.microsoft.com/office/drawing/2014/main" id="{70E3AF8F-015C-4479-AA47-CE16CA92165A}"/>
              </a:ext>
            </a:extLst>
          </p:cNvPr>
          <p:cNvSpPr txBox="1"/>
          <p:nvPr/>
        </p:nvSpPr>
        <p:spPr>
          <a:xfrm>
            <a:off x="9427300" y="5521882"/>
            <a:ext cx="2091600" cy="62491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Supporting text here. 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……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29222674-9E9E-4DAE-838D-08C0D46DFE4E}"/>
              </a:ext>
            </a:extLst>
          </p:cNvPr>
          <p:cNvGrpSpPr/>
          <p:nvPr/>
        </p:nvGrpSpPr>
        <p:grpSpPr>
          <a:xfrm>
            <a:off x="1068962" y="1643604"/>
            <a:ext cx="8359232" cy="3031252"/>
            <a:chOff x="1068962" y="1130299"/>
            <a:chExt cx="8359232" cy="5016500"/>
          </a:xfrm>
        </p:grpSpPr>
        <p:cxnSp>
          <p:nvCxnSpPr>
            <p:cNvPr id="61" name="直接连接符 60">
              <a:extLst>
                <a:ext uri="{FF2B5EF4-FFF2-40B4-BE49-F238E27FC236}">
                  <a16:creationId xmlns:a16="http://schemas.microsoft.com/office/drawing/2014/main" id="{F696B313-2D22-466B-8744-6343559DC0F7}"/>
                </a:ext>
              </a:extLst>
            </p:cNvPr>
            <p:cNvCxnSpPr/>
            <p:nvPr/>
          </p:nvCxnSpPr>
          <p:spPr>
            <a:xfrm>
              <a:off x="3158770" y="1130299"/>
              <a:ext cx="0" cy="50165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lgDashDot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直接连接符 61">
              <a:extLst>
                <a:ext uri="{FF2B5EF4-FFF2-40B4-BE49-F238E27FC236}">
                  <a16:creationId xmlns:a16="http://schemas.microsoft.com/office/drawing/2014/main" id="{59F9C122-AE37-462D-B85E-91779A256147}"/>
                </a:ext>
              </a:extLst>
            </p:cNvPr>
            <p:cNvCxnSpPr/>
            <p:nvPr/>
          </p:nvCxnSpPr>
          <p:spPr>
            <a:xfrm>
              <a:off x="1068962" y="1130299"/>
              <a:ext cx="0" cy="50165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lgDashDot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直接连接符 67">
              <a:extLst>
                <a:ext uri="{FF2B5EF4-FFF2-40B4-BE49-F238E27FC236}">
                  <a16:creationId xmlns:a16="http://schemas.microsoft.com/office/drawing/2014/main" id="{1F8BA72D-44B1-48B1-AE7E-C8151D853A57}"/>
                </a:ext>
              </a:extLst>
            </p:cNvPr>
            <p:cNvCxnSpPr/>
            <p:nvPr/>
          </p:nvCxnSpPr>
          <p:spPr>
            <a:xfrm>
              <a:off x="5248578" y="1130299"/>
              <a:ext cx="0" cy="50165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lgDashDot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直接连接符 68">
              <a:extLst>
                <a:ext uri="{FF2B5EF4-FFF2-40B4-BE49-F238E27FC236}">
                  <a16:creationId xmlns:a16="http://schemas.microsoft.com/office/drawing/2014/main" id="{4CD57D23-3F92-4912-B2BE-74C80E97F5E8}"/>
                </a:ext>
              </a:extLst>
            </p:cNvPr>
            <p:cNvCxnSpPr/>
            <p:nvPr/>
          </p:nvCxnSpPr>
          <p:spPr>
            <a:xfrm>
              <a:off x="7338386" y="1130299"/>
              <a:ext cx="0" cy="50165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lgDashDot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直接连接符 69">
              <a:extLst>
                <a:ext uri="{FF2B5EF4-FFF2-40B4-BE49-F238E27FC236}">
                  <a16:creationId xmlns:a16="http://schemas.microsoft.com/office/drawing/2014/main" id="{023BA4C8-EDDA-466D-8545-CA867E916897}"/>
                </a:ext>
              </a:extLst>
            </p:cNvPr>
            <p:cNvCxnSpPr/>
            <p:nvPr/>
          </p:nvCxnSpPr>
          <p:spPr>
            <a:xfrm>
              <a:off x="9428194" y="1130299"/>
              <a:ext cx="0" cy="50165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lgDashDot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5" name="íşľîḍè">
            <a:extLst>
              <a:ext uri="{FF2B5EF4-FFF2-40B4-BE49-F238E27FC236}">
                <a16:creationId xmlns:a16="http://schemas.microsoft.com/office/drawing/2014/main" id="{74F9A69E-E36B-4BF9-93F5-D11E59305B45}"/>
              </a:ext>
            </a:extLst>
          </p:cNvPr>
          <p:cNvSpPr/>
          <p:nvPr/>
        </p:nvSpPr>
        <p:spPr>
          <a:xfrm>
            <a:off x="1076325" y="1637304"/>
            <a:ext cx="2457443" cy="451352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>
              <a:defRPr/>
            </a:pPr>
            <a:r>
              <a:rPr lang="en-US" altLang="zh-CN" sz="1100" dirty="0">
                <a:solidFill>
                  <a:schemeClr val="tx1"/>
                </a:solidFill>
              </a:rPr>
              <a:t>Supporting text here.….</a:t>
            </a:r>
          </a:p>
        </p:txBody>
      </p:sp>
      <p:sp>
        <p:nvSpPr>
          <p:cNvPr id="83" name="ïş1íďê">
            <a:extLst>
              <a:ext uri="{FF2B5EF4-FFF2-40B4-BE49-F238E27FC236}">
                <a16:creationId xmlns:a16="http://schemas.microsoft.com/office/drawing/2014/main" id="{2A1A7A23-8937-4A24-ACBD-6B4B8658FBF1}"/>
              </a:ext>
            </a:extLst>
          </p:cNvPr>
          <p:cNvSpPr/>
          <p:nvPr/>
        </p:nvSpPr>
        <p:spPr>
          <a:xfrm>
            <a:off x="1076325" y="2278753"/>
            <a:ext cx="4514847" cy="451352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>
              <a:defRPr/>
            </a:pPr>
            <a:r>
              <a:rPr lang="en-US" altLang="zh-CN" sz="1100" dirty="0">
                <a:solidFill>
                  <a:schemeClr val="tx1"/>
                </a:solidFill>
              </a:rPr>
              <a:t>Supporting text here.….</a:t>
            </a:r>
          </a:p>
        </p:txBody>
      </p:sp>
      <p:sp>
        <p:nvSpPr>
          <p:cNvPr id="81" name="íSḻîḍe">
            <a:extLst>
              <a:ext uri="{FF2B5EF4-FFF2-40B4-BE49-F238E27FC236}">
                <a16:creationId xmlns:a16="http://schemas.microsoft.com/office/drawing/2014/main" id="{BA633423-9894-44A7-961B-E65220978D19}"/>
              </a:ext>
            </a:extLst>
          </p:cNvPr>
          <p:cNvSpPr/>
          <p:nvPr/>
        </p:nvSpPr>
        <p:spPr>
          <a:xfrm>
            <a:off x="1076325" y="2920202"/>
            <a:ext cx="5943597" cy="451352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>
              <a:defRPr/>
            </a:pPr>
            <a:r>
              <a:rPr lang="en-US" altLang="zh-CN" sz="1100" dirty="0">
                <a:solidFill>
                  <a:schemeClr val="tx1"/>
                </a:solidFill>
              </a:rPr>
              <a:t>Supporting text here.….</a:t>
            </a:r>
          </a:p>
        </p:txBody>
      </p:sp>
      <p:sp>
        <p:nvSpPr>
          <p:cNvPr id="79" name="îṡḻíḋè">
            <a:extLst>
              <a:ext uri="{FF2B5EF4-FFF2-40B4-BE49-F238E27FC236}">
                <a16:creationId xmlns:a16="http://schemas.microsoft.com/office/drawing/2014/main" id="{3F94071D-FDF9-4C9F-9D1E-66B60E02C0AA}"/>
              </a:ext>
            </a:extLst>
          </p:cNvPr>
          <p:cNvSpPr/>
          <p:nvPr/>
        </p:nvSpPr>
        <p:spPr>
          <a:xfrm>
            <a:off x="1076326" y="3561651"/>
            <a:ext cx="9115424" cy="451352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>
              <a:defRPr/>
            </a:pPr>
            <a:r>
              <a:rPr lang="en-US" altLang="zh-CN" sz="1100" dirty="0">
                <a:solidFill>
                  <a:schemeClr val="tx1"/>
                </a:solidFill>
              </a:rPr>
              <a:t>Supporting text here.….</a:t>
            </a:r>
          </a:p>
        </p:txBody>
      </p:sp>
      <p:sp>
        <p:nvSpPr>
          <p:cNvPr id="77" name="îṣlïḓê">
            <a:extLst>
              <a:ext uri="{FF2B5EF4-FFF2-40B4-BE49-F238E27FC236}">
                <a16:creationId xmlns:a16="http://schemas.microsoft.com/office/drawing/2014/main" id="{6AE4C02E-074E-429E-8E7A-DD579859A1B4}"/>
              </a:ext>
            </a:extLst>
          </p:cNvPr>
          <p:cNvSpPr/>
          <p:nvPr/>
        </p:nvSpPr>
        <p:spPr>
          <a:xfrm>
            <a:off x="1076325" y="4203100"/>
            <a:ext cx="7734299" cy="451352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>
              <a:defRPr/>
            </a:pPr>
            <a:r>
              <a:rPr lang="en-US" altLang="zh-CN" sz="1100" dirty="0">
                <a:solidFill>
                  <a:schemeClr val="tx1"/>
                </a:solidFill>
              </a:rPr>
              <a:t>Supporting text here.….</a:t>
            </a:r>
          </a:p>
        </p:txBody>
      </p:sp>
    </p:spTree>
    <p:extLst>
      <p:ext uri="{BB962C8B-B14F-4D97-AF65-F5344CB8AC3E}">
        <p14:creationId xmlns:p14="http://schemas.microsoft.com/office/powerpoint/2010/main" val="2401490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EB412AA-773F-4A93-A847-908A3D64B5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846AA29-C71C-4ABE-9F7D-8B7DDA57EF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9904FCB-65F0-42A4-BE94-7CD7C1F989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grpSp>
        <p:nvGrpSpPr>
          <p:cNvPr id="71" name="24804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0323815-6815-465F-ACDE-5043A7C728BB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759232"/>
            <a:ext cx="10845800" cy="4584421"/>
            <a:chOff x="673100" y="1562379"/>
            <a:chExt cx="10845800" cy="4584421"/>
          </a:xfrm>
        </p:grpSpPr>
        <p:grpSp>
          <p:nvGrpSpPr>
            <p:cNvPr id="72" name="ï$ḻiḑe">
              <a:extLst>
                <a:ext uri="{FF2B5EF4-FFF2-40B4-BE49-F238E27FC236}">
                  <a16:creationId xmlns:a16="http://schemas.microsoft.com/office/drawing/2014/main" id="{71695137-9133-4B92-AF8B-1554B807922A}"/>
                </a:ext>
              </a:extLst>
            </p:cNvPr>
            <p:cNvGrpSpPr/>
            <p:nvPr/>
          </p:nvGrpSpPr>
          <p:grpSpPr>
            <a:xfrm>
              <a:off x="3922114" y="1821981"/>
              <a:ext cx="4405584" cy="3633138"/>
              <a:chOff x="3922114" y="1821981"/>
              <a:chExt cx="4405584" cy="3633138"/>
            </a:xfrm>
          </p:grpSpPr>
          <p:grpSp>
            <p:nvGrpSpPr>
              <p:cNvPr id="83" name="iṧ1îḋè">
                <a:extLst>
                  <a:ext uri="{FF2B5EF4-FFF2-40B4-BE49-F238E27FC236}">
                    <a16:creationId xmlns:a16="http://schemas.microsoft.com/office/drawing/2014/main" id="{CC58DC3B-0D2F-49C3-9D8D-3ABB4908B6AB}"/>
                  </a:ext>
                </a:extLst>
              </p:cNvPr>
              <p:cNvGrpSpPr/>
              <p:nvPr/>
            </p:nvGrpSpPr>
            <p:grpSpPr>
              <a:xfrm>
                <a:off x="3961163" y="1821981"/>
                <a:ext cx="4269674" cy="3633138"/>
                <a:chOff x="3961163" y="1821981"/>
                <a:chExt cx="4269674" cy="3633138"/>
              </a:xfrm>
            </p:grpSpPr>
            <p:sp>
              <p:nvSpPr>
                <p:cNvPr id="86" name="íşľíḑè">
                  <a:extLst>
                    <a:ext uri="{FF2B5EF4-FFF2-40B4-BE49-F238E27FC236}">
                      <a16:creationId xmlns:a16="http://schemas.microsoft.com/office/drawing/2014/main" id="{5784283B-5626-42C6-A03E-62382B67BB44}"/>
                    </a:ext>
                  </a:extLst>
                </p:cNvPr>
                <p:cNvSpPr/>
                <p:nvPr/>
              </p:nvSpPr>
              <p:spPr bwMode="auto">
                <a:xfrm>
                  <a:off x="3961163" y="2554990"/>
                  <a:ext cx="4269674" cy="1164329"/>
                </a:xfrm>
                <a:custGeom>
                  <a:avLst/>
                  <a:gdLst>
                    <a:gd name="T0" fmla="*/ 750 w 2566"/>
                    <a:gd name="T1" fmla="*/ 699 h 699"/>
                    <a:gd name="T2" fmla="*/ 296 w 2566"/>
                    <a:gd name="T3" fmla="*/ 302 h 699"/>
                    <a:gd name="T4" fmla="*/ 12 w 2566"/>
                    <a:gd name="T5" fmla="*/ 626 h 699"/>
                    <a:gd name="T6" fmla="*/ 0 w 2566"/>
                    <a:gd name="T7" fmla="*/ 610 h 699"/>
                    <a:gd name="T8" fmla="*/ 287 w 2566"/>
                    <a:gd name="T9" fmla="*/ 282 h 699"/>
                    <a:gd name="T10" fmla="*/ 294 w 2566"/>
                    <a:gd name="T11" fmla="*/ 274 h 699"/>
                    <a:gd name="T12" fmla="*/ 748 w 2566"/>
                    <a:gd name="T13" fmla="*/ 671 h 699"/>
                    <a:gd name="T14" fmla="*/ 1005 w 2566"/>
                    <a:gd name="T15" fmla="*/ 377 h 699"/>
                    <a:gd name="T16" fmla="*/ 1157 w 2566"/>
                    <a:gd name="T17" fmla="*/ 510 h 699"/>
                    <a:gd name="T18" fmla="*/ 1519 w 2566"/>
                    <a:gd name="T19" fmla="*/ 153 h 699"/>
                    <a:gd name="T20" fmla="*/ 1610 w 2566"/>
                    <a:gd name="T21" fmla="*/ 147 h 699"/>
                    <a:gd name="T22" fmla="*/ 2099 w 2566"/>
                    <a:gd name="T23" fmla="*/ 517 h 699"/>
                    <a:gd name="T24" fmla="*/ 2551 w 2566"/>
                    <a:gd name="T25" fmla="*/ 0 h 699"/>
                    <a:gd name="T26" fmla="*/ 2566 w 2566"/>
                    <a:gd name="T27" fmla="*/ 13 h 699"/>
                    <a:gd name="T28" fmla="*/ 2101 w 2566"/>
                    <a:gd name="T29" fmla="*/ 545 h 699"/>
                    <a:gd name="T30" fmla="*/ 1564 w 2566"/>
                    <a:gd name="T31" fmla="*/ 162 h 699"/>
                    <a:gd name="T32" fmla="*/ 1159 w 2566"/>
                    <a:gd name="T33" fmla="*/ 538 h 699"/>
                    <a:gd name="T34" fmla="*/ 1007 w 2566"/>
                    <a:gd name="T35" fmla="*/ 405 h 699"/>
                    <a:gd name="T36" fmla="*/ 750 w 2566"/>
                    <a:gd name="T37" fmla="*/ 699 h 6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566" h="699">
                      <a:moveTo>
                        <a:pt x="750" y="699"/>
                      </a:moveTo>
                      <a:cubicBezTo>
                        <a:pt x="296" y="302"/>
                        <a:pt x="296" y="302"/>
                        <a:pt x="296" y="302"/>
                      </a:cubicBezTo>
                      <a:cubicBezTo>
                        <a:pt x="248" y="357"/>
                        <a:pt x="28" y="613"/>
                        <a:pt x="12" y="626"/>
                      </a:cubicBezTo>
                      <a:cubicBezTo>
                        <a:pt x="0" y="610"/>
                        <a:pt x="0" y="610"/>
                        <a:pt x="0" y="610"/>
                      </a:cubicBezTo>
                      <a:cubicBezTo>
                        <a:pt x="13" y="600"/>
                        <a:pt x="179" y="408"/>
                        <a:pt x="287" y="282"/>
                      </a:cubicBezTo>
                      <a:cubicBezTo>
                        <a:pt x="294" y="274"/>
                        <a:pt x="294" y="274"/>
                        <a:pt x="294" y="274"/>
                      </a:cubicBezTo>
                      <a:cubicBezTo>
                        <a:pt x="748" y="671"/>
                        <a:pt x="748" y="671"/>
                        <a:pt x="748" y="671"/>
                      </a:cubicBezTo>
                      <a:cubicBezTo>
                        <a:pt x="1005" y="377"/>
                        <a:pt x="1005" y="377"/>
                        <a:pt x="1005" y="377"/>
                      </a:cubicBezTo>
                      <a:cubicBezTo>
                        <a:pt x="1157" y="510"/>
                        <a:pt x="1157" y="510"/>
                        <a:pt x="1157" y="510"/>
                      </a:cubicBezTo>
                      <a:cubicBezTo>
                        <a:pt x="1519" y="153"/>
                        <a:pt x="1519" y="153"/>
                        <a:pt x="1519" y="153"/>
                      </a:cubicBezTo>
                      <a:cubicBezTo>
                        <a:pt x="1543" y="128"/>
                        <a:pt x="1583" y="126"/>
                        <a:pt x="1610" y="147"/>
                      </a:cubicBezTo>
                      <a:cubicBezTo>
                        <a:pt x="2099" y="517"/>
                        <a:pt x="2099" y="517"/>
                        <a:pt x="2099" y="517"/>
                      </a:cubicBezTo>
                      <a:cubicBezTo>
                        <a:pt x="2551" y="0"/>
                        <a:pt x="2551" y="0"/>
                        <a:pt x="2551" y="0"/>
                      </a:cubicBezTo>
                      <a:cubicBezTo>
                        <a:pt x="2566" y="13"/>
                        <a:pt x="2566" y="13"/>
                        <a:pt x="2566" y="13"/>
                      </a:cubicBezTo>
                      <a:cubicBezTo>
                        <a:pt x="2101" y="545"/>
                        <a:pt x="2101" y="545"/>
                        <a:pt x="2101" y="545"/>
                      </a:cubicBezTo>
                      <a:cubicBezTo>
                        <a:pt x="1564" y="162"/>
                        <a:pt x="1564" y="162"/>
                        <a:pt x="1564" y="162"/>
                      </a:cubicBezTo>
                      <a:cubicBezTo>
                        <a:pt x="1159" y="538"/>
                        <a:pt x="1159" y="538"/>
                        <a:pt x="1159" y="538"/>
                      </a:cubicBezTo>
                      <a:cubicBezTo>
                        <a:pt x="1007" y="405"/>
                        <a:pt x="1007" y="405"/>
                        <a:pt x="1007" y="405"/>
                      </a:cubicBezTo>
                      <a:lnTo>
                        <a:pt x="750" y="699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  <p:grpSp>
              <p:nvGrpSpPr>
                <p:cNvPr id="87" name="îṥḻîḓè">
                  <a:extLst>
                    <a:ext uri="{FF2B5EF4-FFF2-40B4-BE49-F238E27FC236}">
                      <a16:creationId xmlns:a16="http://schemas.microsoft.com/office/drawing/2014/main" id="{0790542C-3A8B-4F6B-A643-D468ECEFA735}"/>
                    </a:ext>
                  </a:extLst>
                </p:cNvPr>
                <p:cNvGrpSpPr/>
                <p:nvPr/>
              </p:nvGrpSpPr>
              <p:grpSpPr>
                <a:xfrm>
                  <a:off x="4966586" y="1821981"/>
                  <a:ext cx="2258829" cy="3633138"/>
                  <a:chOff x="4966586" y="1821981"/>
                  <a:chExt cx="2258829" cy="3633138"/>
                </a:xfrm>
              </p:grpSpPr>
              <p:sp>
                <p:nvSpPr>
                  <p:cNvPr id="88" name="íṧļîḓè">
                    <a:extLst>
                      <a:ext uri="{FF2B5EF4-FFF2-40B4-BE49-F238E27FC236}">
                        <a16:creationId xmlns:a16="http://schemas.microsoft.com/office/drawing/2014/main" id="{C3B1BAD2-DEB2-4DE0-B9F2-D96F0D840D3B}"/>
                      </a:ext>
                    </a:extLst>
                  </p:cNvPr>
                  <p:cNvSpPr/>
                  <p:nvPr/>
                </p:nvSpPr>
                <p:spPr bwMode="auto">
                  <a:xfrm rot="20639223">
                    <a:off x="5100518" y="1856908"/>
                    <a:ext cx="2124897" cy="3598211"/>
                  </a:xfrm>
                  <a:custGeom>
                    <a:avLst/>
                    <a:gdLst>
                      <a:gd name="connsiteX0" fmla="*/ 1065132 w 2124897"/>
                      <a:gd name="connsiteY0" fmla="*/ 153800 h 3598211"/>
                      <a:gd name="connsiteX1" fmla="*/ 159784 w 2124897"/>
                      <a:gd name="connsiteY1" fmla="*/ 1059312 h 3598211"/>
                      <a:gd name="connsiteX2" fmla="*/ 1065132 w 2124897"/>
                      <a:gd name="connsiteY2" fmla="*/ 1964527 h 3598211"/>
                      <a:gd name="connsiteX3" fmla="*/ 1964814 w 2124897"/>
                      <a:gd name="connsiteY3" fmla="*/ 1059312 h 3598211"/>
                      <a:gd name="connsiteX4" fmla="*/ 1065132 w 2124897"/>
                      <a:gd name="connsiteY4" fmla="*/ 153800 h 3598211"/>
                      <a:gd name="connsiteX5" fmla="*/ 1065132 w 2124897"/>
                      <a:gd name="connsiteY5" fmla="*/ 0 h 3598211"/>
                      <a:gd name="connsiteX6" fmla="*/ 2124897 w 2124897"/>
                      <a:gd name="connsiteY6" fmla="*/ 1059312 h 3598211"/>
                      <a:gd name="connsiteX7" fmla="*/ 1278851 w 2124897"/>
                      <a:gd name="connsiteY7" fmla="*/ 2096845 h 3598211"/>
                      <a:gd name="connsiteX8" fmla="*/ 1207530 w 2124897"/>
                      <a:gd name="connsiteY8" fmla="*/ 2104014 h 3598211"/>
                      <a:gd name="connsiteX9" fmla="*/ 1207530 w 2124897"/>
                      <a:gd name="connsiteY9" fmla="*/ 2307882 h 3598211"/>
                      <a:gd name="connsiteX10" fmla="*/ 1361300 w 2124897"/>
                      <a:gd name="connsiteY10" fmla="*/ 2307882 h 3598211"/>
                      <a:gd name="connsiteX11" fmla="*/ 1361300 w 2124897"/>
                      <a:gd name="connsiteY11" fmla="*/ 3598211 h 3598211"/>
                      <a:gd name="connsiteX12" fmla="*/ 763598 w 2124897"/>
                      <a:gd name="connsiteY12" fmla="*/ 3598211 h 3598211"/>
                      <a:gd name="connsiteX13" fmla="*/ 763598 w 2124897"/>
                      <a:gd name="connsiteY13" fmla="*/ 2307882 h 3598211"/>
                      <a:gd name="connsiteX14" fmla="*/ 912113 w 2124897"/>
                      <a:gd name="connsiteY14" fmla="*/ 2307882 h 3598211"/>
                      <a:gd name="connsiteX15" fmla="*/ 912113 w 2124897"/>
                      <a:gd name="connsiteY15" fmla="*/ 2102969 h 3598211"/>
                      <a:gd name="connsiteX16" fmla="*/ 851097 w 2124897"/>
                      <a:gd name="connsiteY16" fmla="*/ 2096845 h 3598211"/>
                      <a:gd name="connsiteX17" fmla="*/ 0 w 2124897"/>
                      <a:gd name="connsiteY17" fmla="*/ 1059312 h 3598211"/>
                      <a:gd name="connsiteX18" fmla="*/ 1065132 w 2124897"/>
                      <a:gd name="connsiteY18" fmla="*/ 0 h 3598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2124897" h="3598211">
                        <a:moveTo>
                          <a:pt x="1065132" y="153800"/>
                        </a:moveTo>
                        <a:cubicBezTo>
                          <a:pt x="567891" y="153800"/>
                          <a:pt x="159784" y="562145"/>
                          <a:pt x="159784" y="1059312"/>
                        </a:cubicBezTo>
                        <a:cubicBezTo>
                          <a:pt x="159784" y="1556480"/>
                          <a:pt x="567891" y="1964527"/>
                          <a:pt x="1065132" y="1964527"/>
                        </a:cubicBezTo>
                        <a:cubicBezTo>
                          <a:pt x="1562372" y="1964527"/>
                          <a:pt x="1964814" y="1556480"/>
                          <a:pt x="1964814" y="1059312"/>
                        </a:cubicBezTo>
                        <a:cubicBezTo>
                          <a:pt x="1964814" y="562145"/>
                          <a:pt x="1562372" y="153800"/>
                          <a:pt x="1065132" y="153800"/>
                        </a:cubicBezTo>
                        <a:close/>
                        <a:moveTo>
                          <a:pt x="1065132" y="0"/>
                        </a:moveTo>
                        <a:cubicBezTo>
                          <a:pt x="1650909" y="0"/>
                          <a:pt x="2124897" y="473322"/>
                          <a:pt x="2124897" y="1059312"/>
                        </a:cubicBezTo>
                        <a:cubicBezTo>
                          <a:pt x="2124897" y="1571793"/>
                          <a:pt x="1762000" y="1998240"/>
                          <a:pt x="1278851" y="2096845"/>
                        </a:cubicBezTo>
                        <a:lnTo>
                          <a:pt x="1207530" y="2104014"/>
                        </a:lnTo>
                        <a:lnTo>
                          <a:pt x="1207530" y="2307882"/>
                        </a:lnTo>
                        <a:lnTo>
                          <a:pt x="1361300" y="2307882"/>
                        </a:lnTo>
                        <a:lnTo>
                          <a:pt x="1361300" y="3598211"/>
                        </a:lnTo>
                        <a:lnTo>
                          <a:pt x="763598" y="3598211"/>
                        </a:lnTo>
                        <a:lnTo>
                          <a:pt x="763598" y="2307882"/>
                        </a:lnTo>
                        <a:lnTo>
                          <a:pt x="912113" y="2307882"/>
                        </a:lnTo>
                        <a:lnTo>
                          <a:pt x="912113" y="2102969"/>
                        </a:lnTo>
                        <a:lnTo>
                          <a:pt x="851097" y="2096845"/>
                        </a:lnTo>
                        <a:cubicBezTo>
                          <a:pt x="366777" y="1998240"/>
                          <a:pt x="0" y="1571793"/>
                          <a:pt x="0" y="1059312"/>
                        </a:cubicBezTo>
                        <a:cubicBezTo>
                          <a:pt x="0" y="473322"/>
                          <a:pt x="479056" y="0"/>
                          <a:pt x="1065132" y="0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95000"/>
                    </a:schemeClr>
                  </a:solidFill>
                  <a:ln w="28575">
                    <a:noFill/>
                  </a:ln>
                  <a:effectLst/>
                  <a:extLst>
                    <a:ext uri="{91240B29-F687-4f45-9708-019B960494DF}">
  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9525" cap="flat">
                        <a:solidFill>
                          <a:srgbClr val="808080"/>
                        </a:solidFill>
                        <a:bevel/>
                        <a:headEnd/>
                        <a:tailEnd/>
                      </a14:hiddenLine>
                    </a:ext>
                    <a:ext uri="{AF507438-7753-43e0-B8FC-AC1667EBCBE1}">
                      <a14:hiddenEffects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>
                        <a:effectLst>
                          <a:outerShdw blurRad="63500" dist="38099" dir="2700000" algn="ctr" rotWithShape="0">
                            <a:srgbClr val="000000">
                              <a:alpha val="74998"/>
                            </a:srgbClr>
                          </a:outerShdw>
                        </a:effectLst>
                      </a14:hiddenEffects>
                    </a:ext>
                  </a:extLst>
                </p:spPr>
                <p:txBody>
                  <a:bodyPr wrap="square" lIns="91440" tIns="45720" rIns="91440" bIns="45720" anchor="ctr">
                    <a:norm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en-US" sz="4000">
                      <a:solidFill>
                        <a:schemeClr val="bg1">
                          <a:lumMod val="85000"/>
                        </a:schemeClr>
                      </a:solidFill>
                    </a:endParaRPr>
                  </a:p>
                </p:txBody>
              </p:sp>
              <p:sp>
                <p:nvSpPr>
                  <p:cNvPr id="89" name="işḷïďè">
                    <a:extLst>
                      <a:ext uri="{FF2B5EF4-FFF2-40B4-BE49-F238E27FC236}">
                        <a16:creationId xmlns:a16="http://schemas.microsoft.com/office/drawing/2014/main" id="{27C02A04-CDBB-4061-BF99-1395741C2598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4966586" y="1821981"/>
                    <a:ext cx="1988509" cy="1988511"/>
                  </a:xfrm>
                  <a:custGeom>
                    <a:avLst/>
                    <a:gdLst>
                      <a:gd name="T0" fmla="*/ 3335 w 6672"/>
                      <a:gd name="T1" fmla="*/ 0 h 6672"/>
                      <a:gd name="T2" fmla="*/ 3335 w 6672"/>
                      <a:gd name="T3" fmla="*/ 0 h 6672"/>
                      <a:gd name="T4" fmla="*/ 0 w 6672"/>
                      <a:gd name="T5" fmla="*/ 3336 h 6672"/>
                      <a:gd name="T6" fmla="*/ 3335 w 6672"/>
                      <a:gd name="T7" fmla="*/ 6671 h 6672"/>
                      <a:gd name="T8" fmla="*/ 6671 w 6672"/>
                      <a:gd name="T9" fmla="*/ 3336 h 6672"/>
                      <a:gd name="T10" fmla="*/ 3335 w 6672"/>
                      <a:gd name="T11" fmla="*/ 0 h 66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6672" h="6672">
                        <a:moveTo>
                          <a:pt x="3335" y="0"/>
                        </a:moveTo>
                        <a:lnTo>
                          <a:pt x="3335" y="0"/>
                        </a:lnTo>
                        <a:cubicBezTo>
                          <a:pt x="1489" y="0"/>
                          <a:pt x="0" y="1509"/>
                          <a:pt x="0" y="3336"/>
                        </a:cubicBezTo>
                        <a:cubicBezTo>
                          <a:pt x="0" y="5182"/>
                          <a:pt x="1489" y="6671"/>
                          <a:pt x="3335" y="6671"/>
                        </a:cubicBezTo>
                        <a:cubicBezTo>
                          <a:pt x="5162" y="6671"/>
                          <a:pt x="6671" y="5182"/>
                          <a:pt x="6671" y="3336"/>
                        </a:cubicBezTo>
                        <a:cubicBezTo>
                          <a:pt x="6671" y="1509"/>
                          <a:pt x="5162" y="0"/>
                          <a:pt x="3335" y="0"/>
                        </a:cubicBezTo>
                      </a:path>
                    </a:pathLst>
                  </a:custGeom>
                  <a:noFill/>
                  <a:ln>
                    <a:noFill/>
                  </a:ln>
                  <a:effectLst/>
                  <a:extLst>
                    <a:ext uri="{91240B29-F687-4f45-9708-019B960494DF}">
  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9525" cap="flat">
                        <a:solidFill>
                          <a:srgbClr val="808080"/>
                        </a:solidFill>
                        <a:bevel/>
                        <a:headEnd/>
                        <a:tailEnd/>
                      </a14:hiddenLine>
                    </a:ext>
                    <a:ext uri="{AF507438-7753-43e0-B8FC-AC1667EBCBE1}">
                      <a14:hiddenEffects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>
                        <a:effectLst>
                          <a:outerShdw blurRad="63500" dist="38099" dir="2700000" algn="ctr" rotWithShape="0">
                            <a:srgbClr val="000000">
                              <a:alpha val="74998"/>
                            </a:srgbClr>
                          </a:outerShdw>
                        </a:effectLst>
                      </a14:hiddenEffects>
                    </a:ext>
                  </a:extLst>
                </p:spPr>
                <p:txBody>
                  <a:bodyPr wrap="square" lIns="91440" tIns="45720" rIns="91440" bIns="45720" anchor="ctr">
                    <a:norm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en-US" sz="4000">
                      <a:solidFill>
                        <a:schemeClr val="bg1">
                          <a:lumMod val="85000"/>
                        </a:schemeClr>
                      </a:solidFill>
                    </a:endParaRPr>
                  </a:p>
                </p:txBody>
              </p:sp>
              <p:sp>
                <p:nvSpPr>
                  <p:cNvPr id="90" name="íSḻiḍe">
                    <a:extLst>
                      <a:ext uri="{FF2B5EF4-FFF2-40B4-BE49-F238E27FC236}">
                        <a16:creationId xmlns:a16="http://schemas.microsoft.com/office/drawing/2014/main" id="{88663399-70D0-4F4D-B450-5921925F019B}"/>
                      </a:ext>
                    </a:extLst>
                  </p:cNvPr>
                  <p:cNvSpPr/>
                  <p:nvPr/>
                </p:nvSpPr>
                <p:spPr>
                  <a:xfrm>
                    <a:off x="5294758" y="2277535"/>
                    <a:ext cx="1323781" cy="1323781"/>
                  </a:xfrm>
                  <a:prstGeom prst="ellipse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lIns="91440" tIns="45720" rIns="91440" bIns="45720" rtlCol="0" anchor="ctr">
                    <a:norm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endParaRPr lang="zh-CN" altLang="en-US"/>
                  </a:p>
                </p:txBody>
              </p:sp>
              <p:sp>
                <p:nvSpPr>
                  <p:cNvPr id="91" name="ïṩļíḋê">
                    <a:extLst>
                      <a:ext uri="{FF2B5EF4-FFF2-40B4-BE49-F238E27FC236}">
                        <a16:creationId xmlns:a16="http://schemas.microsoft.com/office/drawing/2014/main" id="{E62204A6-1ACD-4E6F-AC82-084D6B9AA313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5658492" y="2614328"/>
                    <a:ext cx="596311" cy="650195"/>
                  </a:xfrm>
                  <a:custGeom>
                    <a:avLst/>
                    <a:gdLst>
                      <a:gd name="T0" fmla="*/ 168 w 208"/>
                      <a:gd name="T1" fmla="*/ 0 h 224"/>
                      <a:gd name="T2" fmla="*/ 168 w 208"/>
                      <a:gd name="T3" fmla="*/ 68 h 224"/>
                      <a:gd name="T4" fmla="*/ 108 w 208"/>
                      <a:gd name="T5" fmla="*/ 68 h 224"/>
                      <a:gd name="T6" fmla="*/ 108 w 208"/>
                      <a:gd name="T7" fmla="*/ 124 h 224"/>
                      <a:gd name="T8" fmla="*/ 192 w 208"/>
                      <a:gd name="T9" fmla="*/ 124 h 224"/>
                      <a:gd name="T10" fmla="*/ 192 w 208"/>
                      <a:gd name="T11" fmla="*/ 184 h 224"/>
                      <a:gd name="T12" fmla="*/ 208 w 208"/>
                      <a:gd name="T13" fmla="*/ 184 h 224"/>
                      <a:gd name="T14" fmla="*/ 208 w 208"/>
                      <a:gd name="T15" fmla="*/ 224 h 224"/>
                      <a:gd name="T16" fmla="*/ 168 w 208"/>
                      <a:gd name="T17" fmla="*/ 224 h 224"/>
                      <a:gd name="T18" fmla="*/ 168 w 208"/>
                      <a:gd name="T19" fmla="*/ 184 h 224"/>
                      <a:gd name="T20" fmla="*/ 184 w 208"/>
                      <a:gd name="T21" fmla="*/ 184 h 224"/>
                      <a:gd name="T22" fmla="*/ 184 w 208"/>
                      <a:gd name="T23" fmla="*/ 132 h 224"/>
                      <a:gd name="T24" fmla="*/ 108 w 208"/>
                      <a:gd name="T25" fmla="*/ 132 h 224"/>
                      <a:gd name="T26" fmla="*/ 108 w 208"/>
                      <a:gd name="T27" fmla="*/ 184 h 224"/>
                      <a:gd name="T28" fmla="*/ 124 w 208"/>
                      <a:gd name="T29" fmla="*/ 184 h 224"/>
                      <a:gd name="T30" fmla="*/ 124 w 208"/>
                      <a:gd name="T31" fmla="*/ 224 h 224"/>
                      <a:gd name="T32" fmla="*/ 84 w 208"/>
                      <a:gd name="T33" fmla="*/ 224 h 224"/>
                      <a:gd name="T34" fmla="*/ 84 w 208"/>
                      <a:gd name="T35" fmla="*/ 184 h 224"/>
                      <a:gd name="T36" fmla="*/ 100 w 208"/>
                      <a:gd name="T37" fmla="*/ 184 h 224"/>
                      <a:gd name="T38" fmla="*/ 100 w 208"/>
                      <a:gd name="T39" fmla="*/ 132 h 224"/>
                      <a:gd name="T40" fmla="*/ 24 w 208"/>
                      <a:gd name="T41" fmla="*/ 132 h 224"/>
                      <a:gd name="T42" fmla="*/ 24 w 208"/>
                      <a:gd name="T43" fmla="*/ 184 h 224"/>
                      <a:gd name="T44" fmla="*/ 40 w 208"/>
                      <a:gd name="T45" fmla="*/ 184 h 224"/>
                      <a:gd name="T46" fmla="*/ 40 w 208"/>
                      <a:gd name="T47" fmla="*/ 224 h 224"/>
                      <a:gd name="T48" fmla="*/ 0 w 208"/>
                      <a:gd name="T49" fmla="*/ 224 h 224"/>
                      <a:gd name="T50" fmla="*/ 0 w 208"/>
                      <a:gd name="T51" fmla="*/ 184 h 224"/>
                      <a:gd name="T52" fmla="*/ 16 w 208"/>
                      <a:gd name="T53" fmla="*/ 184 h 224"/>
                      <a:gd name="T54" fmla="*/ 16 w 208"/>
                      <a:gd name="T55" fmla="*/ 124 h 224"/>
                      <a:gd name="T56" fmla="*/ 100 w 208"/>
                      <a:gd name="T57" fmla="*/ 124 h 224"/>
                      <a:gd name="T58" fmla="*/ 100 w 208"/>
                      <a:gd name="T59" fmla="*/ 68 h 224"/>
                      <a:gd name="T60" fmla="*/ 40 w 208"/>
                      <a:gd name="T61" fmla="*/ 68 h 224"/>
                      <a:gd name="T62" fmla="*/ 40 w 208"/>
                      <a:gd name="T63" fmla="*/ 0 h 224"/>
                      <a:gd name="T64" fmla="*/ 168 w 208"/>
                      <a:gd name="T65" fmla="*/ 0 h 224"/>
                      <a:gd name="T66" fmla="*/ 32 w 208"/>
                      <a:gd name="T67" fmla="*/ 192 h 224"/>
                      <a:gd name="T68" fmla="*/ 8 w 208"/>
                      <a:gd name="T69" fmla="*/ 192 h 224"/>
                      <a:gd name="T70" fmla="*/ 8 w 208"/>
                      <a:gd name="T71" fmla="*/ 216 h 224"/>
                      <a:gd name="T72" fmla="*/ 32 w 208"/>
                      <a:gd name="T73" fmla="*/ 216 h 224"/>
                      <a:gd name="T74" fmla="*/ 32 w 208"/>
                      <a:gd name="T75" fmla="*/ 192 h 224"/>
                      <a:gd name="T76" fmla="*/ 116 w 208"/>
                      <a:gd name="T77" fmla="*/ 192 h 224"/>
                      <a:gd name="T78" fmla="*/ 92 w 208"/>
                      <a:gd name="T79" fmla="*/ 192 h 224"/>
                      <a:gd name="T80" fmla="*/ 92 w 208"/>
                      <a:gd name="T81" fmla="*/ 216 h 224"/>
                      <a:gd name="T82" fmla="*/ 116 w 208"/>
                      <a:gd name="T83" fmla="*/ 216 h 224"/>
                      <a:gd name="T84" fmla="*/ 116 w 208"/>
                      <a:gd name="T85" fmla="*/ 192 h 224"/>
                      <a:gd name="T86" fmla="*/ 200 w 208"/>
                      <a:gd name="T87" fmla="*/ 192 h 224"/>
                      <a:gd name="T88" fmla="*/ 176 w 208"/>
                      <a:gd name="T89" fmla="*/ 192 h 224"/>
                      <a:gd name="T90" fmla="*/ 176 w 208"/>
                      <a:gd name="T91" fmla="*/ 216 h 224"/>
                      <a:gd name="T92" fmla="*/ 200 w 208"/>
                      <a:gd name="T93" fmla="*/ 216 h 224"/>
                      <a:gd name="T94" fmla="*/ 200 w 208"/>
                      <a:gd name="T95" fmla="*/ 192 h 224"/>
                      <a:gd name="T96" fmla="*/ 160 w 208"/>
                      <a:gd name="T97" fmla="*/ 8 h 224"/>
                      <a:gd name="T98" fmla="*/ 48 w 208"/>
                      <a:gd name="T99" fmla="*/ 8 h 224"/>
                      <a:gd name="T100" fmla="*/ 48 w 208"/>
                      <a:gd name="T101" fmla="*/ 60 h 224"/>
                      <a:gd name="T102" fmla="*/ 160 w 208"/>
                      <a:gd name="T103" fmla="*/ 60 h 224"/>
                      <a:gd name="T104" fmla="*/ 160 w 208"/>
                      <a:gd name="T105" fmla="*/ 8 h 224"/>
                      <a:gd name="T106" fmla="*/ 66 w 208"/>
                      <a:gd name="T107" fmla="*/ 36 h 224"/>
                      <a:gd name="T108" fmla="*/ 72 w 208"/>
                      <a:gd name="T109" fmla="*/ 42 h 224"/>
                      <a:gd name="T110" fmla="*/ 66 w 208"/>
                      <a:gd name="T111" fmla="*/ 48 h 224"/>
                      <a:gd name="T112" fmla="*/ 60 w 208"/>
                      <a:gd name="T113" fmla="*/ 42 h 224"/>
                      <a:gd name="T114" fmla="*/ 66 w 208"/>
                      <a:gd name="T115" fmla="*/ 36 h 22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</a:cxnLst>
                    <a:rect l="0" t="0" r="r" b="b"/>
                    <a:pathLst>
                      <a:path w="208" h="224">
                        <a:moveTo>
                          <a:pt x="168" y="0"/>
                        </a:moveTo>
                        <a:cubicBezTo>
                          <a:pt x="168" y="68"/>
                          <a:pt x="168" y="68"/>
                          <a:pt x="168" y="68"/>
                        </a:cubicBezTo>
                        <a:cubicBezTo>
                          <a:pt x="108" y="68"/>
                          <a:pt x="108" y="68"/>
                          <a:pt x="108" y="68"/>
                        </a:cubicBezTo>
                        <a:cubicBezTo>
                          <a:pt x="108" y="124"/>
                          <a:pt x="108" y="124"/>
                          <a:pt x="108" y="124"/>
                        </a:cubicBezTo>
                        <a:cubicBezTo>
                          <a:pt x="192" y="124"/>
                          <a:pt x="192" y="124"/>
                          <a:pt x="192" y="124"/>
                        </a:cubicBezTo>
                        <a:cubicBezTo>
                          <a:pt x="192" y="184"/>
                          <a:pt x="192" y="184"/>
                          <a:pt x="192" y="184"/>
                        </a:cubicBezTo>
                        <a:cubicBezTo>
                          <a:pt x="208" y="184"/>
                          <a:pt x="208" y="184"/>
                          <a:pt x="208" y="184"/>
                        </a:cubicBezTo>
                        <a:cubicBezTo>
                          <a:pt x="208" y="224"/>
                          <a:pt x="208" y="224"/>
                          <a:pt x="208" y="224"/>
                        </a:cubicBezTo>
                        <a:cubicBezTo>
                          <a:pt x="168" y="224"/>
                          <a:pt x="168" y="224"/>
                          <a:pt x="168" y="224"/>
                        </a:cubicBezTo>
                        <a:cubicBezTo>
                          <a:pt x="168" y="184"/>
                          <a:pt x="168" y="184"/>
                          <a:pt x="168" y="184"/>
                        </a:cubicBezTo>
                        <a:cubicBezTo>
                          <a:pt x="184" y="184"/>
                          <a:pt x="184" y="184"/>
                          <a:pt x="184" y="184"/>
                        </a:cubicBezTo>
                        <a:cubicBezTo>
                          <a:pt x="184" y="132"/>
                          <a:pt x="184" y="132"/>
                          <a:pt x="184" y="132"/>
                        </a:cubicBezTo>
                        <a:cubicBezTo>
                          <a:pt x="108" y="132"/>
                          <a:pt x="108" y="132"/>
                          <a:pt x="108" y="132"/>
                        </a:cubicBezTo>
                        <a:cubicBezTo>
                          <a:pt x="108" y="184"/>
                          <a:pt x="108" y="184"/>
                          <a:pt x="108" y="184"/>
                        </a:cubicBezTo>
                        <a:cubicBezTo>
                          <a:pt x="124" y="184"/>
                          <a:pt x="124" y="184"/>
                          <a:pt x="124" y="184"/>
                        </a:cubicBezTo>
                        <a:cubicBezTo>
                          <a:pt x="124" y="224"/>
                          <a:pt x="124" y="224"/>
                          <a:pt x="124" y="224"/>
                        </a:cubicBezTo>
                        <a:cubicBezTo>
                          <a:pt x="84" y="224"/>
                          <a:pt x="84" y="224"/>
                          <a:pt x="84" y="224"/>
                        </a:cubicBezTo>
                        <a:cubicBezTo>
                          <a:pt x="84" y="184"/>
                          <a:pt x="84" y="184"/>
                          <a:pt x="84" y="184"/>
                        </a:cubicBezTo>
                        <a:cubicBezTo>
                          <a:pt x="100" y="184"/>
                          <a:pt x="100" y="184"/>
                          <a:pt x="100" y="184"/>
                        </a:cubicBezTo>
                        <a:cubicBezTo>
                          <a:pt x="100" y="132"/>
                          <a:pt x="100" y="132"/>
                          <a:pt x="100" y="132"/>
                        </a:cubicBezTo>
                        <a:cubicBezTo>
                          <a:pt x="24" y="132"/>
                          <a:pt x="24" y="132"/>
                          <a:pt x="24" y="132"/>
                        </a:cubicBezTo>
                        <a:cubicBezTo>
                          <a:pt x="24" y="184"/>
                          <a:pt x="24" y="184"/>
                          <a:pt x="24" y="184"/>
                        </a:cubicBezTo>
                        <a:cubicBezTo>
                          <a:pt x="40" y="184"/>
                          <a:pt x="40" y="184"/>
                          <a:pt x="40" y="184"/>
                        </a:cubicBezTo>
                        <a:cubicBezTo>
                          <a:pt x="40" y="224"/>
                          <a:pt x="40" y="224"/>
                          <a:pt x="40" y="224"/>
                        </a:cubicBezTo>
                        <a:cubicBezTo>
                          <a:pt x="0" y="224"/>
                          <a:pt x="0" y="224"/>
                          <a:pt x="0" y="224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16" y="184"/>
                          <a:pt x="16" y="184"/>
                          <a:pt x="16" y="184"/>
                        </a:cubicBezTo>
                        <a:cubicBezTo>
                          <a:pt x="16" y="124"/>
                          <a:pt x="16" y="124"/>
                          <a:pt x="16" y="124"/>
                        </a:cubicBezTo>
                        <a:cubicBezTo>
                          <a:pt x="100" y="124"/>
                          <a:pt x="100" y="124"/>
                          <a:pt x="100" y="124"/>
                        </a:cubicBezTo>
                        <a:cubicBezTo>
                          <a:pt x="100" y="68"/>
                          <a:pt x="100" y="68"/>
                          <a:pt x="100" y="68"/>
                        </a:cubicBezTo>
                        <a:cubicBezTo>
                          <a:pt x="40" y="68"/>
                          <a:pt x="40" y="68"/>
                          <a:pt x="40" y="68"/>
                        </a:cubicBezTo>
                        <a:cubicBezTo>
                          <a:pt x="40" y="0"/>
                          <a:pt x="40" y="0"/>
                          <a:pt x="40" y="0"/>
                        </a:cubicBezTo>
                        <a:lnTo>
                          <a:pt x="168" y="0"/>
                        </a:lnTo>
                        <a:close/>
                        <a:moveTo>
                          <a:pt x="32" y="192"/>
                        </a:moveTo>
                        <a:cubicBezTo>
                          <a:pt x="8" y="192"/>
                          <a:pt x="8" y="192"/>
                          <a:pt x="8" y="192"/>
                        </a:cubicBezTo>
                        <a:cubicBezTo>
                          <a:pt x="8" y="216"/>
                          <a:pt x="8" y="216"/>
                          <a:pt x="8" y="216"/>
                        </a:cubicBezTo>
                        <a:cubicBezTo>
                          <a:pt x="32" y="216"/>
                          <a:pt x="32" y="216"/>
                          <a:pt x="32" y="216"/>
                        </a:cubicBezTo>
                        <a:lnTo>
                          <a:pt x="32" y="192"/>
                        </a:lnTo>
                        <a:close/>
                        <a:moveTo>
                          <a:pt x="116" y="192"/>
                        </a:moveTo>
                        <a:cubicBezTo>
                          <a:pt x="92" y="192"/>
                          <a:pt x="92" y="192"/>
                          <a:pt x="92" y="192"/>
                        </a:cubicBezTo>
                        <a:cubicBezTo>
                          <a:pt x="92" y="216"/>
                          <a:pt x="92" y="216"/>
                          <a:pt x="92" y="216"/>
                        </a:cubicBezTo>
                        <a:cubicBezTo>
                          <a:pt x="116" y="216"/>
                          <a:pt x="116" y="216"/>
                          <a:pt x="116" y="216"/>
                        </a:cubicBezTo>
                        <a:lnTo>
                          <a:pt x="116" y="192"/>
                        </a:lnTo>
                        <a:close/>
                        <a:moveTo>
                          <a:pt x="200" y="192"/>
                        </a:moveTo>
                        <a:cubicBezTo>
                          <a:pt x="176" y="192"/>
                          <a:pt x="176" y="192"/>
                          <a:pt x="176" y="192"/>
                        </a:cubicBezTo>
                        <a:cubicBezTo>
                          <a:pt x="176" y="216"/>
                          <a:pt x="176" y="216"/>
                          <a:pt x="176" y="216"/>
                        </a:cubicBezTo>
                        <a:cubicBezTo>
                          <a:pt x="200" y="216"/>
                          <a:pt x="200" y="216"/>
                          <a:pt x="200" y="216"/>
                        </a:cubicBezTo>
                        <a:lnTo>
                          <a:pt x="200" y="192"/>
                        </a:lnTo>
                        <a:close/>
                        <a:moveTo>
                          <a:pt x="160" y="8"/>
                        </a:moveTo>
                        <a:cubicBezTo>
                          <a:pt x="48" y="8"/>
                          <a:pt x="48" y="8"/>
                          <a:pt x="48" y="8"/>
                        </a:cubicBezTo>
                        <a:cubicBezTo>
                          <a:pt x="48" y="60"/>
                          <a:pt x="48" y="60"/>
                          <a:pt x="48" y="60"/>
                        </a:cubicBezTo>
                        <a:cubicBezTo>
                          <a:pt x="160" y="60"/>
                          <a:pt x="160" y="60"/>
                          <a:pt x="160" y="60"/>
                        </a:cubicBezTo>
                        <a:lnTo>
                          <a:pt x="160" y="8"/>
                        </a:lnTo>
                        <a:close/>
                        <a:moveTo>
                          <a:pt x="66" y="36"/>
                        </a:moveTo>
                        <a:cubicBezTo>
                          <a:pt x="69" y="36"/>
                          <a:pt x="72" y="39"/>
                          <a:pt x="72" y="42"/>
                        </a:cubicBezTo>
                        <a:cubicBezTo>
                          <a:pt x="72" y="45"/>
                          <a:pt x="69" y="48"/>
                          <a:pt x="66" y="48"/>
                        </a:cubicBezTo>
                        <a:cubicBezTo>
                          <a:pt x="63" y="48"/>
                          <a:pt x="60" y="45"/>
                          <a:pt x="60" y="42"/>
                        </a:cubicBezTo>
                        <a:cubicBezTo>
                          <a:pt x="60" y="39"/>
                          <a:pt x="63" y="36"/>
                          <a:pt x="66" y="36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wrap="square" lIns="91440" tIns="45720" rIns="91440" bIns="45720">
                    <a:norm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zh-CN" altLang="en-US"/>
                  </a:p>
                </p:txBody>
              </p:sp>
              <p:sp>
                <p:nvSpPr>
                  <p:cNvPr id="92" name="îSlíḍê">
                    <a:extLst>
                      <a:ext uri="{FF2B5EF4-FFF2-40B4-BE49-F238E27FC236}">
                        <a16:creationId xmlns:a16="http://schemas.microsoft.com/office/drawing/2014/main" id="{4D2C08C0-BF5C-41CE-808E-AD28239DD251}"/>
                      </a:ext>
                    </a:extLst>
                  </p:cNvPr>
                  <p:cNvSpPr/>
                  <p:nvPr/>
                </p:nvSpPr>
                <p:spPr>
                  <a:xfrm rot="20648787">
                    <a:off x="6181786" y="4299112"/>
                    <a:ext cx="598034" cy="937424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 w="3175">
                    <a:noFill/>
                    <a:prstDash val="solid"/>
                    <a:round/>
                    <a:headEnd/>
                    <a:tailEnd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rm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 defTabSz="914354"/>
                    <a:endParaRPr lang="zh-CN" altLang="en-US" sz="2000" b="1" i="1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84" name="î$lïḑé">
                <a:extLst>
                  <a:ext uri="{FF2B5EF4-FFF2-40B4-BE49-F238E27FC236}">
                    <a16:creationId xmlns:a16="http://schemas.microsoft.com/office/drawing/2014/main" id="{52D15C83-483D-4275-9A79-C9EF5A795F6F}"/>
                  </a:ext>
                </a:extLst>
              </p:cNvPr>
              <p:cNvSpPr/>
              <p:nvPr/>
            </p:nvSpPr>
            <p:spPr>
              <a:xfrm>
                <a:off x="3922114" y="3490479"/>
                <a:ext cx="130176" cy="130176"/>
              </a:xfrm>
              <a:prstGeom prst="ellipse">
                <a:avLst/>
              </a:pr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îṧḷïďé">
                <a:extLst>
                  <a:ext uri="{FF2B5EF4-FFF2-40B4-BE49-F238E27FC236}">
                    <a16:creationId xmlns:a16="http://schemas.microsoft.com/office/drawing/2014/main" id="{E88F3D00-3CF0-4CFA-8954-5194CACC4A66}"/>
                  </a:ext>
                </a:extLst>
              </p:cNvPr>
              <p:cNvSpPr/>
              <p:nvPr/>
            </p:nvSpPr>
            <p:spPr>
              <a:xfrm>
                <a:off x="8197522" y="2447741"/>
                <a:ext cx="130176" cy="130176"/>
              </a:xfrm>
              <a:prstGeom prst="ellipse">
                <a:avLst/>
              </a:pr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73" name="îŝ1îďè">
              <a:extLst>
                <a:ext uri="{FF2B5EF4-FFF2-40B4-BE49-F238E27FC236}">
                  <a16:creationId xmlns:a16="http://schemas.microsoft.com/office/drawing/2014/main" id="{A385CBBC-9D1F-4BD1-9CC1-644E84F1EE78}"/>
                </a:ext>
              </a:extLst>
            </p:cNvPr>
            <p:cNvGrpSpPr/>
            <p:nvPr/>
          </p:nvGrpSpPr>
          <p:grpSpPr>
            <a:xfrm>
              <a:off x="673100" y="3810492"/>
              <a:ext cx="3003305" cy="2336308"/>
              <a:chOff x="673100" y="3810492"/>
              <a:chExt cx="3003305" cy="2336308"/>
            </a:xfrm>
          </p:grpSpPr>
          <p:sp>
            <p:nvSpPr>
              <p:cNvPr id="79" name="îsľíde">
                <a:extLst>
                  <a:ext uri="{FF2B5EF4-FFF2-40B4-BE49-F238E27FC236}">
                    <a16:creationId xmlns:a16="http://schemas.microsoft.com/office/drawing/2014/main" id="{4347CF0B-1013-4558-BD13-46C2C73C7750}"/>
                  </a:ext>
                </a:extLst>
              </p:cNvPr>
              <p:cNvSpPr/>
              <p:nvPr/>
            </p:nvSpPr>
            <p:spPr bwMode="auto">
              <a:xfrm>
                <a:off x="673100" y="4440739"/>
                <a:ext cx="3003305" cy="8371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80" name="ïśľiḑe">
                <a:extLst>
                  <a:ext uri="{FF2B5EF4-FFF2-40B4-BE49-F238E27FC236}">
                    <a16:creationId xmlns:a16="http://schemas.microsoft.com/office/drawing/2014/main" id="{6AD86B34-9214-4554-B71B-82D1EF53BF82}"/>
                  </a:ext>
                </a:extLst>
              </p:cNvPr>
              <p:cNvSpPr txBox="1"/>
              <p:nvPr/>
            </p:nvSpPr>
            <p:spPr bwMode="auto">
              <a:xfrm>
                <a:off x="2244768" y="3810492"/>
                <a:ext cx="1431637" cy="441805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>
                    <a:solidFill>
                      <a:schemeClr val="bg1"/>
                    </a:solidFill>
                  </a:rPr>
                  <a:t>Text here</a:t>
                </a:r>
              </a:p>
            </p:txBody>
          </p:sp>
          <p:sp>
            <p:nvSpPr>
              <p:cNvPr id="81" name="îšļîďé">
                <a:extLst>
                  <a:ext uri="{FF2B5EF4-FFF2-40B4-BE49-F238E27FC236}">
                    <a16:creationId xmlns:a16="http://schemas.microsoft.com/office/drawing/2014/main" id="{4347CF0B-1013-4558-BD13-46C2C73C7750}"/>
                  </a:ext>
                </a:extLst>
              </p:cNvPr>
              <p:cNvSpPr/>
              <p:nvPr/>
            </p:nvSpPr>
            <p:spPr bwMode="auto">
              <a:xfrm>
                <a:off x="673100" y="5309632"/>
                <a:ext cx="3003305" cy="8371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74" name="îşļíḋé">
              <a:extLst>
                <a:ext uri="{FF2B5EF4-FFF2-40B4-BE49-F238E27FC236}">
                  <a16:creationId xmlns:a16="http://schemas.microsoft.com/office/drawing/2014/main" id="{F32D70C2-03CD-4C22-9F67-14876CDEA6D5}"/>
                </a:ext>
              </a:extLst>
            </p:cNvPr>
            <p:cNvGrpSpPr/>
            <p:nvPr/>
          </p:nvGrpSpPr>
          <p:grpSpPr>
            <a:xfrm>
              <a:off x="8515595" y="1562379"/>
              <a:ext cx="3003305" cy="2336308"/>
              <a:chOff x="8515595" y="1562379"/>
              <a:chExt cx="3003305" cy="2336308"/>
            </a:xfrm>
          </p:grpSpPr>
          <p:sp>
            <p:nvSpPr>
              <p:cNvPr id="75" name="iŝľíḍé">
                <a:extLst>
                  <a:ext uri="{FF2B5EF4-FFF2-40B4-BE49-F238E27FC236}">
                    <a16:creationId xmlns:a16="http://schemas.microsoft.com/office/drawing/2014/main" id="{4347CF0B-1013-4558-BD13-46C2C73C7750}"/>
                  </a:ext>
                </a:extLst>
              </p:cNvPr>
              <p:cNvSpPr/>
              <p:nvPr/>
            </p:nvSpPr>
            <p:spPr bwMode="auto">
              <a:xfrm>
                <a:off x="8515595" y="2192626"/>
                <a:ext cx="3003305" cy="8371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76" name="ísľiďe">
                <a:extLst>
                  <a:ext uri="{FF2B5EF4-FFF2-40B4-BE49-F238E27FC236}">
                    <a16:creationId xmlns:a16="http://schemas.microsoft.com/office/drawing/2014/main" id="{6AD86B34-9214-4554-B71B-82D1EF53BF82}"/>
                  </a:ext>
                </a:extLst>
              </p:cNvPr>
              <p:cNvSpPr txBox="1"/>
              <p:nvPr/>
            </p:nvSpPr>
            <p:spPr bwMode="auto">
              <a:xfrm>
                <a:off x="8515595" y="1562379"/>
                <a:ext cx="1431637" cy="441805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>
                    <a:solidFill>
                      <a:schemeClr val="bg1"/>
                    </a:solidFill>
                  </a:rPr>
                  <a:t>Text here</a:t>
                </a:r>
              </a:p>
            </p:txBody>
          </p:sp>
          <p:sp>
            <p:nvSpPr>
              <p:cNvPr id="77" name="îṩ1íḍe">
                <a:extLst>
                  <a:ext uri="{FF2B5EF4-FFF2-40B4-BE49-F238E27FC236}">
                    <a16:creationId xmlns:a16="http://schemas.microsoft.com/office/drawing/2014/main" id="{4347CF0B-1013-4558-BD13-46C2C73C7750}"/>
                  </a:ext>
                </a:extLst>
              </p:cNvPr>
              <p:cNvSpPr/>
              <p:nvPr/>
            </p:nvSpPr>
            <p:spPr bwMode="auto">
              <a:xfrm>
                <a:off x="8515595" y="3061519"/>
                <a:ext cx="3003305" cy="8371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1685637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487B4DB-92AA-4D34-A380-B60498CA22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1BB4766-4731-4429-BFA1-2EDB2A699B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EA97E0E-099E-444F-81D1-8C341BDA72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grpSp>
        <p:nvGrpSpPr>
          <p:cNvPr id="61" name="25587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D325E33-0E11-4C1E-A100-346CC74DF3EC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308298"/>
            <a:ext cx="10847388" cy="4838502"/>
            <a:chOff x="673100" y="1308298"/>
            <a:chExt cx="10847388" cy="4838502"/>
          </a:xfrm>
        </p:grpSpPr>
        <p:grpSp>
          <p:nvGrpSpPr>
            <p:cNvPr id="62" name="isḻiďé">
              <a:extLst>
                <a:ext uri="{FF2B5EF4-FFF2-40B4-BE49-F238E27FC236}">
                  <a16:creationId xmlns:a16="http://schemas.microsoft.com/office/drawing/2014/main" id="{3164C21B-BB46-4462-8105-37C43F00895D}"/>
                </a:ext>
              </a:extLst>
            </p:cNvPr>
            <p:cNvGrpSpPr/>
            <p:nvPr/>
          </p:nvGrpSpPr>
          <p:grpSpPr>
            <a:xfrm>
              <a:off x="3991429" y="2850064"/>
              <a:ext cx="4209142" cy="2024618"/>
              <a:chOff x="3991429" y="2416691"/>
              <a:chExt cx="4209142" cy="2024618"/>
            </a:xfrm>
          </p:grpSpPr>
          <p:sp>
            <p:nvSpPr>
              <p:cNvPr id="82" name="iSlïḋê">
                <a:extLst>
                  <a:ext uri="{FF2B5EF4-FFF2-40B4-BE49-F238E27FC236}">
                    <a16:creationId xmlns:a16="http://schemas.microsoft.com/office/drawing/2014/main" id="{5BC51182-67E9-4124-B287-6C9EC106CC67}"/>
                  </a:ext>
                </a:extLst>
              </p:cNvPr>
              <p:cNvSpPr/>
              <p:nvPr/>
            </p:nvSpPr>
            <p:spPr>
              <a:xfrm>
                <a:off x="6127069" y="3459822"/>
                <a:ext cx="1721395" cy="98148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96" y="9953"/>
                    </a:moveTo>
                    <a:lnTo>
                      <a:pt x="17366" y="8594"/>
                    </a:lnTo>
                    <a:cubicBezTo>
                      <a:pt x="16207" y="10161"/>
                      <a:pt x="14795" y="11011"/>
                      <a:pt x="13307" y="11011"/>
                    </a:cubicBezTo>
                    <a:cubicBezTo>
                      <a:pt x="11527" y="11011"/>
                      <a:pt x="9854" y="9796"/>
                      <a:pt x="8596" y="7589"/>
                    </a:cubicBezTo>
                    <a:lnTo>
                      <a:pt x="4269" y="0"/>
                    </a:lnTo>
                    <a:lnTo>
                      <a:pt x="0" y="7487"/>
                    </a:lnTo>
                    <a:lnTo>
                      <a:pt x="4327" y="15076"/>
                    </a:lnTo>
                    <a:cubicBezTo>
                      <a:pt x="5538" y="17201"/>
                      <a:pt x="6952" y="18847"/>
                      <a:pt x="8530" y="19969"/>
                    </a:cubicBezTo>
                    <a:cubicBezTo>
                      <a:pt x="10052" y="21051"/>
                      <a:pt x="11659" y="21600"/>
                      <a:pt x="13307" y="21600"/>
                    </a:cubicBezTo>
                    <a:cubicBezTo>
                      <a:pt x="14955" y="21600"/>
                      <a:pt x="16563" y="21051"/>
                      <a:pt x="18085" y="19969"/>
                    </a:cubicBezTo>
                    <a:cubicBezTo>
                      <a:pt x="19372" y="19053"/>
                      <a:pt x="20551" y="17787"/>
                      <a:pt x="21600" y="16197"/>
                    </a:cubicBezTo>
                    <a:cubicBezTo>
                      <a:pt x="21600" y="16197"/>
                      <a:pt x="20796" y="9953"/>
                      <a:pt x="20796" y="995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numCol="1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30377">
                  <a:defRPr sz="3000" spc="209">
                    <a:solidFill>
                      <a:srgbClr val="F26D99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defRPr>
                </a:pPr>
                <a:endParaRPr sz="4793"/>
              </a:p>
            </p:txBody>
          </p:sp>
          <p:sp>
            <p:nvSpPr>
              <p:cNvPr id="83" name="is1ïdè">
                <a:extLst>
                  <a:ext uri="{FF2B5EF4-FFF2-40B4-BE49-F238E27FC236}">
                    <a16:creationId xmlns:a16="http://schemas.microsoft.com/office/drawing/2014/main" id="{580885D7-CE96-4DAF-B707-5561AD860D05}"/>
                  </a:ext>
                </a:extLst>
              </p:cNvPr>
              <p:cNvSpPr/>
              <p:nvPr/>
            </p:nvSpPr>
            <p:spPr>
              <a:xfrm>
                <a:off x="4275358" y="2416691"/>
                <a:ext cx="1788765" cy="98149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3503" y="8250"/>
                    </a:moveTo>
                    <a:lnTo>
                      <a:pt x="4225" y="14077"/>
                    </a:lnTo>
                    <a:cubicBezTo>
                      <a:pt x="4237" y="14055"/>
                      <a:pt x="4248" y="14033"/>
                      <a:pt x="4260" y="14011"/>
                    </a:cubicBezTo>
                    <a:cubicBezTo>
                      <a:pt x="5471" y="11804"/>
                      <a:pt x="7081" y="10589"/>
                      <a:pt x="8794" y="10589"/>
                    </a:cubicBezTo>
                    <a:cubicBezTo>
                      <a:pt x="10507" y="10589"/>
                      <a:pt x="12117" y="11804"/>
                      <a:pt x="13328" y="14011"/>
                    </a:cubicBezTo>
                    <a:lnTo>
                      <a:pt x="17492" y="21600"/>
                    </a:lnTo>
                    <a:lnTo>
                      <a:pt x="21600" y="14113"/>
                    </a:lnTo>
                    <a:lnTo>
                      <a:pt x="17436" y="6524"/>
                    </a:lnTo>
                    <a:cubicBezTo>
                      <a:pt x="16270" y="4399"/>
                      <a:pt x="14910" y="2753"/>
                      <a:pt x="13392" y="1631"/>
                    </a:cubicBezTo>
                    <a:cubicBezTo>
                      <a:pt x="11927" y="549"/>
                      <a:pt x="10380" y="0"/>
                      <a:pt x="8794" y="0"/>
                    </a:cubicBezTo>
                    <a:cubicBezTo>
                      <a:pt x="7208" y="0"/>
                      <a:pt x="5661" y="549"/>
                      <a:pt x="4197" y="1631"/>
                    </a:cubicBezTo>
                    <a:cubicBezTo>
                      <a:pt x="2679" y="2753"/>
                      <a:pt x="1318" y="4399"/>
                      <a:pt x="152" y="6524"/>
                    </a:cubicBezTo>
                    <a:cubicBezTo>
                      <a:pt x="101" y="6618"/>
                      <a:pt x="50" y="6713"/>
                      <a:pt x="0" y="6808"/>
                    </a:cubicBezTo>
                    <a:cubicBezTo>
                      <a:pt x="0" y="6808"/>
                      <a:pt x="3503" y="8250"/>
                      <a:pt x="3503" y="825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numCol="1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30377">
                  <a:defRPr sz="3000" spc="209">
                    <a:solidFill>
                      <a:srgbClr val="F26D99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defRPr>
                </a:pPr>
                <a:endParaRPr sz="4793"/>
              </a:p>
            </p:txBody>
          </p:sp>
          <p:sp>
            <p:nvSpPr>
              <p:cNvPr id="84" name="íšḻîdè">
                <a:extLst>
                  <a:ext uri="{FF2B5EF4-FFF2-40B4-BE49-F238E27FC236}">
                    <a16:creationId xmlns:a16="http://schemas.microsoft.com/office/drawing/2014/main" id="{53E9D934-6C4D-4F42-94FD-E74623C6BB10}"/>
                  </a:ext>
                </a:extLst>
              </p:cNvPr>
              <p:cNvSpPr/>
              <p:nvPr/>
            </p:nvSpPr>
            <p:spPr>
              <a:xfrm>
                <a:off x="7142422" y="2422865"/>
                <a:ext cx="1058149" cy="17394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087" y="7772"/>
                    </a:moveTo>
                    <a:cubicBezTo>
                      <a:pt x="19046" y="6211"/>
                      <a:pt x="17519" y="4812"/>
                      <a:pt x="15549" y="3613"/>
                    </a:cubicBezTo>
                    <a:cubicBezTo>
                      <a:pt x="13578" y="2415"/>
                      <a:pt x="11278" y="1486"/>
                      <a:pt x="8712" y="853"/>
                    </a:cubicBezTo>
                    <a:cubicBezTo>
                      <a:pt x="6901" y="406"/>
                      <a:pt x="5016" y="121"/>
                      <a:pt x="3086" y="0"/>
                    </a:cubicBezTo>
                    <a:lnTo>
                      <a:pt x="0" y="2973"/>
                    </a:lnTo>
                    <a:lnTo>
                      <a:pt x="3193" y="6049"/>
                    </a:lnTo>
                    <a:cubicBezTo>
                      <a:pt x="5228" y="6310"/>
                      <a:pt x="7098" y="6922"/>
                      <a:pt x="8604" y="7838"/>
                    </a:cubicBezTo>
                    <a:cubicBezTo>
                      <a:pt x="12830" y="10409"/>
                      <a:pt x="12830" y="14592"/>
                      <a:pt x="8604" y="17162"/>
                    </a:cubicBezTo>
                    <a:cubicBezTo>
                      <a:pt x="8533" y="17205"/>
                      <a:pt x="8461" y="17247"/>
                      <a:pt x="8389" y="17289"/>
                    </a:cubicBezTo>
                    <a:lnTo>
                      <a:pt x="13869" y="18042"/>
                    </a:lnTo>
                    <a:lnTo>
                      <a:pt x="15190" y="21600"/>
                    </a:lnTo>
                    <a:cubicBezTo>
                      <a:pt x="15311" y="21530"/>
                      <a:pt x="15430" y="21459"/>
                      <a:pt x="15549" y="21387"/>
                    </a:cubicBezTo>
                    <a:cubicBezTo>
                      <a:pt x="17519" y="20188"/>
                      <a:pt x="19046" y="18789"/>
                      <a:pt x="20087" y="17228"/>
                    </a:cubicBezTo>
                    <a:cubicBezTo>
                      <a:pt x="21091" y="15722"/>
                      <a:pt x="21600" y="14131"/>
                      <a:pt x="21600" y="12500"/>
                    </a:cubicBezTo>
                    <a:cubicBezTo>
                      <a:pt x="21600" y="10869"/>
                      <a:pt x="21091" y="9279"/>
                      <a:pt x="20087" y="7772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numCol="1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30377">
                  <a:defRPr sz="3000" spc="209">
                    <a:solidFill>
                      <a:srgbClr val="F26D99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defRPr>
                </a:pPr>
                <a:endParaRPr sz="4793"/>
              </a:p>
            </p:txBody>
          </p:sp>
          <p:sp>
            <p:nvSpPr>
              <p:cNvPr id="85" name="ïṩḷîḋê">
                <a:extLst>
                  <a:ext uri="{FF2B5EF4-FFF2-40B4-BE49-F238E27FC236}">
                    <a16:creationId xmlns:a16="http://schemas.microsoft.com/office/drawing/2014/main" id="{2A39E8A9-76E9-4AC3-AF73-D05EACC7E1C4}"/>
                  </a:ext>
                </a:extLst>
              </p:cNvPr>
              <p:cNvSpPr/>
              <p:nvPr/>
            </p:nvSpPr>
            <p:spPr>
              <a:xfrm>
                <a:off x="3991429" y="2762344"/>
                <a:ext cx="1854013" cy="167777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8418" y="15364"/>
                    </a:moveTo>
                    <a:lnTo>
                      <a:pt x="17676" y="11734"/>
                    </a:lnTo>
                    <a:lnTo>
                      <a:pt x="16166" y="13403"/>
                    </a:lnTo>
                    <a:cubicBezTo>
                      <a:pt x="14997" y="14695"/>
                      <a:pt x="13444" y="15406"/>
                      <a:pt x="11792" y="15406"/>
                    </a:cubicBezTo>
                    <a:cubicBezTo>
                      <a:pt x="11792" y="15406"/>
                      <a:pt x="11792" y="15406"/>
                      <a:pt x="11792" y="15406"/>
                    </a:cubicBezTo>
                    <a:cubicBezTo>
                      <a:pt x="10139" y="15405"/>
                      <a:pt x="8586" y="14694"/>
                      <a:pt x="7418" y="13403"/>
                    </a:cubicBezTo>
                    <a:cubicBezTo>
                      <a:pt x="6249" y="12112"/>
                      <a:pt x="5606" y="10396"/>
                      <a:pt x="5606" y="8570"/>
                    </a:cubicBezTo>
                    <a:cubicBezTo>
                      <a:pt x="5606" y="6994"/>
                      <a:pt x="6085" y="5501"/>
                      <a:pt x="6967" y="4291"/>
                    </a:cubicBezTo>
                    <a:lnTo>
                      <a:pt x="6260" y="837"/>
                    </a:lnTo>
                    <a:lnTo>
                      <a:pt x="2909" y="0"/>
                    </a:lnTo>
                    <a:cubicBezTo>
                      <a:pt x="2045" y="1091"/>
                      <a:pt x="1358" y="2321"/>
                      <a:pt x="864" y="3668"/>
                    </a:cubicBezTo>
                    <a:cubicBezTo>
                      <a:pt x="291" y="5230"/>
                      <a:pt x="0" y="6879"/>
                      <a:pt x="0" y="8570"/>
                    </a:cubicBezTo>
                    <a:cubicBezTo>
                      <a:pt x="0" y="10261"/>
                      <a:pt x="291" y="11910"/>
                      <a:pt x="864" y="13471"/>
                    </a:cubicBezTo>
                    <a:cubicBezTo>
                      <a:pt x="1458" y="15090"/>
                      <a:pt x="2329" y="16541"/>
                      <a:pt x="3454" y="17784"/>
                    </a:cubicBezTo>
                    <a:cubicBezTo>
                      <a:pt x="4578" y="19026"/>
                      <a:pt x="5891" y="19989"/>
                      <a:pt x="7356" y="20646"/>
                    </a:cubicBezTo>
                    <a:cubicBezTo>
                      <a:pt x="8769" y="21279"/>
                      <a:pt x="10261" y="21600"/>
                      <a:pt x="11791" y="21600"/>
                    </a:cubicBezTo>
                    <a:cubicBezTo>
                      <a:pt x="11792" y="21600"/>
                      <a:pt x="11792" y="21600"/>
                      <a:pt x="11792" y="21600"/>
                    </a:cubicBezTo>
                    <a:cubicBezTo>
                      <a:pt x="13322" y="21600"/>
                      <a:pt x="14815" y="21279"/>
                      <a:pt x="16227" y="20646"/>
                    </a:cubicBezTo>
                    <a:cubicBezTo>
                      <a:pt x="17692" y="19990"/>
                      <a:pt x="19005" y="19027"/>
                      <a:pt x="20130" y="17783"/>
                    </a:cubicBezTo>
                    <a:lnTo>
                      <a:pt x="21600" y="16159"/>
                    </a:lnTo>
                    <a:cubicBezTo>
                      <a:pt x="21600" y="16159"/>
                      <a:pt x="18418" y="15364"/>
                      <a:pt x="18418" y="1536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numCol="1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30377">
                  <a:defRPr sz="3000" spc="209">
                    <a:solidFill>
                      <a:srgbClr val="F26D99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defRPr>
                </a:pPr>
                <a:endParaRPr sz="4793"/>
              </a:p>
            </p:txBody>
          </p:sp>
          <p:sp>
            <p:nvSpPr>
              <p:cNvPr id="86" name="iŝ1îḑe">
                <a:extLst>
                  <a:ext uri="{FF2B5EF4-FFF2-40B4-BE49-F238E27FC236}">
                    <a16:creationId xmlns:a16="http://schemas.microsoft.com/office/drawing/2014/main" id="{9CF70781-7E12-4D0D-82FB-075162A73B2A}"/>
                  </a:ext>
                </a:extLst>
              </p:cNvPr>
              <p:cNvSpPr/>
              <p:nvPr/>
            </p:nvSpPr>
            <p:spPr>
              <a:xfrm>
                <a:off x="5546866" y="2416691"/>
                <a:ext cx="1696434" cy="156501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3313" y="11809"/>
                    </a:moveTo>
                    <a:lnTo>
                      <a:pt x="13317" y="11813"/>
                    </a:lnTo>
                    <a:lnTo>
                      <a:pt x="16108" y="8787"/>
                    </a:lnTo>
                    <a:cubicBezTo>
                      <a:pt x="17385" y="7403"/>
                      <a:pt x="19083" y="6641"/>
                      <a:pt x="20889" y="6641"/>
                    </a:cubicBezTo>
                    <a:cubicBezTo>
                      <a:pt x="21116" y="6641"/>
                      <a:pt x="21342" y="6653"/>
                      <a:pt x="21565" y="6677"/>
                    </a:cubicBezTo>
                    <a:lnTo>
                      <a:pt x="19644" y="3379"/>
                    </a:lnTo>
                    <a:lnTo>
                      <a:pt x="21600" y="22"/>
                    </a:lnTo>
                    <a:cubicBezTo>
                      <a:pt x="21364" y="8"/>
                      <a:pt x="21127" y="0"/>
                      <a:pt x="20889" y="0"/>
                    </a:cubicBezTo>
                    <a:cubicBezTo>
                      <a:pt x="19216" y="0"/>
                      <a:pt x="17585" y="344"/>
                      <a:pt x="16041" y="1023"/>
                    </a:cubicBezTo>
                    <a:cubicBezTo>
                      <a:pt x="14441" y="1727"/>
                      <a:pt x="13006" y="2759"/>
                      <a:pt x="11776" y="4092"/>
                    </a:cubicBezTo>
                    <a:lnTo>
                      <a:pt x="8199" y="7970"/>
                    </a:lnTo>
                    <a:lnTo>
                      <a:pt x="8202" y="7974"/>
                    </a:lnTo>
                    <a:lnTo>
                      <a:pt x="941" y="15845"/>
                    </a:lnTo>
                    <a:lnTo>
                      <a:pt x="937" y="15841"/>
                    </a:lnTo>
                    <a:lnTo>
                      <a:pt x="0" y="16857"/>
                    </a:lnTo>
                    <a:lnTo>
                      <a:pt x="811" y="20748"/>
                    </a:lnTo>
                    <a:lnTo>
                      <a:pt x="4288" y="21600"/>
                    </a:lnTo>
                    <a:lnTo>
                      <a:pt x="6056" y="19684"/>
                    </a:lnTo>
                    <a:lnTo>
                      <a:pt x="6052" y="19680"/>
                    </a:lnTo>
                    <a:cubicBezTo>
                      <a:pt x="6052" y="19680"/>
                      <a:pt x="13313" y="11809"/>
                      <a:pt x="13313" y="11809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numCol="1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30377">
                  <a:defRPr sz="3000" spc="209">
                    <a:solidFill>
                      <a:srgbClr val="F26D99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defRPr>
                </a:pPr>
                <a:endParaRPr sz="4793"/>
              </a:p>
            </p:txBody>
          </p:sp>
          <p:sp>
            <p:nvSpPr>
              <p:cNvPr id="87" name="íṥlíḓè">
                <a:extLst>
                  <a:ext uri="{FF2B5EF4-FFF2-40B4-BE49-F238E27FC236}">
                    <a16:creationId xmlns:a16="http://schemas.microsoft.com/office/drawing/2014/main" id="{BC094F5B-1E0B-49E4-B830-62905B695A17}"/>
                  </a:ext>
                </a:extLst>
              </p:cNvPr>
              <p:cNvSpPr/>
              <p:nvPr/>
            </p:nvSpPr>
            <p:spPr bwMode="auto">
              <a:xfrm>
                <a:off x="4825230" y="3286452"/>
                <a:ext cx="435566" cy="330932"/>
              </a:xfrm>
              <a:custGeom>
                <a:avLst/>
                <a:gdLst>
                  <a:gd name="T0" fmla="*/ 224 w 224"/>
                  <a:gd name="T1" fmla="*/ 0 h 168"/>
                  <a:gd name="T2" fmla="*/ 224 w 224"/>
                  <a:gd name="T3" fmla="*/ 168 h 168"/>
                  <a:gd name="T4" fmla="*/ 0 w 224"/>
                  <a:gd name="T5" fmla="*/ 168 h 168"/>
                  <a:gd name="T6" fmla="*/ 0 w 224"/>
                  <a:gd name="T7" fmla="*/ 0 h 168"/>
                  <a:gd name="T8" fmla="*/ 224 w 224"/>
                  <a:gd name="T9" fmla="*/ 0 h 168"/>
                  <a:gd name="T10" fmla="*/ 157 w 224"/>
                  <a:gd name="T11" fmla="*/ 64 h 168"/>
                  <a:gd name="T12" fmla="*/ 104 w 224"/>
                  <a:gd name="T13" fmla="*/ 134 h 168"/>
                  <a:gd name="T14" fmla="*/ 59 w 224"/>
                  <a:gd name="T15" fmla="*/ 90 h 168"/>
                  <a:gd name="T16" fmla="*/ 8 w 224"/>
                  <a:gd name="T17" fmla="*/ 149 h 168"/>
                  <a:gd name="T18" fmla="*/ 8 w 224"/>
                  <a:gd name="T19" fmla="*/ 160 h 168"/>
                  <a:gd name="T20" fmla="*/ 216 w 224"/>
                  <a:gd name="T21" fmla="*/ 160 h 168"/>
                  <a:gd name="T22" fmla="*/ 216 w 224"/>
                  <a:gd name="T23" fmla="*/ 142 h 168"/>
                  <a:gd name="T24" fmla="*/ 157 w 224"/>
                  <a:gd name="T25" fmla="*/ 64 h 168"/>
                  <a:gd name="T26" fmla="*/ 216 w 224"/>
                  <a:gd name="T27" fmla="*/ 8 h 168"/>
                  <a:gd name="T28" fmla="*/ 8 w 224"/>
                  <a:gd name="T29" fmla="*/ 8 h 168"/>
                  <a:gd name="T30" fmla="*/ 8 w 224"/>
                  <a:gd name="T31" fmla="*/ 137 h 168"/>
                  <a:gd name="T32" fmla="*/ 58 w 224"/>
                  <a:gd name="T33" fmla="*/ 78 h 168"/>
                  <a:gd name="T34" fmla="*/ 103 w 224"/>
                  <a:gd name="T35" fmla="*/ 122 h 168"/>
                  <a:gd name="T36" fmla="*/ 158 w 224"/>
                  <a:gd name="T37" fmla="*/ 51 h 168"/>
                  <a:gd name="T38" fmla="*/ 216 w 224"/>
                  <a:gd name="T39" fmla="*/ 129 h 168"/>
                  <a:gd name="T40" fmla="*/ 216 w 224"/>
                  <a:gd name="T41" fmla="*/ 8 h 168"/>
                  <a:gd name="T42" fmla="*/ 40 w 224"/>
                  <a:gd name="T43" fmla="*/ 20 h 168"/>
                  <a:gd name="T44" fmla="*/ 60 w 224"/>
                  <a:gd name="T45" fmla="*/ 40 h 168"/>
                  <a:gd name="T46" fmla="*/ 40 w 224"/>
                  <a:gd name="T47" fmla="*/ 60 h 168"/>
                  <a:gd name="T48" fmla="*/ 20 w 224"/>
                  <a:gd name="T49" fmla="*/ 40 h 168"/>
                  <a:gd name="T50" fmla="*/ 40 w 224"/>
                  <a:gd name="T51" fmla="*/ 20 h 168"/>
                  <a:gd name="T52" fmla="*/ 40 w 224"/>
                  <a:gd name="T53" fmla="*/ 28 h 168"/>
                  <a:gd name="T54" fmla="*/ 28 w 224"/>
                  <a:gd name="T55" fmla="*/ 40 h 168"/>
                  <a:gd name="T56" fmla="*/ 40 w 224"/>
                  <a:gd name="T57" fmla="*/ 52 h 168"/>
                  <a:gd name="T58" fmla="*/ 52 w 224"/>
                  <a:gd name="T59" fmla="*/ 40 h 168"/>
                  <a:gd name="T60" fmla="*/ 40 w 224"/>
                  <a:gd name="T61" fmla="*/ 2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24" h="168">
                    <a:moveTo>
                      <a:pt x="224" y="0"/>
                    </a:moveTo>
                    <a:cubicBezTo>
                      <a:pt x="224" y="168"/>
                      <a:pt x="224" y="168"/>
                      <a:pt x="224" y="168"/>
                    </a:cubicBezTo>
                    <a:cubicBezTo>
                      <a:pt x="0" y="168"/>
                      <a:pt x="0" y="168"/>
                      <a:pt x="0" y="168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224" y="0"/>
                    </a:lnTo>
                    <a:close/>
                    <a:moveTo>
                      <a:pt x="157" y="64"/>
                    </a:moveTo>
                    <a:cubicBezTo>
                      <a:pt x="104" y="134"/>
                      <a:pt x="104" y="134"/>
                      <a:pt x="104" y="134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8" y="149"/>
                      <a:pt x="8" y="149"/>
                      <a:pt x="8" y="149"/>
                    </a:cubicBezTo>
                    <a:cubicBezTo>
                      <a:pt x="8" y="160"/>
                      <a:pt x="8" y="160"/>
                      <a:pt x="8" y="160"/>
                    </a:cubicBezTo>
                    <a:cubicBezTo>
                      <a:pt x="216" y="160"/>
                      <a:pt x="216" y="160"/>
                      <a:pt x="216" y="160"/>
                    </a:cubicBezTo>
                    <a:cubicBezTo>
                      <a:pt x="216" y="142"/>
                      <a:pt x="216" y="142"/>
                      <a:pt x="216" y="142"/>
                    </a:cubicBezTo>
                    <a:lnTo>
                      <a:pt x="157" y="64"/>
                    </a:lnTo>
                    <a:close/>
                    <a:moveTo>
                      <a:pt x="216" y="8"/>
                    </a:moveTo>
                    <a:cubicBezTo>
                      <a:pt x="8" y="8"/>
                      <a:pt x="8" y="8"/>
                      <a:pt x="8" y="8"/>
                    </a:cubicBezTo>
                    <a:cubicBezTo>
                      <a:pt x="8" y="137"/>
                      <a:pt x="8" y="137"/>
                      <a:pt x="8" y="137"/>
                    </a:cubicBezTo>
                    <a:cubicBezTo>
                      <a:pt x="58" y="78"/>
                      <a:pt x="58" y="78"/>
                      <a:pt x="58" y="78"/>
                    </a:cubicBezTo>
                    <a:cubicBezTo>
                      <a:pt x="103" y="122"/>
                      <a:pt x="103" y="122"/>
                      <a:pt x="103" y="122"/>
                    </a:cubicBezTo>
                    <a:cubicBezTo>
                      <a:pt x="158" y="51"/>
                      <a:pt x="158" y="51"/>
                      <a:pt x="158" y="51"/>
                    </a:cubicBezTo>
                    <a:cubicBezTo>
                      <a:pt x="216" y="129"/>
                      <a:pt x="216" y="129"/>
                      <a:pt x="216" y="129"/>
                    </a:cubicBezTo>
                    <a:lnTo>
                      <a:pt x="216" y="8"/>
                    </a:lnTo>
                    <a:close/>
                    <a:moveTo>
                      <a:pt x="40" y="20"/>
                    </a:moveTo>
                    <a:cubicBezTo>
                      <a:pt x="51" y="20"/>
                      <a:pt x="60" y="29"/>
                      <a:pt x="60" y="40"/>
                    </a:cubicBezTo>
                    <a:cubicBezTo>
                      <a:pt x="60" y="51"/>
                      <a:pt x="51" y="60"/>
                      <a:pt x="40" y="60"/>
                    </a:cubicBezTo>
                    <a:cubicBezTo>
                      <a:pt x="29" y="60"/>
                      <a:pt x="20" y="51"/>
                      <a:pt x="20" y="40"/>
                    </a:cubicBezTo>
                    <a:cubicBezTo>
                      <a:pt x="20" y="29"/>
                      <a:pt x="29" y="20"/>
                      <a:pt x="40" y="20"/>
                    </a:cubicBezTo>
                    <a:close/>
                    <a:moveTo>
                      <a:pt x="40" y="28"/>
                    </a:moveTo>
                    <a:cubicBezTo>
                      <a:pt x="33" y="28"/>
                      <a:pt x="28" y="33"/>
                      <a:pt x="28" y="40"/>
                    </a:cubicBezTo>
                    <a:cubicBezTo>
                      <a:pt x="28" y="47"/>
                      <a:pt x="33" y="52"/>
                      <a:pt x="40" y="52"/>
                    </a:cubicBezTo>
                    <a:cubicBezTo>
                      <a:pt x="47" y="52"/>
                      <a:pt x="52" y="47"/>
                      <a:pt x="52" y="40"/>
                    </a:cubicBezTo>
                    <a:cubicBezTo>
                      <a:pt x="52" y="33"/>
                      <a:pt x="47" y="28"/>
                      <a:pt x="40" y="2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88" name="iślíḑê">
                <a:extLst>
                  <a:ext uri="{FF2B5EF4-FFF2-40B4-BE49-F238E27FC236}">
                    <a16:creationId xmlns:a16="http://schemas.microsoft.com/office/drawing/2014/main" id="{E982DC7F-104F-41BB-AC83-9201FA2292FE}"/>
                  </a:ext>
                </a:extLst>
              </p:cNvPr>
              <p:cNvSpPr/>
              <p:nvPr/>
            </p:nvSpPr>
            <p:spPr bwMode="auto">
              <a:xfrm>
                <a:off x="6988170" y="3270129"/>
                <a:ext cx="435564" cy="363579"/>
              </a:xfrm>
              <a:custGeom>
                <a:avLst/>
                <a:gdLst>
                  <a:gd name="T0" fmla="*/ 224 w 224"/>
                  <a:gd name="T1" fmla="*/ 0 h 184"/>
                  <a:gd name="T2" fmla="*/ 224 w 224"/>
                  <a:gd name="T3" fmla="*/ 156 h 184"/>
                  <a:gd name="T4" fmla="*/ 86 w 224"/>
                  <a:gd name="T5" fmla="*/ 156 h 184"/>
                  <a:gd name="T6" fmla="*/ 48 w 224"/>
                  <a:gd name="T7" fmla="*/ 184 h 184"/>
                  <a:gd name="T8" fmla="*/ 48 w 224"/>
                  <a:gd name="T9" fmla="*/ 156 h 184"/>
                  <a:gd name="T10" fmla="*/ 0 w 224"/>
                  <a:gd name="T11" fmla="*/ 156 h 184"/>
                  <a:gd name="T12" fmla="*/ 0 w 224"/>
                  <a:gd name="T13" fmla="*/ 0 h 184"/>
                  <a:gd name="T14" fmla="*/ 224 w 224"/>
                  <a:gd name="T15" fmla="*/ 0 h 184"/>
                  <a:gd name="T16" fmla="*/ 216 w 224"/>
                  <a:gd name="T17" fmla="*/ 8 h 184"/>
                  <a:gd name="T18" fmla="*/ 8 w 224"/>
                  <a:gd name="T19" fmla="*/ 8 h 184"/>
                  <a:gd name="T20" fmla="*/ 8 w 224"/>
                  <a:gd name="T21" fmla="*/ 148 h 184"/>
                  <a:gd name="T22" fmla="*/ 56 w 224"/>
                  <a:gd name="T23" fmla="*/ 148 h 184"/>
                  <a:gd name="T24" fmla="*/ 56 w 224"/>
                  <a:gd name="T25" fmla="*/ 168 h 184"/>
                  <a:gd name="T26" fmla="*/ 83 w 224"/>
                  <a:gd name="T27" fmla="*/ 148 h 184"/>
                  <a:gd name="T28" fmla="*/ 216 w 224"/>
                  <a:gd name="T29" fmla="*/ 148 h 184"/>
                  <a:gd name="T30" fmla="*/ 216 w 224"/>
                  <a:gd name="T31" fmla="*/ 8 h 184"/>
                  <a:gd name="T32" fmla="*/ 56 w 224"/>
                  <a:gd name="T33" fmla="*/ 60 h 184"/>
                  <a:gd name="T34" fmla="*/ 74 w 224"/>
                  <a:gd name="T35" fmla="*/ 78 h 184"/>
                  <a:gd name="T36" fmla="*/ 56 w 224"/>
                  <a:gd name="T37" fmla="*/ 96 h 184"/>
                  <a:gd name="T38" fmla="*/ 38 w 224"/>
                  <a:gd name="T39" fmla="*/ 78 h 184"/>
                  <a:gd name="T40" fmla="*/ 56 w 224"/>
                  <a:gd name="T41" fmla="*/ 60 h 184"/>
                  <a:gd name="T42" fmla="*/ 112 w 224"/>
                  <a:gd name="T43" fmla="*/ 60 h 184"/>
                  <a:gd name="T44" fmla="*/ 130 w 224"/>
                  <a:gd name="T45" fmla="*/ 78 h 184"/>
                  <a:gd name="T46" fmla="*/ 112 w 224"/>
                  <a:gd name="T47" fmla="*/ 96 h 184"/>
                  <a:gd name="T48" fmla="*/ 94 w 224"/>
                  <a:gd name="T49" fmla="*/ 78 h 184"/>
                  <a:gd name="T50" fmla="*/ 112 w 224"/>
                  <a:gd name="T51" fmla="*/ 60 h 184"/>
                  <a:gd name="T52" fmla="*/ 168 w 224"/>
                  <a:gd name="T53" fmla="*/ 60 h 184"/>
                  <a:gd name="T54" fmla="*/ 186 w 224"/>
                  <a:gd name="T55" fmla="*/ 78 h 184"/>
                  <a:gd name="T56" fmla="*/ 168 w 224"/>
                  <a:gd name="T57" fmla="*/ 96 h 184"/>
                  <a:gd name="T58" fmla="*/ 150 w 224"/>
                  <a:gd name="T59" fmla="*/ 78 h 184"/>
                  <a:gd name="T60" fmla="*/ 168 w 224"/>
                  <a:gd name="T61" fmla="*/ 60 h 184"/>
                  <a:gd name="T62" fmla="*/ 56 w 224"/>
                  <a:gd name="T63" fmla="*/ 68 h 184"/>
                  <a:gd name="T64" fmla="*/ 46 w 224"/>
                  <a:gd name="T65" fmla="*/ 78 h 184"/>
                  <a:gd name="T66" fmla="*/ 56 w 224"/>
                  <a:gd name="T67" fmla="*/ 88 h 184"/>
                  <a:gd name="T68" fmla="*/ 66 w 224"/>
                  <a:gd name="T69" fmla="*/ 78 h 184"/>
                  <a:gd name="T70" fmla="*/ 56 w 224"/>
                  <a:gd name="T71" fmla="*/ 68 h 184"/>
                  <a:gd name="T72" fmla="*/ 112 w 224"/>
                  <a:gd name="T73" fmla="*/ 68 h 184"/>
                  <a:gd name="T74" fmla="*/ 102 w 224"/>
                  <a:gd name="T75" fmla="*/ 78 h 184"/>
                  <a:gd name="T76" fmla="*/ 112 w 224"/>
                  <a:gd name="T77" fmla="*/ 88 h 184"/>
                  <a:gd name="T78" fmla="*/ 122 w 224"/>
                  <a:gd name="T79" fmla="*/ 78 h 184"/>
                  <a:gd name="T80" fmla="*/ 112 w 224"/>
                  <a:gd name="T81" fmla="*/ 68 h 184"/>
                  <a:gd name="T82" fmla="*/ 168 w 224"/>
                  <a:gd name="T83" fmla="*/ 68 h 184"/>
                  <a:gd name="T84" fmla="*/ 158 w 224"/>
                  <a:gd name="T85" fmla="*/ 78 h 184"/>
                  <a:gd name="T86" fmla="*/ 168 w 224"/>
                  <a:gd name="T87" fmla="*/ 88 h 184"/>
                  <a:gd name="T88" fmla="*/ 178 w 224"/>
                  <a:gd name="T89" fmla="*/ 78 h 184"/>
                  <a:gd name="T90" fmla="*/ 168 w 224"/>
                  <a:gd name="T91" fmla="*/ 68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24" h="184">
                    <a:moveTo>
                      <a:pt x="224" y="0"/>
                    </a:moveTo>
                    <a:cubicBezTo>
                      <a:pt x="224" y="156"/>
                      <a:pt x="224" y="156"/>
                      <a:pt x="224" y="156"/>
                    </a:cubicBezTo>
                    <a:cubicBezTo>
                      <a:pt x="86" y="156"/>
                      <a:pt x="86" y="156"/>
                      <a:pt x="86" y="156"/>
                    </a:cubicBezTo>
                    <a:cubicBezTo>
                      <a:pt x="48" y="184"/>
                      <a:pt x="48" y="184"/>
                      <a:pt x="48" y="184"/>
                    </a:cubicBezTo>
                    <a:cubicBezTo>
                      <a:pt x="48" y="156"/>
                      <a:pt x="48" y="156"/>
                      <a:pt x="48" y="156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224" y="0"/>
                    </a:lnTo>
                    <a:close/>
                    <a:moveTo>
                      <a:pt x="216" y="8"/>
                    </a:moveTo>
                    <a:cubicBezTo>
                      <a:pt x="8" y="8"/>
                      <a:pt x="8" y="8"/>
                      <a:pt x="8" y="8"/>
                    </a:cubicBezTo>
                    <a:cubicBezTo>
                      <a:pt x="8" y="148"/>
                      <a:pt x="8" y="148"/>
                      <a:pt x="8" y="148"/>
                    </a:cubicBezTo>
                    <a:cubicBezTo>
                      <a:pt x="56" y="148"/>
                      <a:pt x="56" y="148"/>
                      <a:pt x="56" y="148"/>
                    </a:cubicBezTo>
                    <a:cubicBezTo>
                      <a:pt x="56" y="168"/>
                      <a:pt x="56" y="168"/>
                      <a:pt x="56" y="168"/>
                    </a:cubicBezTo>
                    <a:cubicBezTo>
                      <a:pt x="83" y="148"/>
                      <a:pt x="83" y="148"/>
                      <a:pt x="83" y="148"/>
                    </a:cubicBezTo>
                    <a:cubicBezTo>
                      <a:pt x="216" y="148"/>
                      <a:pt x="216" y="148"/>
                      <a:pt x="216" y="148"/>
                    </a:cubicBezTo>
                    <a:lnTo>
                      <a:pt x="216" y="8"/>
                    </a:lnTo>
                    <a:close/>
                    <a:moveTo>
                      <a:pt x="56" y="60"/>
                    </a:moveTo>
                    <a:cubicBezTo>
                      <a:pt x="66" y="60"/>
                      <a:pt x="74" y="68"/>
                      <a:pt x="74" y="78"/>
                    </a:cubicBezTo>
                    <a:cubicBezTo>
                      <a:pt x="74" y="88"/>
                      <a:pt x="66" y="96"/>
                      <a:pt x="56" y="96"/>
                    </a:cubicBezTo>
                    <a:cubicBezTo>
                      <a:pt x="46" y="96"/>
                      <a:pt x="38" y="88"/>
                      <a:pt x="38" y="78"/>
                    </a:cubicBezTo>
                    <a:cubicBezTo>
                      <a:pt x="38" y="68"/>
                      <a:pt x="46" y="60"/>
                      <a:pt x="56" y="60"/>
                    </a:cubicBezTo>
                    <a:close/>
                    <a:moveTo>
                      <a:pt x="112" y="60"/>
                    </a:moveTo>
                    <a:cubicBezTo>
                      <a:pt x="122" y="60"/>
                      <a:pt x="130" y="68"/>
                      <a:pt x="130" y="78"/>
                    </a:cubicBezTo>
                    <a:cubicBezTo>
                      <a:pt x="130" y="88"/>
                      <a:pt x="122" y="96"/>
                      <a:pt x="112" y="96"/>
                    </a:cubicBezTo>
                    <a:cubicBezTo>
                      <a:pt x="102" y="96"/>
                      <a:pt x="94" y="88"/>
                      <a:pt x="94" y="78"/>
                    </a:cubicBezTo>
                    <a:cubicBezTo>
                      <a:pt x="94" y="68"/>
                      <a:pt x="102" y="60"/>
                      <a:pt x="112" y="60"/>
                    </a:cubicBezTo>
                    <a:close/>
                    <a:moveTo>
                      <a:pt x="168" y="60"/>
                    </a:moveTo>
                    <a:cubicBezTo>
                      <a:pt x="178" y="60"/>
                      <a:pt x="186" y="68"/>
                      <a:pt x="186" y="78"/>
                    </a:cubicBezTo>
                    <a:cubicBezTo>
                      <a:pt x="186" y="88"/>
                      <a:pt x="178" y="96"/>
                      <a:pt x="168" y="96"/>
                    </a:cubicBezTo>
                    <a:cubicBezTo>
                      <a:pt x="158" y="96"/>
                      <a:pt x="150" y="88"/>
                      <a:pt x="150" y="78"/>
                    </a:cubicBezTo>
                    <a:cubicBezTo>
                      <a:pt x="150" y="68"/>
                      <a:pt x="158" y="60"/>
                      <a:pt x="168" y="60"/>
                    </a:cubicBezTo>
                    <a:close/>
                    <a:moveTo>
                      <a:pt x="56" y="68"/>
                    </a:moveTo>
                    <a:cubicBezTo>
                      <a:pt x="50" y="68"/>
                      <a:pt x="46" y="72"/>
                      <a:pt x="46" y="78"/>
                    </a:cubicBezTo>
                    <a:cubicBezTo>
                      <a:pt x="46" y="84"/>
                      <a:pt x="50" y="88"/>
                      <a:pt x="56" y="88"/>
                    </a:cubicBezTo>
                    <a:cubicBezTo>
                      <a:pt x="62" y="88"/>
                      <a:pt x="66" y="84"/>
                      <a:pt x="66" y="78"/>
                    </a:cubicBezTo>
                    <a:cubicBezTo>
                      <a:pt x="66" y="72"/>
                      <a:pt x="62" y="68"/>
                      <a:pt x="56" y="68"/>
                    </a:cubicBezTo>
                    <a:close/>
                    <a:moveTo>
                      <a:pt x="112" y="68"/>
                    </a:moveTo>
                    <a:cubicBezTo>
                      <a:pt x="106" y="68"/>
                      <a:pt x="102" y="72"/>
                      <a:pt x="102" y="78"/>
                    </a:cubicBezTo>
                    <a:cubicBezTo>
                      <a:pt x="102" y="84"/>
                      <a:pt x="106" y="88"/>
                      <a:pt x="112" y="88"/>
                    </a:cubicBezTo>
                    <a:cubicBezTo>
                      <a:pt x="118" y="88"/>
                      <a:pt x="122" y="84"/>
                      <a:pt x="122" y="78"/>
                    </a:cubicBezTo>
                    <a:cubicBezTo>
                      <a:pt x="122" y="72"/>
                      <a:pt x="118" y="68"/>
                      <a:pt x="112" y="68"/>
                    </a:cubicBezTo>
                    <a:close/>
                    <a:moveTo>
                      <a:pt x="168" y="68"/>
                    </a:moveTo>
                    <a:cubicBezTo>
                      <a:pt x="162" y="68"/>
                      <a:pt x="158" y="72"/>
                      <a:pt x="158" y="78"/>
                    </a:cubicBezTo>
                    <a:cubicBezTo>
                      <a:pt x="158" y="84"/>
                      <a:pt x="162" y="88"/>
                      <a:pt x="168" y="88"/>
                    </a:cubicBezTo>
                    <a:cubicBezTo>
                      <a:pt x="174" y="88"/>
                      <a:pt x="178" y="84"/>
                      <a:pt x="178" y="78"/>
                    </a:cubicBezTo>
                    <a:cubicBezTo>
                      <a:pt x="178" y="72"/>
                      <a:pt x="174" y="68"/>
                      <a:pt x="168" y="68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wrap="square" lIns="91440" tIns="45720" rIns="91440" bIns="4572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63" name="iṩḻîḍê">
              <a:extLst>
                <a:ext uri="{FF2B5EF4-FFF2-40B4-BE49-F238E27FC236}">
                  <a16:creationId xmlns:a16="http://schemas.microsoft.com/office/drawing/2014/main" id="{27F6E2C0-BACD-4C23-A31B-F2C8FD170C73}"/>
                </a:ext>
              </a:extLst>
            </p:cNvPr>
            <p:cNvGrpSpPr/>
            <p:nvPr/>
          </p:nvGrpSpPr>
          <p:grpSpPr>
            <a:xfrm>
              <a:off x="673100" y="2302954"/>
              <a:ext cx="2997094" cy="1046002"/>
              <a:chOff x="3032743" y="3092870"/>
              <a:chExt cx="2578029" cy="1046002"/>
            </a:xfrm>
          </p:grpSpPr>
          <p:sp>
            <p:nvSpPr>
              <p:cNvPr id="80" name="ïṣḻîďè">
                <a:extLst>
                  <a:ext uri="{FF2B5EF4-FFF2-40B4-BE49-F238E27FC236}">
                    <a16:creationId xmlns:a16="http://schemas.microsoft.com/office/drawing/2014/main" id="{5E13367F-8CB9-4AA7-BAEA-1D4E04032AF0}"/>
                  </a:ext>
                </a:extLst>
              </p:cNvPr>
              <p:cNvSpPr txBox="1"/>
              <p:nvPr/>
            </p:nvSpPr>
            <p:spPr>
              <a:xfrm>
                <a:off x="3032743" y="3413864"/>
                <a:ext cx="2578029" cy="72500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</a:t>
                </a:r>
                <a:r>
                  <a:rPr lang="en-US" altLang="zh-CN" sz="1100"/>
                  <a:t>text.</a:t>
                </a:r>
              </a:p>
              <a:p>
                <a:pPr algn="r">
                  <a:lnSpc>
                    <a:spcPct val="120000"/>
                  </a:lnSpc>
                </a:pPr>
                <a:r>
                  <a:rPr lang="en-US" altLang="zh-CN" sz="1100"/>
                  <a:t>……</a:t>
                </a:r>
                <a:endParaRPr lang="zh-CN" altLang="en-US" sz="1100" dirty="0"/>
              </a:p>
            </p:txBody>
          </p:sp>
          <p:sp>
            <p:nvSpPr>
              <p:cNvPr id="81" name="iṡļiḋè">
                <a:extLst>
                  <a:ext uri="{FF2B5EF4-FFF2-40B4-BE49-F238E27FC236}">
                    <a16:creationId xmlns:a16="http://schemas.microsoft.com/office/drawing/2014/main" id="{BCF5A7E8-D90C-4E08-B387-88A1B9362B29}"/>
                  </a:ext>
                </a:extLst>
              </p:cNvPr>
              <p:cNvSpPr/>
              <p:nvPr/>
            </p:nvSpPr>
            <p:spPr>
              <a:xfrm>
                <a:off x="3032743" y="3092870"/>
                <a:ext cx="2578029" cy="32099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algn="r" defTabSz="914378">
                  <a:spcBef>
                    <a:spcPct val="0"/>
                  </a:spcBef>
                  <a:defRPr/>
                </a:pPr>
                <a:r>
                  <a:rPr lang="en-US" altLang="zh-CN" sz="1600" b="1" dirty="0"/>
                  <a:t>Text here</a:t>
                </a:r>
                <a:endParaRPr lang="zh-CN" altLang="en-US" sz="1600" b="1" dirty="0"/>
              </a:p>
            </p:txBody>
          </p:sp>
        </p:grpSp>
        <p:grpSp>
          <p:nvGrpSpPr>
            <p:cNvPr id="64" name="îṣ1îḍé">
              <a:extLst>
                <a:ext uri="{FF2B5EF4-FFF2-40B4-BE49-F238E27FC236}">
                  <a16:creationId xmlns:a16="http://schemas.microsoft.com/office/drawing/2014/main" id="{D66B4C1A-15AA-47A8-B418-3A3A2DE0247D}"/>
                </a:ext>
              </a:extLst>
            </p:cNvPr>
            <p:cNvGrpSpPr/>
            <p:nvPr/>
          </p:nvGrpSpPr>
          <p:grpSpPr>
            <a:xfrm>
              <a:off x="673100" y="3701876"/>
              <a:ext cx="2997094" cy="1046002"/>
              <a:chOff x="3032743" y="3092870"/>
              <a:chExt cx="2578029" cy="1046002"/>
            </a:xfrm>
          </p:grpSpPr>
          <p:sp>
            <p:nvSpPr>
              <p:cNvPr id="78" name="iṣḷíḑé">
                <a:extLst>
                  <a:ext uri="{FF2B5EF4-FFF2-40B4-BE49-F238E27FC236}">
                    <a16:creationId xmlns:a16="http://schemas.microsoft.com/office/drawing/2014/main" id="{E8B514A3-B386-45AB-8A16-5C85F4DA885F}"/>
                  </a:ext>
                </a:extLst>
              </p:cNvPr>
              <p:cNvSpPr txBox="1"/>
              <p:nvPr/>
            </p:nvSpPr>
            <p:spPr>
              <a:xfrm>
                <a:off x="3032743" y="3413864"/>
                <a:ext cx="2578029" cy="72500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</a:t>
                </a:r>
                <a:r>
                  <a:rPr lang="en-US" altLang="zh-CN" sz="1100"/>
                  <a:t>text.</a:t>
                </a:r>
              </a:p>
              <a:p>
                <a:pPr algn="r">
                  <a:lnSpc>
                    <a:spcPct val="120000"/>
                  </a:lnSpc>
                </a:pPr>
                <a:r>
                  <a:rPr lang="en-US" altLang="zh-CN" sz="1100"/>
                  <a:t>……</a:t>
                </a:r>
                <a:endParaRPr lang="zh-CN" altLang="en-US" sz="1100" dirty="0"/>
              </a:p>
            </p:txBody>
          </p:sp>
          <p:sp>
            <p:nvSpPr>
              <p:cNvPr id="79" name="ïṩľïḑè">
                <a:extLst>
                  <a:ext uri="{FF2B5EF4-FFF2-40B4-BE49-F238E27FC236}">
                    <a16:creationId xmlns:a16="http://schemas.microsoft.com/office/drawing/2014/main" id="{10FF295B-324D-40CE-A835-B9834FFA517D}"/>
                  </a:ext>
                </a:extLst>
              </p:cNvPr>
              <p:cNvSpPr/>
              <p:nvPr/>
            </p:nvSpPr>
            <p:spPr>
              <a:xfrm>
                <a:off x="3032743" y="3092870"/>
                <a:ext cx="2578029" cy="32099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algn="r" defTabSz="914378">
                  <a:spcBef>
                    <a:spcPct val="0"/>
                  </a:spcBef>
                  <a:defRPr/>
                </a:pPr>
                <a:r>
                  <a:rPr lang="en-US" altLang="zh-CN" sz="1600" b="1" dirty="0"/>
                  <a:t>Text here</a:t>
                </a:r>
                <a:endParaRPr lang="zh-CN" altLang="en-US" sz="1600" b="1" dirty="0"/>
              </a:p>
            </p:txBody>
          </p:sp>
        </p:grpSp>
        <p:grpSp>
          <p:nvGrpSpPr>
            <p:cNvPr id="65" name="iṥ1îḋé">
              <a:extLst>
                <a:ext uri="{FF2B5EF4-FFF2-40B4-BE49-F238E27FC236}">
                  <a16:creationId xmlns:a16="http://schemas.microsoft.com/office/drawing/2014/main" id="{0000586F-8517-4742-A5BD-64E5569206FD}"/>
                </a:ext>
              </a:extLst>
            </p:cNvPr>
            <p:cNvGrpSpPr/>
            <p:nvPr/>
          </p:nvGrpSpPr>
          <p:grpSpPr>
            <a:xfrm>
              <a:off x="673100" y="5100798"/>
              <a:ext cx="2997094" cy="1046002"/>
              <a:chOff x="3032743" y="3092870"/>
              <a:chExt cx="2578029" cy="1046002"/>
            </a:xfrm>
          </p:grpSpPr>
          <p:sp>
            <p:nvSpPr>
              <p:cNvPr id="76" name="işlíḍé">
                <a:extLst>
                  <a:ext uri="{FF2B5EF4-FFF2-40B4-BE49-F238E27FC236}">
                    <a16:creationId xmlns:a16="http://schemas.microsoft.com/office/drawing/2014/main" id="{10F132B9-B0DC-4CFA-9674-43FBECFA22CA}"/>
                  </a:ext>
                </a:extLst>
              </p:cNvPr>
              <p:cNvSpPr txBox="1"/>
              <p:nvPr/>
            </p:nvSpPr>
            <p:spPr>
              <a:xfrm>
                <a:off x="3032743" y="3413864"/>
                <a:ext cx="2578029" cy="72500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</a:t>
                </a:r>
                <a:r>
                  <a:rPr lang="en-US" altLang="zh-CN" sz="1100"/>
                  <a:t>text.</a:t>
                </a:r>
              </a:p>
              <a:p>
                <a:pPr algn="r">
                  <a:lnSpc>
                    <a:spcPct val="120000"/>
                  </a:lnSpc>
                </a:pPr>
                <a:r>
                  <a:rPr lang="en-US" altLang="zh-CN" sz="1100"/>
                  <a:t>……</a:t>
                </a:r>
                <a:endParaRPr lang="zh-CN" altLang="en-US" sz="1100" dirty="0"/>
              </a:p>
            </p:txBody>
          </p:sp>
          <p:sp>
            <p:nvSpPr>
              <p:cNvPr id="77" name="iṥḻïḓé">
                <a:extLst>
                  <a:ext uri="{FF2B5EF4-FFF2-40B4-BE49-F238E27FC236}">
                    <a16:creationId xmlns:a16="http://schemas.microsoft.com/office/drawing/2014/main" id="{88B3B56F-4A33-43B9-857B-FF80FCD25642}"/>
                  </a:ext>
                </a:extLst>
              </p:cNvPr>
              <p:cNvSpPr/>
              <p:nvPr/>
            </p:nvSpPr>
            <p:spPr>
              <a:xfrm>
                <a:off x="3032743" y="3092870"/>
                <a:ext cx="2578029" cy="32099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algn="r" defTabSz="914378">
                  <a:spcBef>
                    <a:spcPct val="0"/>
                  </a:spcBef>
                  <a:defRPr/>
                </a:pPr>
                <a:r>
                  <a:rPr lang="en-US" altLang="zh-CN" sz="1600" b="1" dirty="0"/>
                  <a:t>Text here</a:t>
                </a:r>
                <a:endParaRPr lang="zh-CN" altLang="en-US" sz="1600" b="1" dirty="0"/>
              </a:p>
            </p:txBody>
          </p:sp>
        </p:grpSp>
        <p:grpSp>
          <p:nvGrpSpPr>
            <p:cNvPr id="66" name="íṩľïďé">
              <a:extLst>
                <a:ext uri="{FF2B5EF4-FFF2-40B4-BE49-F238E27FC236}">
                  <a16:creationId xmlns:a16="http://schemas.microsoft.com/office/drawing/2014/main" id="{264DC588-301E-4740-BD63-BFBF026C515C}"/>
                </a:ext>
              </a:extLst>
            </p:cNvPr>
            <p:cNvGrpSpPr/>
            <p:nvPr/>
          </p:nvGrpSpPr>
          <p:grpSpPr>
            <a:xfrm>
              <a:off x="8523394" y="2302954"/>
              <a:ext cx="2997094" cy="1046002"/>
              <a:chOff x="3032743" y="3092870"/>
              <a:chExt cx="2578029" cy="1046002"/>
            </a:xfrm>
          </p:grpSpPr>
          <p:sp>
            <p:nvSpPr>
              <p:cNvPr id="74" name="ïṣḷîḍe">
                <a:extLst>
                  <a:ext uri="{FF2B5EF4-FFF2-40B4-BE49-F238E27FC236}">
                    <a16:creationId xmlns:a16="http://schemas.microsoft.com/office/drawing/2014/main" id="{AE11A262-B4EC-4848-B6F3-D8A3BEAA8A2D}"/>
                  </a:ext>
                </a:extLst>
              </p:cNvPr>
              <p:cNvSpPr txBox="1"/>
              <p:nvPr/>
            </p:nvSpPr>
            <p:spPr>
              <a:xfrm>
                <a:off x="3032743" y="3413864"/>
                <a:ext cx="2578029" cy="72500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</a:t>
                </a:r>
                <a:r>
                  <a:rPr lang="en-US" altLang="zh-CN" sz="1100"/>
                  <a:t>text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/>
                  <a:t>……</a:t>
                </a:r>
                <a:endParaRPr lang="zh-CN" altLang="en-US" sz="1100" dirty="0"/>
              </a:p>
            </p:txBody>
          </p:sp>
          <p:sp>
            <p:nvSpPr>
              <p:cNvPr id="75" name="ísľïde">
                <a:extLst>
                  <a:ext uri="{FF2B5EF4-FFF2-40B4-BE49-F238E27FC236}">
                    <a16:creationId xmlns:a16="http://schemas.microsoft.com/office/drawing/2014/main" id="{F76A7412-1238-42AA-8560-9D23FF793413}"/>
                  </a:ext>
                </a:extLst>
              </p:cNvPr>
              <p:cNvSpPr/>
              <p:nvPr/>
            </p:nvSpPr>
            <p:spPr>
              <a:xfrm>
                <a:off x="3032743" y="3092870"/>
                <a:ext cx="2578029" cy="32099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defTabSz="914378">
                  <a:spcBef>
                    <a:spcPct val="0"/>
                  </a:spcBef>
                  <a:defRPr/>
                </a:pPr>
                <a:r>
                  <a:rPr lang="en-US" altLang="zh-CN" sz="1600" b="1" dirty="0"/>
                  <a:t>Text here</a:t>
                </a:r>
                <a:endParaRPr lang="zh-CN" altLang="en-US" sz="1600" b="1" dirty="0"/>
              </a:p>
            </p:txBody>
          </p:sp>
        </p:grpSp>
        <p:grpSp>
          <p:nvGrpSpPr>
            <p:cNvPr id="67" name="i$ľíḋè">
              <a:extLst>
                <a:ext uri="{FF2B5EF4-FFF2-40B4-BE49-F238E27FC236}">
                  <a16:creationId xmlns:a16="http://schemas.microsoft.com/office/drawing/2014/main" id="{CC5AB230-A218-44E9-9DE5-7DDDEA62CA44}"/>
                </a:ext>
              </a:extLst>
            </p:cNvPr>
            <p:cNvGrpSpPr/>
            <p:nvPr/>
          </p:nvGrpSpPr>
          <p:grpSpPr>
            <a:xfrm>
              <a:off x="8523394" y="3701876"/>
              <a:ext cx="2997094" cy="1046002"/>
              <a:chOff x="3032743" y="3092870"/>
              <a:chExt cx="2578029" cy="1046002"/>
            </a:xfrm>
          </p:grpSpPr>
          <p:sp>
            <p:nvSpPr>
              <p:cNvPr id="72" name="îṧḷîḓe">
                <a:extLst>
                  <a:ext uri="{FF2B5EF4-FFF2-40B4-BE49-F238E27FC236}">
                    <a16:creationId xmlns:a16="http://schemas.microsoft.com/office/drawing/2014/main" id="{B6A5DA69-83F9-4D5A-887F-2A9A941D8B3A}"/>
                  </a:ext>
                </a:extLst>
              </p:cNvPr>
              <p:cNvSpPr txBox="1"/>
              <p:nvPr/>
            </p:nvSpPr>
            <p:spPr>
              <a:xfrm>
                <a:off x="3032743" y="3413864"/>
                <a:ext cx="2578029" cy="72500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</a:t>
                </a:r>
                <a:r>
                  <a:rPr lang="en-US" altLang="zh-CN" sz="1100"/>
                  <a:t>text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/>
                  <a:t>……</a:t>
                </a:r>
                <a:endParaRPr lang="zh-CN" altLang="en-US" sz="1100" dirty="0"/>
              </a:p>
            </p:txBody>
          </p:sp>
          <p:sp>
            <p:nvSpPr>
              <p:cNvPr id="73" name="íşḻíḑe">
                <a:extLst>
                  <a:ext uri="{FF2B5EF4-FFF2-40B4-BE49-F238E27FC236}">
                    <a16:creationId xmlns:a16="http://schemas.microsoft.com/office/drawing/2014/main" id="{6D008593-6E1D-4E65-AC00-35D97A536853}"/>
                  </a:ext>
                </a:extLst>
              </p:cNvPr>
              <p:cNvSpPr/>
              <p:nvPr/>
            </p:nvSpPr>
            <p:spPr>
              <a:xfrm>
                <a:off x="3032743" y="3092870"/>
                <a:ext cx="2578029" cy="32099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defTabSz="914378">
                  <a:spcBef>
                    <a:spcPct val="0"/>
                  </a:spcBef>
                  <a:defRPr/>
                </a:pPr>
                <a:r>
                  <a:rPr lang="en-US" altLang="zh-CN" sz="1600" b="1" dirty="0"/>
                  <a:t>Text here</a:t>
                </a:r>
                <a:endParaRPr lang="zh-CN" altLang="en-US" sz="1600" b="1" dirty="0"/>
              </a:p>
            </p:txBody>
          </p:sp>
        </p:grpSp>
        <p:grpSp>
          <p:nvGrpSpPr>
            <p:cNvPr id="68" name="isḷíďé">
              <a:extLst>
                <a:ext uri="{FF2B5EF4-FFF2-40B4-BE49-F238E27FC236}">
                  <a16:creationId xmlns:a16="http://schemas.microsoft.com/office/drawing/2014/main" id="{FEC9AFD8-3745-4815-971B-1AE6A5837A25}"/>
                </a:ext>
              </a:extLst>
            </p:cNvPr>
            <p:cNvGrpSpPr/>
            <p:nvPr/>
          </p:nvGrpSpPr>
          <p:grpSpPr>
            <a:xfrm>
              <a:off x="8523394" y="5100798"/>
              <a:ext cx="2997094" cy="1046002"/>
              <a:chOff x="3032743" y="3092870"/>
              <a:chExt cx="2578029" cy="1046002"/>
            </a:xfrm>
          </p:grpSpPr>
          <p:sp>
            <p:nvSpPr>
              <p:cNvPr id="70" name="iŝ1ïdé">
                <a:extLst>
                  <a:ext uri="{FF2B5EF4-FFF2-40B4-BE49-F238E27FC236}">
                    <a16:creationId xmlns:a16="http://schemas.microsoft.com/office/drawing/2014/main" id="{3C642188-B4B4-4E58-8238-AA01F5A49445}"/>
                  </a:ext>
                </a:extLst>
              </p:cNvPr>
              <p:cNvSpPr txBox="1"/>
              <p:nvPr/>
            </p:nvSpPr>
            <p:spPr>
              <a:xfrm>
                <a:off x="3032743" y="3413864"/>
                <a:ext cx="2578029" cy="72500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</a:t>
                </a:r>
                <a:r>
                  <a:rPr lang="en-US" altLang="zh-CN" sz="1100"/>
                  <a:t>text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/>
                  <a:t>……</a:t>
                </a:r>
                <a:endParaRPr lang="zh-CN" altLang="en-US" sz="1100" dirty="0"/>
              </a:p>
            </p:txBody>
          </p:sp>
          <p:sp>
            <p:nvSpPr>
              <p:cNvPr id="71" name="îṡḻiḍê">
                <a:extLst>
                  <a:ext uri="{FF2B5EF4-FFF2-40B4-BE49-F238E27FC236}">
                    <a16:creationId xmlns:a16="http://schemas.microsoft.com/office/drawing/2014/main" id="{B24ADB2B-0D91-4D6F-B3C1-ABE03362031B}"/>
                  </a:ext>
                </a:extLst>
              </p:cNvPr>
              <p:cNvSpPr/>
              <p:nvPr/>
            </p:nvSpPr>
            <p:spPr>
              <a:xfrm>
                <a:off x="3032743" y="3092870"/>
                <a:ext cx="2578029" cy="32099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defTabSz="914378">
                  <a:spcBef>
                    <a:spcPct val="0"/>
                  </a:spcBef>
                  <a:defRPr/>
                </a:pPr>
                <a:r>
                  <a:rPr lang="en-US" altLang="zh-CN" sz="1600" b="1" dirty="0"/>
                  <a:t>Text here</a:t>
                </a:r>
                <a:endParaRPr lang="zh-CN" altLang="en-US" sz="1600" b="1" dirty="0"/>
              </a:p>
            </p:txBody>
          </p:sp>
        </p:grpSp>
        <p:sp>
          <p:nvSpPr>
            <p:cNvPr id="69" name="ïs1iḑé">
              <a:extLst>
                <a:ext uri="{FF2B5EF4-FFF2-40B4-BE49-F238E27FC236}">
                  <a16:creationId xmlns:a16="http://schemas.microsoft.com/office/drawing/2014/main" id="{6842FA31-0F78-4091-A631-D4698FE97639}"/>
                </a:ext>
              </a:extLst>
            </p:cNvPr>
            <p:cNvSpPr txBox="1"/>
            <p:nvPr/>
          </p:nvSpPr>
          <p:spPr>
            <a:xfrm>
              <a:off x="3479800" y="1308298"/>
              <a:ext cx="5232400" cy="5736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SzPct val="25000"/>
              </a:pPr>
              <a:r>
                <a:rPr lang="en-US" sz="2000" b="1" dirty="0"/>
                <a:t>Unified fonts make reading more fluent.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0522000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25BA973-C26C-4A9E-A413-51B1902096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D71C100-03DD-47A4-9221-A099DF292E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88B2014-A022-4015-98BA-1D3618748E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grpSp>
        <p:nvGrpSpPr>
          <p:cNvPr id="133" name="21563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8F83728-ECAB-4889-A394-0AFB027A15C3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177098"/>
            <a:ext cx="10845800" cy="4969702"/>
            <a:chOff x="673100" y="1177098"/>
            <a:chExt cx="10845800" cy="4969702"/>
          </a:xfrm>
        </p:grpSpPr>
        <p:cxnSp>
          <p:nvCxnSpPr>
            <p:cNvPr id="134" name="直接连接符 133">
              <a:extLst>
                <a:ext uri="{FF2B5EF4-FFF2-40B4-BE49-F238E27FC236}">
                  <a16:creationId xmlns:a16="http://schemas.microsoft.com/office/drawing/2014/main" id="{0721C8DC-55EB-41C6-ABBE-33C61A98B332}"/>
                </a:ext>
              </a:extLst>
            </p:cNvPr>
            <p:cNvCxnSpPr/>
            <p:nvPr/>
          </p:nvCxnSpPr>
          <p:spPr>
            <a:xfrm flipH="1">
              <a:off x="673100" y="3596558"/>
              <a:ext cx="10845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5" name="ïşḷíḓé">
              <a:extLst>
                <a:ext uri="{FF2B5EF4-FFF2-40B4-BE49-F238E27FC236}">
                  <a16:creationId xmlns:a16="http://schemas.microsoft.com/office/drawing/2014/main" id="{8B201624-4F2B-45E5-9D62-C53E518E36AF}"/>
                </a:ext>
              </a:extLst>
            </p:cNvPr>
            <p:cNvGrpSpPr/>
            <p:nvPr/>
          </p:nvGrpSpPr>
          <p:grpSpPr>
            <a:xfrm>
              <a:off x="9393348" y="2976912"/>
              <a:ext cx="2125552" cy="3169888"/>
              <a:chOff x="9393348" y="2976912"/>
              <a:chExt cx="2125552" cy="3169888"/>
            </a:xfrm>
          </p:grpSpPr>
          <p:cxnSp>
            <p:nvCxnSpPr>
              <p:cNvPr id="157" name="直接连接符 156">
                <a:extLst>
                  <a:ext uri="{FF2B5EF4-FFF2-40B4-BE49-F238E27FC236}">
                    <a16:creationId xmlns:a16="http://schemas.microsoft.com/office/drawing/2014/main" id="{CCAEA3F6-7F21-47FD-BD33-D347AFF42F6E}"/>
                  </a:ext>
                </a:extLst>
              </p:cNvPr>
              <p:cNvCxnSpPr/>
              <p:nvPr/>
            </p:nvCxnSpPr>
            <p:spPr>
              <a:xfrm>
                <a:off x="10456125" y="4441243"/>
                <a:ext cx="0" cy="458638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  <a:prstDash val="solid"/>
                <a:headEnd type="oval" w="sm" len="sm"/>
                <a:tailEnd type="oval" w="sm" len="sm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58" name="îŝḻidê">
                <a:extLst>
                  <a:ext uri="{FF2B5EF4-FFF2-40B4-BE49-F238E27FC236}">
                    <a16:creationId xmlns:a16="http://schemas.microsoft.com/office/drawing/2014/main" id="{9412015F-E608-4798-A234-4632246C4428}"/>
                  </a:ext>
                </a:extLst>
              </p:cNvPr>
              <p:cNvGrpSpPr/>
              <p:nvPr/>
            </p:nvGrpSpPr>
            <p:grpSpPr>
              <a:xfrm>
                <a:off x="9829447" y="2976912"/>
                <a:ext cx="1253355" cy="1253354"/>
                <a:chOff x="9829447" y="3096672"/>
                <a:chExt cx="1253355" cy="1253354"/>
              </a:xfrm>
            </p:grpSpPr>
            <p:sp>
              <p:nvSpPr>
                <p:cNvPr id="162" name="ísľiḍe">
                  <a:extLst>
                    <a:ext uri="{FF2B5EF4-FFF2-40B4-BE49-F238E27FC236}">
                      <a16:creationId xmlns:a16="http://schemas.microsoft.com/office/drawing/2014/main" id="{445B6FE8-45E4-422A-9F46-5B707A103B4D}"/>
                    </a:ext>
                  </a:extLst>
                </p:cNvPr>
                <p:cNvSpPr/>
                <p:nvPr/>
              </p:nvSpPr>
              <p:spPr>
                <a:xfrm>
                  <a:off x="9946717" y="3213942"/>
                  <a:ext cx="1018814" cy="1018814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p:spPr>
              <p:txBody>
                <a:bodyPr lIns="91426" tIns="45700" rIns="91426" bIns="45700" anchor="ctr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sz="3600">
                    <a:solidFill>
                      <a:schemeClr val="bg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63" name="iSlîďé">
                  <a:extLst>
                    <a:ext uri="{FF2B5EF4-FFF2-40B4-BE49-F238E27FC236}">
                      <a16:creationId xmlns:a16="http://schemas.microsoft.com/office/drawing/2014/main" id="{80360C25-73F4-4B04-91F3-95BBADD26A68}"/>
                    </a:ext>
                  </a:extLst>
                </p:cNvPr>
                <p:cNvSpPr/>
                <p:nvPr/>
              </p:nvSpPr>
              <p:spPr>
                <a:xfrm>
                  <a:off x="9829447" y="3096672"/>
                  <a:ext cx="1253355" cy="1253354"/>
                </a:xfrm>
                <a:prstGeom prst="ellipse">
                  <a:avLst/>
                </a:prstGeom>
                <a:noFill/>
                <a:ln w="22225">
                  <a:solidFill>
                    <a:schemeClr val="bg1">
                      <a:lumMod val="75000"/>
                      <a:alpha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de-DE" sz="7196">
                    <a:solidFill>
                      <a:schemeClr val="bg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64" name="iśļíḓe">
                  <a:extLst>
                    <a:ext uri="{FF2B5EF4-FFF2-40B4-BE49-F238E27FC236}">
                      <a16:creationId xmlns:a16="http://schemas.microsoft.com/office/drawing/2014/main" id="{652B2EF5-4AA1-478E-B2E4-00DAC4DC94F1}"/>
                    </a:ext>
                  </a:extLst>
                </p:cNvPr>
                <p:cNvSpPr/>
                <p:nvPr/>
              </p:nvSpPr>
              <p:spPr bwMode="auto">
                <a:xfrm>
                  <a:off x="10251284" y="3567717"/>
                  <a:ext cx="409678" cy="311263"/>
                </a:xfrm>
                <a:custGeom>
                  <a:avLst/>
                  <a:gdLst>
                    <a:gd name="T0" fmla="*/ 224 w 224"/>
                    <a:gd name="T1" fmla="*/ 0 h 168"/>
                    <a:gd name="T2" fmla="*/ 224 w 224"/>
                    <a:gd name="T3" fmla="*/ 168 h 168"/>
                    <a:gd name="T4" fmla="*/ 0 w 224"/>
                    <a:gd name="T5" fmla="*/ 168 h 168"/>
                    <a:gd name="T6" fmla="*/ 0 w 224"/>
                    <a:gd name="T7" fmla="*/ 0 h 168"/>
                    <a:gd name="T8" fmla="*/ 224 w 224"/>
                    <a:gd name="T9" fmla="*/ 0 h 168"/>
                    <a:gd name="T10" fmla="*/ 157 w 224"/>
                    <a:gd name="T11" fmla="*/ 64 h 168"/>
                    <a:gd name="T12" fmla="*/ 104 w 224"/>
                    <a:gd name="T13" fmla="*/ 134 h 168"/>
                    <a:gd name="T14" fmla="*/ 59 w 224"/>
                    <a:gd name="T15" fmla="*/ 90 h 168"/>
                    <a:gd name="T16" fmla="*/ 8 w 224"/>
                    <a:gd name="T17" fmla="*/ 149 h 168"/>
                    <a:gd name="T18" fmla="*/ 8 w 224"/>
                    <a:gd name="T19" fmla="*/ 160 h 168"/>
                    <a:gd name="T20" fmla="*/ 216 w 224"/>
                    <a:gd name="T21" fmla="*/ 160 h 168"/>
                    <a:gd name="T22" fmla="*/ 216 w 224"/>
                    <a:gd name="T23" fmla="*/ 142 h 168"/>
                    <a:gd name="T24" fmla="*/ 157 w 224"/>
                    <a:gd name="T25" fmla="*/ 64 h 168"/>
                    <a:gd name="T26" fmla="*/ 216 w 224"/>
                    <a:gd name="T27" fmla="*/ 8 h 168"/>
                    <a:gd name="T28" fmla="*/ 8 w 224"/>
                    <a:gd name="T29" fmla="*/ 8 h 168"/>
                    <a:gd name="T30" fmla="*/ 8 w 224"/>
                    <a:gd name="T31" fmla="*/ 137 h 168"/>
                    <a:gd name="T32" fmla="*/ 58 w 224"/>
                    <a:gd name="T33" fmla="*/ 78 h 168"/>
                    <a:gd name="T34" fmla="*/ 103 w 224"/>
                    <a:gd name="T35" fmla="*/ 122 h 168"/>
                    <a:gd name="T36" fmla="*/ 158 w 224"/>
                    <a:gd name="T37" fmla="*/ 51 h 168"/>
                    <a:gd name="T38" fmla="*/ 216 w 224"/>
                    <a:gd name="T39" fmla="*/ 129 h 168"/>
                    <a:gd name="T40" fmla="*/ 216 w 224"/>
                    <a:gd name="T41" fmla="*/ 8 h 168"/>
                    <a:gd name="T42" fmla="*/ 40 w 224"/>
                    <a:gd name="T43" fmla="*/ 20 h 168"/>
                    <a:gd name="T44" fmla="*/ 60 w 224"/>
                    <a:gd name="T45" fmla="*/ 40 h 168"/>
                    <a:gd name="T46" fmla="*/ 40 w 224"/>
                    <a:gd name="T47" fmla="*/ 60 h 168"/>
                    <a:gd name="T48" fmla="*/ 20 w 224"/>
                    <a:gd name="T49" fmla="*/ 40 h 168"/>
                    <a:gd name="T50" fmla="*/ 40 w 224"/>
                    <a:gd name="T51" fmla="*/ 20 h 168"/>
                    <a:gd name="T52" fmla="*/ 40 w 224"/>
                    <a:gd name="T53" fmla="*/ 28 h 168"/>
                    <a:gd name="T54" fmla="*/ 28 w 224"/>
                    <a:gd name="T55" fmla="*/ 40 h 168"/>
                    <a:gd name="T56" fmla="*/ 40 w 224"/>
                    <a:gd name="T57" fmla="*/ 52 h 168"/>
                    <a:gd name="T58" fmla="*/ 52 w 224"/>
                    <a:gd name="T59" fmla="*/ 40 h 168"/>
                    <a:gd name="T60" fmla="*/ 40 w 224"/>
                    <a:gd name="T61" fmla="*/ 28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224" h="168">
                      <a:moveTo>
                        <a:pt x="224" y="0"/>
                      </a:moveTo>
                      <a:cubicBezTo>
                        <a:pt x="224" y="168"/>
                        <a:pt x="224" y="168"/>
                        <a:pt x="224" y="168"/>
                      </a:cubicBezTo>
                      <a:cubicBezTo>
                        <a:pt x="0" y="168"/>
                        <a:pt x="0" y="168"/>
                        <a:pt x="0" y="168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224" y="0"/>
                      </a:lnTo>
                      <a:close/>
                      <a:moveTo>
                        <a:pt x="157" y="64"/>
                      </a:moveTo>
                      <a:cubicBezTo>
                        <a:pt x="104" y="134"/>
                        <a:pt x="104" y="134"/>
                        <a:pt x="104" y="134"/>
                      </a:cubicBezTo>
                      <a:cubicBezTo>
                        <a:pt x="59" y="90"/>
                        <a:pt x="59" y="90"/>
                        <a:pt x="59" y="90"/>
                      </a:cubicBezTo>
                      <a:cubicBezTo>
                        <a:pt x="8" y="149"/>
                        <a:pt x="8" y="149"/>
                        <a:pt x="8" y="149"/>
                      </a:cubicBezTo>
                      <a:cubicBezTo>
                        <a:pt x="8" y="160"/>
                        <a:pt x="8" y="160"/>
                        <a:pt x="8" y="160"/>
                      </a:cubicBezTo>
                      <a:cubicBezTo>
                        <a:pt x="216" y="160"/>
                        <a:pt x="216" y="160"/>
                        <a:pt x="216" y="160"/>
                      </a:cubicBezTo>
                      <a:cubicBezTo>
                        <a:pt x="216" y="142"/>
                        <a:pt x="216" y="142"/>
                        <a:pt x="216" y="142"/>
                      </a:cubicBezTo>
                      <a:lnTo>
                        <a:pt x="157" y="64"/>
                      </a:lnTo>
                      <a:close/>
                      <a:moveTo>
                        <a:pt x="216" y="8"/>
                      </a:moveTo>
                      <a:cubicBezTo>
                        <a:pt x="8" y="8"/>
                        <a:pt x="8" y="8"/>
                        <a:pt x="8" y="8"/>
                      </a:cubicBezTo>
                      <a:cubicBezTo>
                        <a:pt x="8" y="137"/>
                        <a:pt x="8" y="137"/>
                        <a:pt x="8" y="137"/>
                      </a:cubicBezTo>
                      <a:cubicBezTo>
                        <a:pt x="58" y="78"/>
                        <a:pt x="58" y="78"/>
                        <a:pt x="58" y="78"/>
                      </a:cubicBezTo>
                      <a:cubicBezTo>
                        <a:pt x="103" y="122"/>
                        <a:pt x="103" y="122"/>
                        <a:pt x="103" y="122"/>
                      </a:cubicBezTo>
                      <a:cubicBezTo>
                        <a:pt x="158" y="51"/>
                        <a:pt x="158" y="51"/>
                        <a:pt x="158" y="51"/>
                      </a:cubicBezTo>
                      <a:cubicBezTo>
                        <a:pt x="216" y="129"/>
                        <a:pt x="216" y="129"/>
                        <a:pt x="216" y="129"/>
                      </a:cubicBezTo>
                      <a:lnTo>
                        <a:pt x="216" y="8"/>
                      </a:lnTo>
                      <a:close/>
                      <a:moveTo>
                        <a:pt x="40" y="20"/>
                      </a:moveTo>
                      <a:cubicBezTo>
                        <a:pt x="51" y="20"/>
                        <a:pt x="60" y="29"/>
                        <a:pt x="60" y="40"/>
                      </a:cubicBezTo>
                      <a:cubicBezTo>
                        <a:pt x="60" y="51"/>
                        <a:pt x="51" y="60"/>
                        <a:pt x="40" y="60"/>
                      </a:cubicBezTo>
                      <a:cubicBezTo>
                        <a:pt x="29" y="60"/>
                        <a:pt x="20" y="51"/>
                        <a:pt x="20" y="40"/>
                      </a:cubicBezTo>
                      <a:cubicBezTo>
                        <a:pt x="20" y="29"/>
                        <a:pt x="29" y="20"/>
                        <a:pt x="40" y="20"/>
                      </a:cubicBezTo>
                      <a:close/>
                      <a:moveTo>
                        <a:pt x="40" y="28"/>
                      </a:moveTo>
                      <a:cubicBezTo>
                        <a:pt x="33" y="28"/>
                        <a:pt x="28" y="33"/>
                        <a:pt x="28" y="40"/>
                      </a:cubicBezTo>
                      <a:cubicBezTo>
                        <a:pt x="28" y="47"/>
                        <a:pt x="33" y="52"/>
                        <a:pt x="40" y="52"/>
                      </a:cubicBezTo>
                      <a:cubicBezTo>
                        <a:pt x="47" y="52"/>
                        <a:pt x="52" y="47"/>
                        <a:pt x="52" y="40"/>
                      </a:cubicBezTo>
                      <a:cubicBezTo>
                        <a:pt x="52" y="33"/>
                        <a:pt x="47" y="28"/>
                        <a:pt x="40" y="28"/>
                      </a:cubicBezTo>
                      <a:close/>
                    </a:path>
                  </a:pathLst>
                </a:cu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grpSp>
            <p:nvGrpSpPr>
              <p:cNvPr id="159" name="îSľide">
                <a:extLst>
                  <a:ext uri="{FF2B5EF4-FFF2-40B4-BE49-F238E27FC236}">
                    <a16:creationId xmlns:a16="http://schemas.microsoft.com/office/drawing/2014/main" id="{031B7AD4-4747-4FC9-BCFA-0BB1E67DE845}"/>
                  </a:ext>
                </a:extLst>
              </p:cNvPr>
              <p:cNvGrpSpPr/>
              <p:nvPr/>
            </p:nvGrpSpPr>
            <p:grpSpPr>
              <a:xfrm>
                <a:off x="9393348" y="5110858"/>
                <a:ext cx="2125552" cy="1035942"/>
                <a:chOff x="7943613" y="2575161"/>
                <a:chExt cx="3575287" cy="1035942"/>
              </a:xfrm>
            </p:grpSpPr>
            <p:sp>
              <p:nvSpPr>
                <p:cNvPr id="160" name="iṡlïďê">
                  <a:extLst>
                    <a:ext uri="{FF2B5EF4-FFF2-40B4-BE49-F238E27FC236}">
                      <a16:creationId xmlns:a16="http://schemas.microsoft.com/office/drawing/2014/main" id="{37836778-80B1-4761-819C-2733CD3F8F13}"/>
                    </a:ext>
                  </a:extLst>
                </p:cNvPr>
                <p:cNvSpPr txBox="1"/>
                <p:nvPr/>
              </p:nvSpPr>
              <p:spPr>
                <a:xfrm flipH="1">
                  <a:off x="7943613" y="3082992"/>
                  <a:ext cx="3575286" cy="528111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20000"/>
                    </a:lnSpc>
                  </a:pPr>
                  <a:r>
                    <a:rPr lang="en-US" altLang="zh-CN" sz="1100" dirty="0"/>
                    <a:t>Copy paste fonts. Choose the only option to retain text……</a:t>
                  </a:r>
                </a:p>
              </p:txBody>
            </p:sp>
            <p:sp>
              <p:nvSpPr>
                <p:cNvPr id="161" name="iṡ1ïḓê">
                  <a:extLst>
                    <a:ext uri="{FF2B5EF4-FFF2-40B4-BE49-F238E27FC236}">
                      <a16:creationId xmlns:a16="http://schemas.microsoft.com/office/drawing/2014/main" id="{6764E546-4B1B-42E1-8377-810BC9941772}"/>
                    </a:ext>
                  </a:extLst>
                </p:cNvPr>
                <p:cNvSpPr/>
                <p:nvPr/>
              </p:nvSpPr>
              <p:spPr>
                <a:xfrm flipH="1">
                  <a:off x="7943614" y="2575161"/>
                  <a:ext cx="3575286" cy="507831"/>
                </a:xfrm>
                <a:prstGeom prst="rect">
                  <a:avLst/>
                </a:prstGeom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 altLang="zh-CN" sz="2000" b="1" dirty="0"/>
                    <a:t>Text here</a:t>
                  </a:r>
                  <a:endParaRPr lang="zh-CN" altLang="en-US" sz="2000" b="1" dirty="0"/>
                </a:p>
              </p:txBody>
            </p:sp>
          </p:grpSp>
        </p:grpSp>
        <p:grpSp>
          <p:nvGrpSpPr>
            <p:cNvPr id="136" name="îs1îḑè">
              <a:extLst>
                <a:ext uri="{FF2B5EF4-FFF2-40B4-BE49-F238E27FC236}">
                  <a16:creationId xmlns:a16="http://schemas.microsoft.com/office/drawing/2014/main" id="{4BE34089-B950-4699-9B60-DB22529E3AB8}"/>
                </a:ext>
              </a:extLst>
            </p:cNvPr>
            <p:cNvGrpSpPr/>
            <p:nvPr/>
          </p:nvGrpSpPr>
          <p:grpSpPr>
            <a:xfrm>
              <a:off x="7239601" y="2976912"/>
              <a:ext cx="2125552" cy="3169888"/>
              <a:chOff x="7239601" y="2976912"/>
              <a:chExt cx="2125552" cy="3169888"/>
            </a:xfrm>
          </p:grpSpPr>
          <p:cxnSp>
            <p:nvCxnSpPr>
              <p:cNvPr id="149" name="直接连接符 148">
                <a:extLst>
                  <a:ext uri="{FF2B5EF4-FFF2-40B4-BE49-F238E27FC236}">
                    <a16:creationId xmlns:a16="http://schemas.microsoft.com/office/drawing/2014/main" id="{B5D7ECFB-2F35-498C-AD3E-2DF01AF9577E}"/>
                  </a:ext>
                </a:extLst>
              </p:cNvPr>
              <p:cNvCxnSpPr/>
              <p:nvPr/>
            </p:nvCxnSpPr>
            <p:spPr>
              <a:xfrm>
                <a:off x="8302377" y="4441243"/>
                <a:ext cx="0" cy="458638"/>
              </a:xfrm>
              <a:prstGeom prst="line">
                <a:avLst/>
              </a:prstGeom>
              <a:ln w="3175">
                <a:solidFill>
                  <a:schemeClr val="accent1"/>
                </a:solidFill>
                <a:prstDash val="solid"/>
                <a:headEnd type="oval" w="sm" len="sm"/>
                <a:tailEnd type="oval" w="sm" len="sm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50" name="íşľïḓè">
                <a:extLst>
                  <a:ext uri="{FF2B5EF4-FFF2-40B4-BE49-F238E27FC236}">
                    <a16:creationId xmlns:a16="http://schemas.microsoft.com/office/drawing/2014/main" id="{922E40D4-62D7-45A8-8788-568C1FCF0633}"/>
                  </a:ext>
                </a:extLst>
              </p:cNvPr>
              <p:cNvGrpSpPr/>
              <p:nvPr/>
            </p:nvGrpSpPr>
            <p:grpSpPr>
              <a:xfrm>
                <a:off x="7675700" y="2976912"/>
                <a:ext cx="1253355" cy="1253354"/>
                <a:chOff x="7675700" y="3096672"/>
                <a:chExt cx="1253355" cy="1253354"/>
              </a:xfrm>
            </p:grpSpPr>
            <p:sp>
              <p:nvSpPr>
                <p:cNvPr id="154" name="îšlídé">
                  <a:extLst>
                    <a:ext uri="{FF2B5EF4-FFF2-40B4-BE49-F238E27FC236}">
                      <a16:creationId xmlns:a16="http://schemas.microsoft.com/office/drawing/2014/main" id="{AE07F33D-54B1-488D-820F-E6D1EE466230}"/>
                    </a:ext>
                  </a:extLst>
                </p:cNvPr>
                <p:cNvSpPr/>
                <p:nvPr/>
              </p:nvSpPr>
              <p:spPr>
                <a:xfrm>
                  <a:off x="7792970" y="3208813"/>
                  <a:ext cx="1018814" cy="1018814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solidFill>
                    <a:schemeClr val="accent1"/>
                  </a:solidFill>
                </a:ln>
                <a:effectLst/>
              </p:spPr>
              <p:txBody>
                <a:bodyPr lIns="91426" tIns="45700" rIns="91426" bIns="45700" anchor="ctr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sz="3600">
                    <a:solidFill>
                      <a:schemeClr val="bg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55" name="îṥ1ídè">
                  <a:extLst>
                    <a:ext uri="{FF2B5EF4-FFF2-40B4-BE49-F238E27FC236}">
                      <a16:creationId xmlns:a16="http://schemas.microsoft.com/office/drawing/2014/main" id="{E0CF3712-88BF-4787-8F8C-0DE18384CAC1}"/>
                    </a:ext>
                  </a:extLst>
                </p:cNvPr>
                <p:cNvSpPr/>
                <p:nvPr/>
              </p:nvSpPr>
              <p:spPr>
                <a:xfrm>
                  <a:off x="7675700" y="3096672"/>
                  <a:ext cx="1253355" cy="1253354"/>
                </a:xfrm>
                <a:prstGeom prst="ellipse">
                  <a:avLst/>
                </a:prstGeom>
                <a:noFill/>
                <a:ln w="22225">
                  <a:solidFill>
                    <a:schemeClr val="accent1">
                      <a:alpha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de-DE" sz="7196">
                    <a:solidFill>
                      <a:schemeClr val="bg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56" name="íṧļiďe">
                  <a:extLst>
                    <a:ext uri="{FF2B5EF4-FFF2-40B4-BE49-F238E27FC236}">
                      <a16:creationId xmlns:a16="http://schemas.microsoft.com/office/drawing/2014/main" id="{EBBE5D1D-8B25-4CF8-88FF-B4CAF6127D29}"/>
                    </a:ext>
                  </a:extLst>
                </p:cNvPr>
                <p:cNvSpPr/>
                <p:nvPr/>
              </p:nvSpPr>
              <p:spPr bwMode="auto">
                <a:xfrm>
                  <a:off x="8090334" y="3541219"/>
                  <a:ext cx="424086" cy="353998"/>
                </a:xfrm>
                <a:custGeom>
                  <a:avLst/>
                  <a:gdLst>
                    <a:gd name="T0" fmla="*/ 224 w 224"/>
                    <a:gd name="T1" fmla="*/ 0 h 184"/>
                    <a:gd name="T2" fmla="*/ 224 w 224"/>
                    <a:gd name="T3" fmla="*/ 156 h 184"/>
                    <a:gd name="T4" fmla="*/ 86 w 224"/>
                    <a:gd name="T5" fmla="*/ 156 h 184"/>
                    <a:gd name="T6" fmla="*/ 48 w 224"/>
                    <a:gd name="T7" fmla="*/ 184 h 184"/>
                    <a:gd name="T8" fmla="*/ 48 w 224"/>
                    <a:gd name="T9" fmla="*/ 156 h 184"/>
                    <a:gd name="T10" fmla="*/ 0 w 224"/>
                    <a:gd name="T11" fmla="*/ 156 h 184"/>
                    <a:gd name="T12" fmla="*/ 0 w 224"/>
                    <a:gd name="T13" fmla="*/ 0 h 184"/>
                    <a:gd name="T14" fmla="*/ 224 w 224"/>
                    <a:gd name="T15" fmla="*/ 0 h 184"/>
                    <a:gd name="T16" fmla="*/ 216 w 224"/>
                    <a:gd name="T17" fmla="*/ 8 h 184"/>
                    <a:gd name="T18" fmla="*/ 8 w 224"/>
                    <a:gd name="T19" fmla="*/ 8 h 184"/>
                    <a:gd name="T20" fmla="*/ 8 w 224"/>
                    <a:gd name="T21" fmla="*/ 148 h 184"/>
                    <a:gd name="T22" fmla="*/ 56 w 224"/>
                    <a:gd name="T23" fmla="*/ 148 h 184"/>
                    <a:gd name="T24" fmla="*/ 56 w 224"/>
                    <a:gd name="T25" fmla="*/ 168 h 184"/>
                    <a:gd name="T26" fmla="*/ 83 w 224"/>
                    <a:gd name="T27" fmla="*/ 148 h 184"/>
                    <a:gd name="T28" fmla="*/ 216 w 224"/>
                    <a:gd name="T29" fmla="*/ 148 h 184"/>
                    <a:gd name="T30" fmla="*/ 216 w 224"/>
                    <a:gd name="T31" fmla="*/ 8 h 184"/>
                    <a:gd name="T32" fmla="*/ 56 w 224"/>
                    <a:gd name="T33" fmla="*/ 60 h 184"/>
                    <a:gd name="T34" fmla="*/ 74 w 224"/>
                    <a:gd name="T35" fmla="*/ 78 h 184"/>
                    <a:gd name="T36" fmla="*/ 56 w 224"/>
                    <a:gd name="T37" fmla="*/ 96 h 184"/>
                    <a:gd name="T38" fmla="*/ 38 w 224"/>
                    <a:gd name="T39" fmla="*/ 78 h 184"/>
                    <a:gd name="T40" fmla="*/ 56 w 224"/>
                    <a:gd name="T41" fmla="*/ 60 h 184"/>
                    <a:gd name="T42" fmla="*/ 112 w 224"/>
                    <a:gd name="T43" fmla="*/ 60 h 184"/>
                    <a:gd name="T44" fmla="*/ 130 w 224"/>
                    <a:gd name="T45" fmla="*/ 78 h 184"/>
                    <a:gd name="T46" fmla="*/ 112 w 224"/>
                    <a:gd name="T47" fmla="*/ 96 h 184"/>
                    <a:gd name="T48" fmla="*/ 94 w 224"/>
                    <a:gd name="T49" fmla="*/ 78 h 184"/>
                    <a:gd name="T50" fmla="*/ 112 w 224"/>
                    <a:gd name="T51" fmla="*/ 60 h 184"/>
                    <a:gd name="T52" fmla="*/ 168 w 224"/>
                    <a:gd name="T53" fmla="*/ 60 h 184"/>
                    <a:gd name="T54" fmla="*/ 186 w 224"/>
                    <a:gd name="T55" fmla="*/ 78 h 184"/>
                    <a:gd name="T56" fmla="*/ 168 w 224"/>
                    <a:gd name="T57" fmla="*/ 96 h 184"/>
                    <a:gd name="T58" fmla="*/ 150 w 224"/>
                    <a:gd name="T59" fmla="*/ 78 h 184"/>
                    <a:gd name="T60" fmla="*/ 168 w 224"/>
                    <a:gd name="T61" fmla="*/ 60 h 184"/>
                    <a:gd name="T62" fmla="*/ 56 w 224"/>
                    <a:gd name="T63" fmla="*/ 68 h 184"/>
                    <a:gd name="T64" fmla="*/ 46 w 224"/>
                    <a:gd name="T65" fmla="*/ 78 h 184"/>
                    <a:gd name="T66" fmla="*/ 56 w 224"/>
                    <a:gd name="T67" fmla="*/ 88 h 184"/>
                    <a:gd name="T68" fmla="*/ 66 w 224"/>
                    <a:gd name="T69" fmla="*/ 78 h 184"/>
                    <a:gd name="T70" fmla="*/ 56 w 224"/>
                    <a:gd name="T71" fmla="*/ 68 h 184"/>
                    <a:gd name="T72" fmla="*/ 112 w 224"/>
                    <a:gd name="T73" fmla="*/ 68 h 184"/>
                    <a:gd name="T74" fmla="*/ 102 w 224"/>
                    <a:gd name="T75" fmla="*/ 78 h 184"/>
                    <a:gd name="T76" fmla="*/ 112 w 224"/>
                    <a:gd name="T77" fmla="*/ 88 h 184"/>
                    <a:gd name="T78" fmla="*/ 122 w 224"/>
                    <a:gd name="T79" fmla="*/ 78 h 184"/>
                    <a:gd name="T80" fmla="*/ 112 w 224"/>
                    <a:gd name="T81" fmla="*/ 68 h 184"/>
                    <a:gd name="T82" fmla="*/ 168 w 224"/>
                    <a:gd name="T83" fmla="*/ 68 h 184"/>
                    <a:gd name="T84" fmla="*/ 158 w 224"/>
                    <a:gd name="T85" fmla="*/ 78 h 184"/>
                    <a:gd name="T86" fmla="*/ 168 w 224"/>
                    <a:gd name="T87" fmla="*/ 88 h 184"/>
                    <a:gd name="T88" fmla="*/ 178 w 224"/>
                    <a:gd name="T89" fmla="*/ 78 h 184"/>
                    <a:gd name="T90" fmla="*/ 168 w 224"/>
                    <a:gd name="T91" fmla="*/ 68 h 1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224" h="184">
                      <a:moveTo>
                        <a:pt x="224" y="0"/>
                      </a:moveTo>
                      <a:cubicBezTo>
                        <a:pt x="224" y="156"/>
                        <a:pt x="224" y="156"/>
                        <a:pt x="224" y="156"/>
                      </a:cubicBezTo>
                      <a:cubicBezTo>
                        <a:pt x="86" y="156"/>
                        <a:pt x="86" y="156"/>
                        <a:pt x="86" y="156"/>
                      </a:cubicBezTo>
                      <a:cubicBezTo>
                        <a:pt x="48" y="184"/>
                        <a:pt x="48" y="184"/>
                        <a:pt x="48" y="184"/>
                      </a:cubicBezTo>
                      <a:cubicBezTo>
                        <a:pt x="48" y="156"/>
                        <a:pt x="48" y="156"/>
                        <a:pt x="48" y="156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224" y="0"/>
                      </a:lnTo>
                      <a:close/>
                      <a:moveTo>
                        <a:pt x="216" y="8"/>
                      </a:moveTo>
                      <a:cubicBezTo>
                        <a:pt x="8" y="8"/>
                        <a:pt x="8" y="8"/>
                        <a:pt x="8" y="8"/>
                      </a:cubicBezTo>
                      <a:cubicBezTo>
                        <a:pt x="8" y="148"/>
                        <a:pt x="8" y="148"/>
                        <a:pt x="8" y="148"/>
                      </a:cubicBezTo>
                      <a:cubicBezTo>
                        <a:pt x="56" y="148"/>
                        <a:pt x="56" y="148"/>
                        <a:pt x="56" y="148"/>
                      </a:cubicBezTo>
                      <a:cubicBezTo>
                        <a:pt x="56" y="168"/>
                        <a:pt x="56" y="168"/>
                        <a:pt x="56" y="168"/>
                      </a:cubicBezTo>
                      <a:cubicBezTo>
                        <a:pt x="83" y="148"/>
                        <a:pt x="83" y="148"/>
                        <a:pt x="83" y="148"/>
                      </a:cubicBezTo>
                      <a:cubicBezTo>
                        <a:pt x="216" y="148"/>
                        <a:pt x="216" y="148"/>
                        <a:pt x="216" y="148"/>
                      </a:cubicBezTo>
                      <a:lnTo>
                        <a:pt x="216" y="8"/>
                      </a:lnTo>
                      <a:close/>
                      <a:moveTo>
                        <a:pt x="56" y="60"/>
                      </a:moveTo>
                      <a:cubicBezTo>
                        <a:pt x="66" y="60"/>
                        <a:pt x="74" y="68"/>
                        <a:pt x="74" y="78"/>
                      </a:cubicBezTo>
                      <a:cubicBezTo>
                        <a:pt x="74" y="88"/>
                        <a:pt x="66" y="96"/>
                        <a:pt x="56" y="96"/>
                      </a:cubicBezTo>
                      <a:cubicBezTo>
                        <a:pt x="46" y="96"/>
                        <a:pt x="38" y="88"/>
                        <a:pt x="38" y="78"/>
                      </a:cubicBezTo>
                      <a:cubicBezTo>
                        <a:pt x="38" y="68"/>
                        <a:pt x="46" y="60"/>
                        <a:pt x="56" y="60"/>
                      </a:cubicBezTo>
                      <a:close/>
                      <a:moveTo>
                        <a:pt x="112" y="60"/>
                      </a:moveTo>
                      <a:cubicBezTo>
                        <a:pt x="122" y="60"/>
                        <a:pt x="130" y="68"/>
                        <a:pt x="130" y="78"/>
                      </a:cubicBezTo>
                      <a:cubicBezTo>
                        <a:pt x="130" y="88"/>
                        <a:pt x="122" y="96"/>
                        <a:pt x="112" y="96"/>
                      </a:cubicBezTo>
                      <a:cubicBezTo>
                        <a:pt x="102" y="96"/>
                        <a:pt x="94" y="88"/>
                        <a:pt x="94" y="78"/>
                      </a:cubicBezTo>
                      <a:cubicBezTo>
                        <a:pt x="94" y="68"/>
                        <a:pt x="102" y="60"/>
                        <a:pt x="112" y="60"/>
                      </a:cubicBezTo>
                      <a:close/>
                      <a:moveTo>
                        <a:pt x="168" y="60"/>
                      </a:moveTo>
                      <a:cubicBezTo>
                        <a:pt x="178" y="60"/>
                        <a:pt x="186" y="68"/>
                        <a:pt x="186" y="78"/>
                      </a:cubicBezTo>
                      <a:cubicBezTo>
                        <a:pt x="186" y="88"/>
                        <a:pt x="178" y="96"/>
                        <a:pt x="168" y="96"/>
                      </a:cubicBezTo>
                      <a:cubicBezTo>
                        <a:pt x="158" y="96"/>
                        <a:pt x="150" y="88"/>
                        <a:pt x="150" y="78"/>
                      </a:cubicBezTo>
                      <a:cubicBezTo>
                        <a:pt x="150" y="68"/>
                        <a:pt x="158" y="60"/>
                        <a:pt x="168" y="60"/>
                      </a:cubicBezTo>
                      <a:close/>
                      <a:moveTo>
                        <a:pt x="56" y="68"/>
                      </a:moveTo>
                      <a:cubicBezTo>
                        <a:pt x="50" y="68"/>
                        <a:pt x="46" y="72"/>
                        <a:pt x="46" y="78"/>
                      </a:cubicBezTo>
                      <a:cubicBezTo>
                        <a:pt x="46" y="84"/>
                        <a:pt x="50" y="88"/>
                        <a:pt x="56" y="88"/>
                      </a:cubicBezTo>
                      <a:cubicBezTo>
                        <a:pt x="62" y="88"/>
                        <a:pt x="66" y="84"/>
                        <a:pt x="66" y="78"/>
                      </a:cubicBezTo>
                      <a:cubicBezTo>
                        <a:pt x="66" y="72"/>
                        <a:pt x="62" y="68"/>
                        <a:pt x="56" y="68"/>
                      </a:cubicBezTo>
                      <a:close/>
                      <a:moveTo>
                        <a:pt x="112" y="68"/>
                      </a:moveTo>
                      <a:cubicBezTo>
                        <a:pt x="106" y="68"/>
                        <a:pt x="102" y="72"/>
                        <a:pt x="102" y="78"/>
                      </a:cubicBezTo>
                      <a:cubicBezTo>
                        <a:pt x="102" y="84"/>
                        <a:pt x="106" y="88"/>
                        <a:pt x="112" y="88"/>
                      </a:cubicBezTo>
                      <a:cubicBezTo>
                        <a:pt x="118" y="88"/>
                        <a:pt x="122" y="84"/>
                        <a:pt x="122" y="78"/>
                      </a:cubicBezTo>
                      <a:cubicBezTo>
                        <a:pt x="122" y="72"/>
                        <a:pt x="118" y="68"/>
                        <a:pt x="112" y="68"/>
                      </a:cubicBezTo>
                      <a:close/>
                      <a:moveTo>
                        <a:pt x="168" y="68"/>
                      </a:moveTo>
                      <a:cubicBezTo>
                        <a:pt x="162" y="68"/>
                        <a:pt x="158" y="72"/>
                        <a:pt x="158" y="78"/>
                      </a:cubicBezTo>
                      <a:cubicBezTo>
                        <a:pt x="158" y="84"/>
                        <a:pt x="162" y="88"/>
                        <a:pt x="168" y="88"/>
                      </a:cubicBezTo>
                      <a:cubicBezTo>
                        <a:pt x="174" y="88"/>
                        <a:pt x="178" y="84"/>
                        <a:pt x="178" y="78"/>
                      </a:cubicBezTo>
                      <a:cubicBezTo>
                        <a:pt x="178" y="72"/>
                        <a:pt x="174" y="68"/>
                        <a:pt x="168" y="6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grpSp>
            <p:nvGrpSpPr>
              <p:cNvPr id="151" name="íš1ídê">
                <a:extLst>
                  <a:ext uri="{FF2B5EF4-FFF2-40B4-BE49-F238E27FC236}">
                    <a16:creationId xmlns:a16="http://schemas.microsoft.com/office/drawing/2014/main" id="{69A44B28-CE24-40A5-BBA1-96CABE8FD335}"/>
                  </a:ext>
                </a:extLst>
              </p:cNvPr>
              <p:cNvGrpSpPr/>
              <p:nvPr/>
            </p:nvGrpSpPr>
            <p:grpSpPr>
              <a:xfrm>
                <a:off x="7239601" y="5110858"/>
                <a:ext cx="2125552" cy="1035942"/>
                <a:chOff x="7943613" y="2575161"/>
                <a:chExt cx="3575287" cy="1035942"/>
              </a:xfrm>
            </p:grpSpPr>
            <p:sp>
              <p:nvSpPr>
                <p:cNvPr id="152" name="ïṩļîḍe">
                  <a:extLst>
                    <a:ext uri="{FF2B5EF4-FFF2-40B4-BE49-F238E27FC236}">
                      <a16:creationId xmlns:a16="http://schemas.microsoft.com/office/drawing/2014/main" id="{959E666C-C196-4145-A8A3-B763BCA39908}"/>
                    </a:ext>
                  </a:extLst>
                </p:cNvPr>
                <p:cNvSpPr txBox="1"/>
                <p:nvPr/>
              </p:nvSpPr>
              <p:spPr>
                <a:xfrm flipH="1">
                  <a:off x="7943613" y="3082992"/>
                  <a:ext cx="3575286" cy="528111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20000"/>
                    </a:lnSpc>
                  </a:pPr>
                  <a:r>
                    <a:rPr lang="en-US" altLang="zh-CN" sz="1100" dirty="0"/>
                    <a:t>Copy paste fonts. Choose the only option to retain text……</a:t>
                  </a:r>
                </a:p>
              </p:txBody>
            </p:sp>
            <p:sp>
              <p:nvSpPr>
                <p:cNvPr id="153" name="îṩlíďe">
                  <a:extLst>
                    <a:ext uri="{FF2B5EF4-FFF2-40B4-BE49-F238E27FC236}">
                      <a16:creationId xmlns:a16="http://schemas.microsoft.com/office/drawing/2014/main" id="{791C83F7-B732-4747-A6B6-FA3E7E2944C5}"/>
                    </a:ext>
                  </a:extLst>
                </p:cNvPr>
                <p:cNvSpPr/>
                <p:nvPr/>
              </p:nvSpPr>
              <p:spPr>
                <a:xfrm flipH="1">
                  <a:off x="7943614" y="2575161"/>
                  <a:ext cx="3575286" cy="507831"/>
                </a:xfrm>
                <a:prstGeom prst="rect">
                  <a:avLst/>
                </a:prstGeom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 altLang="zh-CN" sz="2000" b="1" dirty="0"/>
                    <a:t>Text here</a:t>
                  </a:r>
                  <a:endParaRPr lang="zh-CN" altLang="en-US" sz="2000" b="1" dirty="0"/>
                </a:p>
              </p:txBody>
            </p:sp>
          </p:grpSp>
        </p:grpSp>
        <p:grpSp>
          <p:nvGrpSpPr>
            <p:cNvPr id="137" name="íşlîḑê">
              <a:extLst>
                <a:ext uri="{FF2B5EF4-FFF2-40B4-BE49-F238E27FC236}">
                  <a16:creationId xmlns:a16="http://schemas.microsoft.com/office/drawing/2014/main" id="{ECF0AAD4-3932-40B3-ABCA-D126F139862F}"/>
                </a:ext>
              </a:extLst>
            </p:cNvPr>
            <p:cNvGrpSpPr/>
            <p:nvPr/>
          </p:nvGrpSpPr>
          <p:grpSpPr>
            <a:xfrm>
              <a:off x="5085853" y="2976912"/>
              <a:ext cx="2125552" cy="3169888"/>
              <a:chOff x="5085853" y="2976912"/>
              <a:chExt cx="2125552" cy="3169888"/>
            </a:xfrm>
          </p:grpSpPr>
          <p:cxnSp>
            <p:nvCxnSpPr>
              <p:cNvPr id="141" name="直接连接符 140">
                <a:extLst>
                  <a:ext uri="{FF2B5EF4-FFF2-40B4-BE49-F238E27FC236}">
                    <a16:creationId xmlns:a16="http://schemas.microsoft.com/office/drawing/2014/main" id="{012AF7FC-53DB-4479-814C-9305587A67C0}"/>
                  </a:ext>
                </a:extLst>
              </p:cNvPr>
              <p:cNvCxnSpPr/>
              <p:nvPr/>
            </p:nvCxnSpPr>
            <p:spPr>
              <a:xfrm>
                <a:off x="6148629" y="4441243"/>
                <a:ext cx="0" cy="458638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  <a:prstDash val="solid"/>
                <a:headEnd type="oval" w="sm" len="sm"/>
                <a:tailEnd type="oval" w="sm" len="sm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42" name="îslïḍè">
                <a:extLst>
                  <a:ext uri="{FF2B5EF4-FFF2-40B4-BE49-F238E27FC236}">
                    <a16:creationId xmlns:a16="http://schemas.microsoft.com/office/drawing/2014/main" id="{73F38FEC-09AE-4B43-A7A9-3B2C882E3296}"/>
                  </a:ext>
                </a:extLst>
              </p:cNvPr>
              <p:cNvGrpSpPr/>
              <p:nvPr/>
            </p:nvGrpSpPr>
            <p:grpSpPr>
              <a:xfrm>
                <a:off x="5521952" y="2976912"/>
                <a:ext cx="1253355" cy="1253354"/>
                <a:chOff x="5521952" y="3096672"/>
                <a:chExt cx="1253355" cy="1253354"/>
              </a:xfrm>
            </p:grpSpPr>
            <p:sp>
              <p:nvSpPr>
                <p:cNvPr id="146" name="iṡlíde">
                  <a:extLst>
                    <a:ext uri="{FF2B5EF4-FFF2-40B4-BE49-F238E27FC236}">
                      <a16:creationId xmlns:a16="http://schemas.microsoft.com/office/drawing/2014/main" id="{07EAB116-B031-4F1E-BB2B-E82AE8262D73}"/>
                    </a:ext>
                  </a:extLst>
                </p:cNvPr>
                <p:cNvSpPr/>
                <p:nvPr/>
              </p:nvSpPr>
              <p:spPr>
                <a:xfrm>
                  <a:off x="5639222" y="3218214"/>
                  <a:ext cx="1018814" cy="1018814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p:spPr>
              <p:txBody>
                <a:bodyPr lIns="91426" tIns="45700" rIns="91426" bIns="45700" anchor="ctr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sz="3600">
                    <a:solidFill>
                      <a:schemeClr val="bg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47" name="íŝlïḑe">
                  <a:extLst>
                    <a:ext uri="{FF2B5EF4-FFF2-40B4-BE49-F238E27FC236}">
                      <a16:creationId xmlns:a16="http://schemas.microsoft.com/office/drawing/2014/main" id="{7914BF3E-E2FC-46E8-917F-2643E7D70EAB}"/>
                    </a:ext>
                  </a:extLst>
                </p:cNvPr>
                <p:cNvSpPr/>
                <p:nvPr/>
              </p:nvSpPr>
              <p:spPr>
                <a:xfrm>
                  <a:off x="5521952" y="3096672"/>
                  <a:ext cx="1253355" cy="1253354"/>
                </a:xfrm>
                <a:prstGeom prst="ellipse">
                  <a:avLst/>
                </a:prstGeom>
                <a:noFill/>
                <a:ln w="22225">
                  <a:solidFill>
                    <a:schemeClr val="bg1">
                      <a:lumMod val="75000"/>
                      <a:alpha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de-DE" sz="7196">
                    <a:solidFill>
                      <a:schemeClr val="bg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48" name="ïŝľïḍe">
                  <a:extLst>
                    <a:ext uri="{FF2B5EF4-FFF2-40B4-BE49-F238E27FC236}">
                      <a16:creationId xmlns:a16="http://schemas.microsoft.com/office/drawing/2014/main" id="{501DDE4F-F140-4EE0-A273-D110A54C9644}"/>
                    </a:ext>
                  </a:extLst>
                </p:cNvPr>
                <p:cNvSpPr/>
                <p:nvPr/>
              </p:nvSpPr>
              <p:spPr bwMode="auto">
                <a:xfrm>
                  <a:off x="5925010" y="3536105"/>
                  <a:ext cx="447238" cy="419753"/>
                </a:xfrm>
                <a:custGeom>
                  <a:avLst/>
                  <a:gdLst>
                    <a:gd name="T0" fmla="*/ 275 w 358"/>
                    <a:gd name="T1" fmla="*/ 0 h 336"/>
                    <a:gd name="T2" fmla="*/ 275 w 358"/>
                    <a:gd name="T3" fmla="*/ 77 h 336"/>
                    <a:gd name="T4" fmla="*/ 358 w 358"/>
                    <a:gd name="T5" fmla="*/ 77 h 336"/>
                    <a:gd name="T6" fmla="*/ 358 w 358"/>
                    <a:gd name="T7" fmla="*/ 336 h 336"/>
                    <a:gd name="T8" fmla="*/ 0 w 358"/>
                    <a:gd name="T9" fmla="*/ 336 h 336"/>
                    <a:gd name="T10" fmla="*/ 0 w 358"/>
                    <a:gd name="T11" fmla="*/ 77 h 336"/>
                    <a:gd name="T12" fmla="*/ 83 w 358"/>
                    <a:gd name="T13" fmla="*/ 77 h 336"/>
                    <a:gd name="T14" fmla="*/ 83 w 358"/>
                    <a:gd name="T15" fmla="*/ 0 h 336"/>
                    <a:gd name="T16" fmla="*/ 275 w 358"/>
                    <a:gd name="T17" fmla="*/ 0 h 336"/>
                    <a:gd name="T18" fmla="*/ 83 w 358"/>
                    <a:gd name="T19" fmla="*/ 155 h 336"/>
                    <a:gd name="T20" fmla="*/ 13 w 358"/>
                    <a:gd name="T21" fmla="*/ 155 h 336"/>
                    <a:gd name="T22" fmla="*/ 13 w 358"/>
                    <a:gd name="T23" fmla="*/ 323 h 336"/>
                    <a:gd name="T24" fmla="*/ 345 w 358"/>
                    <a:gd name="T25" fmla="*/ 323 h 336"/>
                    <a:gd name="T26" fmla="*/ 345 w 358"/>
                    <a:gd name="T27" fmla="*/ 155 h 336"/>
                    <a:gd name="T28" fmla="*/ 275 w 358"/>
                    <a:gd name="T29" fmla="*/ 155 h 336"/>
                    <a:gd name="T30" fmla="*/ 275 w 358"/>
                    <a:gd name="T31" fmla="*/ 187 h 336"/>
                    <a:gd name="T32" fmla="*/ 262 w 358"/>
                    <a:gd name="T33" fmla="*/ 187 h 336"/>
                    <a:gd name="T34" fmla="*/ 262 w 358"/>
                    <a:gd name="T35" fmla="*/ 155 h 336"/>
                    <a:gd name="T36" fmla="*/ 96 w 358"/>
                    <a:gd name="T37" fmla="*/ 155 h 336"/>
                    <a:gd name="T38" fmla="*/ 96 w 358"/>
                    <a:gd name="T39" fmla="*/ 187 h 336"/>
                    <a:gd name="T40" fmla="*/ 83 w 358"/>
                    <a:gd name="T41" fmla="*/ 187 h 336"/>
                    <a:gd name="T42" fmla="*/ 83 w 358"/>
                    <a:gd name="T43" fmla="*/ 155 h 336"/>
                    <a:gd name="T44" fmla="*/ 345 w 358"/>
                    <a:gd name="T45" fmla="*/ 90 h 336"/>
                    <a:gd name="T46" fmla="*/ 13 w 358"/>
                    <a:gd name="T47" fmla="*/ 90 h 336"/>
                    <a:gd name="T48" fmla="*/ 13 w 358"/>
                    <a:gd name="T49" fmla="*/ 142 h 336"/>
                    <a:gd name="T50" fmla="*/ 345 w 358"/>
                    <a:gd name="T51" fmla="*/ 142 h 336"/>
                    <a:gd name="T52" fmla="*/ 345 w 358"/>
                    <a:gd name="T53" fmla="*/ 90 h 336"/>
                    <a:gd name="T54" fmla="*/ 262 w 358"/>
                    <a:gd name="T55" fmla="*/ 12 h 336"/>
                    <a:gd name="T56" fmla="*/ 96 w 358"/>
                    <a:gd name="T57" fmla="*/ 12 h 336"/>
                    <a:gd name="T58" fmla="*/ 96 w 358"/>
                    <a:gd name="T59" fmla="*/ 77 h 336"/>
                    <a:gd name="T60" fmla="*/ 262 w 358"/>
                    <a:gd name="T61" fmla="*/ 77 h 336"/>
                    <a:gd name="T62" fmla="*/ 262 w 358"/>
                    <a:gd name="T63" fmla="*/ 12 h 3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358" h="336">
                      <a:moveTo>
                        <a:pt x="275" y="0"/>
                      </a:moveTo>
                      <a:lnTo>
                        <a:pt x="275" y="77"/>
                      </a:lnTo>
                      <a:lnTo>
                        <a:pt x="358" y="77"/>
                      </a:lnTo>
                      <a:lnTo>
                        <a:pt x="358" y="336"/>
                      </a:lnTo>
                      <a:lnTo>
                        <a:pt x="0" y="336"/>
                      </a:lnTo>
                      <a:lnTo>
                        <a:pt x="0" y="77"/>
                      </a:lnTo>
                      <a:lnTo>
                        <a:pt x="83" y="77"/>
                      </a:lnTo>
                      <a:lnTo>
                        <a:pt x="83" y="0"/>
                      </a:lnTo>
                      <a:lnTo>
                        <a:pt x="275" y="0"/>
                      </a:lnTo>
                      <a:close/>
                      <a:moveTo>
                        <a:pt x="83" y="155"/>
                      </a:moveTo>
                      <a:lnTo>
                        <a:pt x="13" y="155"/>
                      </a:lnTo>
                      <a:lnTo>
                        <a:pt x="13" y="323"/>
                      </a:lnTo>
                      <a:lnTo>
                        <a:pt x="345" y="323"/>
                      </a:lnTo>
                      <a:lnTo>
                        <a:pt x="345" y="155"/>
                      </a:lnTo>
                      <a:lnTo>
                        <a:pt x="275" y="155"/>
                      </a:lnTo>
                      <a:lnTo>
                        <a:pt x="275" y="187"/>
                      </a:lnTo>
                      <a:lnTo>
                        <a:pt x="262" y="187"/>
                      </a:lnTo>
                      <a:lnTo>
                        <a:pt x="262" y="155"/>
                      </a:lnTo>
                      <a:lnTo>
                        <a:pt x="96" y="155"/>
                      </a:lnTo>
                      <a:lnTo>
                        <a:pt x="96" y="187"/>
                      </a:lnTo>
                      <a:lnTo>
                        <a:pt x="83" y="187"/>
                      </a:lnTo>
                      <a:lnTo>
                        <a:pt x="83" y="155"/>
                      </a:lnTo>
                      <a:close/>
                      <a:moveTo>
                        <a:pt x="345" y="90"/>
                      </a:moveTo>
                      <a:lnTo>
                        <a:pt x="13" y="90"/>
                      </a:lnTo>
                      <a:lnTo>
                        <a:pt x="13" y="142"/>
                      </a:lnTo>
                      <a:lnTo>
                        <a:pt x="345" y="142"/>
                      </a:lnTo>
                      <a:lnTo>
                        <a:pt x="345" y="90"/>
                      </a:lnTo>
                      <a:close/>
                      <a:moveTo>
                        <a:pt x="262" y="12"/>
                      </a:moveTo>
                      <a:lnTo>
                        <a:pt x="96" y="12"/>
                      </a:lnTo>
                      <a:lnTo>
                        <a:pt x="96" y="77"/>
                      </a:lnTo>
                      <a:lnTo>
                        <a:pt x="262" y="77"/>
                      </a:lnTo>
                      <a:lnTo>
                        <a:pt x="262" y="12"/>
                      </a:lnTo>
                      <a:close/>
                    </a:path>
                  </a:pathLst>
                </a:cu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grpSp>
            <p:nvGrpSpPr>
              <p:cNvPr id="143" name="iS1îḓê">
                <a:extLst>
                  <a:ext uri="{FF2B5EF4-FFF2-40B4-BE49-F238E27FC236}">
                    <a16:creationId xmlns:a16="http://schemas.microsoft.com/office/drawing/2014/main" id="{77C0292A-DCC1-4F89-B66F-32056AE0AFF7}"/>
                  </a:ext>
                </a:extLst>
              </p:cNvPr>
              <p:cNvGrpSpPr/>
              <p:nvPr/>
            </p:nvGrpSpPr>
            <p:grpSpPr>
              <a:xfrm>
                <a:off x="5085853" y="5110858"/>
                <a:ext cx="2125552" cy="1035942"/>
                <a:chOff x="7943613" y="2575161"/>
                <a:chExt cx="3575287" cy="1035942"/>
              </a:xfrm>
            </p:grpSpPr>
            <p:sp>
              <p:nvSpPr>
                <p:cNvPr id="144" name="íşľïďè">
                  <a:extLst>
                    <a:ext uri="{FF2B5EF4-FFF2-40B4-BE49-F238E27FC236}">
                      <a16:creationId xmlns:a16="http://schemas.microsoft.com/office/drawing/2014/main" id="{CA1A1677-C3BA-432F-BE35-FBC5EE2B73F9}"/>
                    </a:ext>
                  </a:extLst>
                </p:cNvPr>
                <p:cNvSpPr txBox="1"/>
                <p:nvPr/>
              </p:nvSpPr>
              <p:spPr>
                <a:xfrm flipH="1">
                  <a:off x="7943613" y="3082992"/>
                  <a:ext cx="3575286" cy="528111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20000"/>
                    </a:lnSpc>
                  </a:pPr>
                  <a:r>
                    <a:rPr lang="en-US" altLang="zh-CN" sz="1100" dirty="0"/>
                    <a:t>Copy paste fonts. Choose the only option to retain text……</a:t>
                  </a:r>
                </a:p>
              </p:txBody>
            </p:sp>
            <p:sp>
              <p:nvSpPr>
                <p:cNvPr id="145" name="íšľiḓé">
                  <a:extLst>
                    <a:ext uri="{FF2B5EF4-FFF2-40B4-BE49-F238E27FC236}">
                      <a16:creationId xmlns:a16="http://schemas.microsoft.com/office/drawing/2014/main" id="{D41D107E-34AE-4E8B-B557-3B5F56A54A43}"/>
                    </a:ext>
                  </a:extLst>
                </p:cNvPr>
                <p:cNvSpPr/>
                <p:nvPr/>
              </p:nvSpPr>
              <p:spPr>
                <a:xfrm flipH="1">
                  <a:off x="7943614" y="2575161"/>
                  <a:ext cx="3575286" cy="507831"/>
                </a:xfrm>
                <a:prstGeom prst="rect">
                  <a:avLst/>
                </a:prstGeom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 altLang="zh-CN" sz="2000" b="1" dirty="0"/>
                    <a:t>Text here</a:t>
                  </a:r>
                  <a:endParaRPr lang="zh-CN" altLang="en-US" sz="2000" b="1" dirty="0"/>
                </a:p>
              </p:txBody>
            </p:sp>
          </p:grpSp>
        </p:grpSp>
        <p:grpSp>
          <p:nvGrpSpPr>
            <p:cNvPr id="138" name="i$ľíďê">
              <a:extLst>
                <a:ext uri="{FF2B5EF4-FFF2-40B4-BE49-F238E27FC236}">
                  <a16:creationId xmlns:a16="http://schemas.microsoft.com/office/drawing/2014/main" id="{ED64C87E-8FEB-40BD-BFD1-910380DEB57A}"/>
                </a:ext>
              </a:extLst>
            </p:cNvPr>
            <p:cNvGrpSpPr/>
            <p:nvPr/>
          </p:nvGrpSpPr>
          <p:grpSpPr>
            <a:xfrm>
              <a:off x="673100" y="1177098"/>
              <a:ext cx="4479925" cy="2084344"/>
              <a:chOff x="3661181" y="4062456"/>
              <a:chExt cx="4869638" cy="2084344"/>
            </a:xfrm>
          </p:grpSpPr>
          <p:sp>
            <p:nvSpPr>
              <p:cNvPr id="139" name="íśḷiḋé">
                <a:extLst>
                  <a:ext uri="{FF2B5EF4-FFF2-40B4-BE49-F238E27FC236}">
                    <a16:creationId xmlns:a16="http://schemas.microsoft.com/office/drawing/2014/main" id="{2383217E-16C0-490A-91FC-3BE1C6BB5CD8}"/>
                  </a:ext>
                </a:extLst>
              </p:cNvPr>
              <p:cNvSpPr txBox="1"/>
              <p:nvPr/>
            </p:nvSpPr>
            <p:spPr>
              <a:xfrm>
                <a:off x="3661182" y="4062456"/>
                <a:ext cx="4869637" cy="104217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buSzPct val="25000"/>
                </a:pPr>
                <a:r>
                  <a:rPr lang="en-US" sz="2800" b="1" dirty="0"/>
                  <a:t>Unified fonts make</a:t>
                </a:r>
              </a:p>
              <a:p>
                <a:pPr>
                  <a:buSzPct val="25000"/>
                </a:pPr>
                <a:r>
                  <a:rPr lang="en-US" sz="2800" b="1" dirty="0"/>
                  <a:t>reading more fluent.</a:t>
                </a:r>
              </a:p>
            </p:txBody>
          </p:sp>
          <p:sp>
            <p:nvSpPr>
              <p:cNvPr id="140" name="iSḷíďe">
                <a:extLst>
                  <a:ext uri="{FF2B5EF4-FFF2-40B4-BE49-F238E27FC236}">
                    <a16:creationId xmlns:a16="http://schemas.microsoft.com/office/drawing/2014/main" id="{60E7B3A5-46B6-4DBA-A5E4-858C46E75CB2}"/>
                  </a:ext>
                </a:extLst>
              </p:cNvPr>
              <p:cNvSpPr txBox="1"/>
              <p:nvPr/>
            </p:nvSpPr>
            <p:spPr>
              <a:xfrm>
                <a:off x="3661181" y="5104628"/>
                <a:ext cx="4869638" cy="104217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 dirty="0"/>
                  <a:t>Theme color makes PPT more convenient to change.</a:t>
                </a:r>
              </a:p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 dirty="0"/>
                  <a:t>Adjust the spacing to adapt to Chinese typesetting, use the reference line in PPT.</a:t>
                </a: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5812067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17FAF2-2CC5-4306-BBCB-D56DAD9E1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33D66EC-CF4E-4266-8B86-45881CF5F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247CD5B-D98C-446C-A5E8-8EC903E76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sp>
        <p:nvSpPr>
          <p:cNvPr id="5" name="ïšḷiďê">
            <a:extLst>
              <a:ext uri="{FF2B5EF4-FFF2-40B4-BE49-F238E27FC236}">
                <a16:creationId xmlns:a16="http://schemas.microsoft.com/office/drawing/2014/main" id="{DF2DA7AE-F8E0-417B-A80C-1BF6F81771B4}"/>
              </a:ext>
            </a:extLst>
          </p:cNvPr>
          <p:cNvSpPr/>
          <p:nvPr/>
        </p:nvSpPr>
        <p:spPr>
          <a:xfrm>
            <a:off x="719137" y="2787975"/>
            <a:ext cx="2153822" cy="37894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/>
              <a:t>6</a:t>
            </a:r>
            <a:r>
              <a:rPr lang="zh-CN" altLang="en-US" sz="1600"/>
              <a:t>月</a:t>
            </a:r>
          </a:p>
        </p:txBody>
      </p:sp>
      <p:sp>
        <p:nvSpPr>
          <p:cNvPr id="6" name="iṩḻîḓê">
            <a:extLst>
              <a:ext uri="{FF2B5EF4-FFF2-40B4-BE49-F238E27FC236}">
                <a16:creationId xmlns:a16="http://schemas.microsoft.com/office/drawing/2014/main" id="{31B89291-5B41-4550-A29F-B9DA4D552D65}"/>
              </a:ext>
            </a:extLst>
          </p:cNvPr>
          <p:cNvSpPr/>
          <p:nvPr/>
        </p:nvSpPr>
        <p:spPr>
          <a:xfrm>
            <a:off x="2872958" y="2787975"/>
            <a:ext cx="2153822" cy="37894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/>
              <a:t>7</a:t>
            </a:r>
            <a:r>
              <a:rPr lang="zh-CN" altLang="en-US" sz="1600"/>
              <a:t>月</a:t>
            </a:r>
          </a:p>
        </p:txBody>
      </p:sp>
      <p:sp>
        <p:nvSpPr>
          <p:cNvPr id="7" name="îṧľide">
            <a:extLst>
              <a:ext uri="{FF2B5EF4-FFF2-40B4-BE49-F238E27FC236}">
                <a16:creationId xmlns:a16="http://schemas.microsoft.com/office/drawing/2014/main" id="{9FD63B04-F722-4777-B9BC-52C935018397}"/>
              </a:ext>
            </a:extLst>
          </p:cNvPr>
          <p:cNvSpPr/>
          <p:nvPr/>
        </p:nvSpPr>
        <p:spPr>
          <a:xfrm>
            <a:off x="5011395" y="2787975"/>
            <a:ext cx="2153822" cy="37894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/>
              <a:t>8</a:t>
            </a:r>
            <a:r>
              <a:rPr lang="zh-CN" altLang="en-US" sz="1600"/>
              <a:t>月</a:t>
            </a:r>
          </a:p>
        </p:txBody>
      </p:sp>
      <p:sp>
        <p:nvSpPr>
          <p:cNvPr id="8" name="isļïdè">
            <a:extLst>
              <a:ext uri="{FF2B5EF4-FFF2-40B4-BE49-F238E27FC236}">
                <a16:creationId xmlns:a16="http://schemas.microsoft.com/office/drawing/2014/main" id="{720FBBC6-4698-4589-8541-91C5F9CEB84D}"/>
              </a:ext>
            </a:extLst>
          </p:cNvPr>
          <p:cNvSpPr/>
          <p:nvPr/>
        </p:nvSpPr>
        <p:spPr>
          <a:xfrm>
            <a:off x="7165216" y="2787975"/>
            <a:ext cx="2153822" cy="37894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/>
              <a:t>9</a:t>
            </a:r>
            <a:r>
              <a:rPr lang="zh-CN" altLang="en-US" sz="1600"/>
              <a:t>月</a:t>
            </a:r>
          </a:p>
        </p:txBody>
      </p:sp>
      <p:sp>
        <p:nvSpPr>
          <p:cNvPr id="9" name="ïṧḻïḍê">
            <a:extLst>
              <a:ext uri="{FF2B5EF4-FFF2-40B4-BE49-F238E27FC236}">
                <a16:creationId xmlns:a16="http://schemas.microsoft.com/office/drawing/2014/main" id="{E65A7E97-D955-4EA3-8865-0EB8D7BFC1D1}"/>
              </a:ext>
            </a:extLst>
          </p:cNvPr>
          <p:cNvSpPr/>
          <p:nvPr/>
        </p:nvSpPr>
        <p:spPr>
          <a:xfrm>
            <a:off x="9319038" y="2787975"/>
            <a:ext cx="2153822" cy="378941"/>
          </a:xfrm>
          <a:prstGeom prst="homePlat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/>
              <a:t>10</a:t>
            </a:r>
            <a:r>
              <a:rPr lang="zh-CN" altLang="en-US" sz="1600"/>
              <a:t>月</a:t>
            </a:r>
          </a:p>
        </p:txBody>
      </p:sp>
      <p:sp>
        <p:nvSpPr>
          <p:cNvPr id="10" name="îṡḷíḓê">
            <a:extLst>
              <a:ext uri="{FF2B5EF4-FFF2-40B4-BE49-F238E27FC236}">
                <a16:creationId xmlns:a16="http://schemas.microsoft.com/office/drawing/2014/main" id="{4DA79959-EC45-4B94-AA51-C1555F889BD6}"/>
              </a:ext>
            </a:extLst>
          </p:cNvPr>
          <p:cNvSpPr>
            <a:spLocks/>
          </p:cNvSpPr>
          <p:nvPr/>
        </p:nvSpPr>
        <p:spPr bwMode="gray">
          <a:xfrm>
            <a:off x="1176689" y="3107374"/>
            <a:ext cx="107691" cy="105026"/>
          </a:xfrm>
          <a:prstGeom prst="ellipse">
            <a:avLst/>
          </a:prstGeom>
          <a:solidFill>
            <a:schemeClr val="accent1"/>
          </a:solidFill>
          <a:ln w="1270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/>
            <a:endParaRPr/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F4838C3D-F72B-4EDE-9836-9CF58D13D7E2}"/>
              </a:ext>
            </a:extLst>
          </p:cNvPr>
          <p:cNvGrpSpPr/>
          <p:nvPr/>
        </p:nvGrpSpPr>
        <p:grpSpPr>
          <a:xfrm>
            <a:off x="7475831" y="3107374"/>
            <a:ext cx="107691" cy="1630385"/>
            <a:chOff x="7475831" y="3107374"/>
            <a:chExt cx="107691" cy="1630385"/>
          </a:xfrm>
        </p:grpSpPr>
        <p:sp>
          <p:nvSpPr>
            <p:cNvPr id="12" name="iṡ1íḋé">
              <a:extLst>
                <a:ext uri="{FF2B5EF4-FFF2-40B4-BE49-F238E27FC236}">
                  <a16:creationId xmlns:a16="http://schemas.microsoft.com/office/drawing/2014/main" id="{0850DC0B-5883-42DF-8419-134BBE21694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75831" y="3107374"/>
              <a:ext cx="107691" cy="105026"/>
            </a:xfrm>
            <a:prstGeom prst="ellipse">
              <a:avLst/>
            </a:prstGeom>
            <a:solidFill>
              <a:schemeClr val="accent3"/>
            </a:solidFill>
            <a:ln w="1270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ísļiḓe">
              <a:extLst>
                <a:ext uri="{FF2B5EF4-FFF2-40B4-BE49-F238E27FC236}">
                  <a16:creationId xmlns:a16="http://schemas.microsoft.com/office/drawing/2014/main" id="{4507152D-328E-49B2-8AB0-F2E94509888D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7529677" y="3173829"/>
              <a:ext cx="0" cy="1563930"/>
            </a:xfrm>
            <a:prstGeom prst="line">
              <a:avLst/>
            </a:prstGeom>
            <a:noFill/>
            <a:ln w="190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C03C4F5C-ADB9-468E-9357-7313B54A496F}"/>
              </a:ext>
            </a:extLst>
          </p:cNvPr>
          <p:cNvGrpSpPr/>
          <p:nvPr/>
        </p:nvGrpSpPr>
        <p:grpSpPr>
          <a:xfrm>
            <a:off x="3139807" y="3107374"/>
            <a:ext cx="107691" cy="1630385"/>
            <a:chOff x="4436327" y="3107374"/>
            <a:chExt cx="107691" cy="1630385"/>
          </a:xfrm>
        </p:grpSpPr>
        <p:sp>
          <p:nvSpPr>
            <p:cNvPr id="15" name="ïS1idè">
              <a:extLst>
                <a:ext uri="{FF2B5EF4-FFF2-40B4-BE49-F238E27FC236}">
                  <a16:creationId xmlns:a16="http://schemas.microsoft.com/office/drawing/2014/main" id="{DE6FE3B9-A645-4AAE-92E0-BDCCB1B4F396}"/>
                </a:ext>
              </a:extLst>
            </p:cNvPr>
            <p:cNvSpPr>
              <a:spLocks/>
            </p:cNvSpPr>
            <p:nvPr/>
          </p:nvSpPr>
          <p:spPr bwMode="gray">
            <a:xfrm>
              <a:off x="4436327" y="3107374"/>
              <a:ext cx="107691" cy="105026"/>
            </a:xfrm>
            <a:prstGeom prst="ellipse">
              <a:avLst/>
            </a:prstGeom>
            <a:solidFill>
              <a:schemeClr val="accent3"/>
            </a:solidFill>
            <a:ln w="1270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íšlíḋe">
              <a:extLst>
                <a:ext uri="{FF2B5EF4-FFF2-40B4-BE49-F238E27FC236}">
                  <a16:creationId xmlns:a16="http://schemas.microsoft.com/office/drawing/2014/main" id="{47096B1F-81B1-4654-A6F0-EA0B43A7D462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4490173" y="3173829"/>
              <a:ext cx="0" cy="1563930"/>
            </a:xfrm>
            <a:prstGeom prst="line">
              <a:avLst/>
            </a:prstGeom>
            <a:noFill/>
            <a:ln w="190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D8FE40D1-C93E-4897-ACBF-D2F3C9AD4288}"/>
              </a:ext>
            </a:extLst>
          </p:cNvPr>
          <p:cNvGrpSpPr/>
          <p:nvPr/>
        </p:nvGrpSpPr>
        <p:grpSpPr>
          <a:xfrm>
            <a:off x="5165102" y="3107374"/>
            <a:ext cx="107691" cy="324250"/>
            <a:chOff x="5165102" y="3107374"/>
            <a:chExt cx="107691" cy="324250"/>
          </a:xfrm>
        </p:grpSpPr>
        <p:sp>
          <p:nvSpPr>
            <p:cNvPr id="18" name="iṣľïḍè">
              <a:extLst>
                <a:ext uri="{FF2B5EF4-FFF2-40B4-BE49-F238E27FC236}">
                  <a16:creationId xmlns:a16="http://schemas.microsoft.com/office/drawing/2014/main" id="{28262DAA-F598-4D94-A8FE-14B957AD030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5102" y="3107374"/>
              <a:ext cx="107691" cy="105026"/>
            </a:xfrm>
            <a:prstGeom prst="ellipse">
              <a:avLst/>
            </a:prstGeom>
            <a:solidFill>
              <a:schemeClr val="accent1"/>
            </a:solidFill>
            <a:ln w="1270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îṣlîḓé">
              <a:extLst>
                <a:ext uri="{FF2B5EF4-FFF2-40B4-BE49-F238E27FC236}">
                  <a16:creationId xmlns:a16="http://schemas.microsoft.com/office/drawing/2014/main" id="{4FFAFD86-2BB5-4479-A312-8C10D757ABD0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5218948" y="3196922"/>
              <a:ext cx="0" cy="234702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20" name="ïṣ1idé">
            <a:extLst>
              <a:ext uri="{FF2B5EF4-FFF2-40B4-BE49-F238E27FC236}">
                <a16:creationId xmlns:a16="http://schemas.microsoft.com/office/drawing/2014/main" id="{D3531B91-8563-4D39-B7C3-E68926961FA5}"/>
              </a:ext>
            </a:extLst>
          </p:cNvPr>
          <p:cNvSpPr>
            <a:spLocks/>
          </p:cNvSpPr>
          <p:nvPr/>
        </p:nvSpPr>
        <p:spPr bwMode="gray">
          <a:xfrm flipV="1">
            <a:off x="1230534" y="3196922"/>
            <a:ext cx="0" cy="234702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9" name="iśḻiḋe">
            <a:extLst>
              <a:ext uri="{FF2B5EF4-FFF2-40B4-BE49-F238E27FC236}">
                <a16:creationId xmlns:a16="http://schemas.microsoft.com/office/drawing/2014/main" id="{C98AC492-06B3-424F-8D10-256A5D98DDD7}"/>
              </a:ext>
            </a:extLst>
          </p:cNvPr>
          <p:cNvSpPr/>
          <p:nvPr/>
        </p:nvSpPr>
        <p:spPr>
          <a:xfrm>
            <a:off x="1555818" y="1975329"/>
            <a:ext cx="480460" cy="523875"/>
          </a:xfrm>
          <a:custGeom>
            <a:avLst/>
            <a:gdLst>
              <a:gd name="T0" fmla="*/ 168 w 208"/>
              <a:gd name="T1" fmla="*/ 0 h 224"/>
              <a:gd name="T2" fmla="*/ 168 w 208"/>
              <a:gd name="T3" fmla="*/ 68 h 224"/>
              <a:gd name="T4" fmla="*/ 108 w 208"/>
              <a:gd name="T5" fmla="*/ 68 h 224"/>
              <a:gd name="T6" fmla="*/ 108 w 208"/>
              <a:gd name="T7" fmla="*/ 124 h 224"/>
              <a:gd name="T8" fmla="*/ 192 w 208"/>
              <a:gd name="T9" fmla="*/ 124 h 224"/>
              <a:gd name="T10" fmla="*/ 192 w 208"/>
              <a:gd name="T11" fmla="*/ 184 h 224"/>
              <a:gd name="T12" fmla="*/ 208 w 208"/>
              <a:gd name="T13" fmla="*/ 184 h 224"/>
              <a:gd name="T14" fmla="*/ 208 w 208"/>
              <a:gd name="T15" fmla="*/ 224 h 224"/>
              <a:gd name="T16" fmla="*/ 168 w 208"/>
              <a:gd name="T17" fmla="*/ 224 h 224"/>
              <a:gd name="T18" fmla="*/ 168 w 208"/>
              <a:gd name="T19" fmla="*/ 184 h 224"/>
              <a:gd name="T20" fmla="*/ 184 w 208"/>
              <a:gd name="T21" fmla="*/ 184 h 224"/>
              <a:gd name="T22" fmla="*/ 184 w 208"/>
              <a:gd name="T23" fmla="*/ 132 h 224"/>
              <a:gd name="T24" fmla="*/ 108 w 208"/>
              <a:gd name="T25" fmla="*/ 132 h 224"/>
              <a:gd name="T26" fmla="*/ 108 w 208"/>
              <a:gd name="T27" fmla="*/ 184 h 224"/>
              <a:gd name="T28" fmla="*/ 124 w 208"/>
              <a:gd name="T29" fmla="*/ 184 h 224"/>
              <a:gd name="T30" fmla="*/ 124 w 208"/>
              <a:gd name="T31" fmla="*/ 224 h 224"/>
              <a:gd name="T32" fmla="*/ 84 w 208"/>
              <a:gd name="T33" fmla="*/ 224 h 224"/>
              <a:gd name="T34" fmla="*/ 84 w 208"/>
              <a:gd name="T35" fmla="*/ 184 h 224"/>
              <a:gd name="T36" fmla="*/ 100 w 208"/>
              <a:gd name="T37" fmla="*/ 184 h 224"/>
              <a:gd name="T38" fmla="*/ 100 w 208"/>
              <a:gd name="T39" fmla="*/ 132 h 224"/>
              <a:gd name="T40" fmla="*/ 24 w 208"/>
              <a:gd name="T41" fmla="*/ 132 h 224"/>
              <a:gd name="T42" fmla="*/ 24 w 208"/>
              <a:gd name="T43" fmla="*/ 184 h 224"/>
              <a:gd name="T44" fmla="*/ 40 w 208"/>
              <a:gd name="T45" fmla="*/ 184 h 224"/>
              <a:gd name="T46" fmla="*/ 40 w 208"/>
              <a:gd name="T47" fmla="*/ 224 h 224"/>
              <a:gd name="T48" fmla="*/ 0 w 208"/>
              <a:gd name="T49" fmla="*/ 224 h 224"/>
              <a:gd name="T50" fmla="*/ 0 w 208"/>
              <a:gd name="T51" fmla="*/ 184 h 224"/>
              <a:gd name="T52" fmla="*/ 16 w 208"/>
              <a:gd name="T53" fmla="*/ 184 h 224"/>
              <a:gd name="T54" fmla="*/ 16 w 208"/>
              <a:gd name="T55" fmla="*/ 124 h 224"/>
              <a:gd name="T56" fmla="*/ 100 w 208"/>
              <a:gd name="T57" fmla="*/ 124 h 224"/>
              <a:gd name="T58" fmla="*/ 100 w 208"/>
              <a:gd name="T59" fmla="*/ 68 h 224"/>
              <a:gd name="T60" fmla="*/ 40 w 208"/>
              <a:gd name="T61" fmla="*/ 68 h 224"/>
              <a:gd name="T62" fmla="*/ 40 w 208"/>
              <a:gd name="T63" fmla="*/ 0 h 224"/>
              <a:gd name="T64" fmla="*/ 168 w 208"/>
              <a:gd name="T65" fmla="*/ 0 h 224"/>
              <a:gd name="T66" fmla="*/ 32 w 208"/>
              <a:gd name="T67" fmla="*/ 192 h 224"/>
              <a:gd name="T68" fmla="*/ 8 w 208"/>
              <a:gd name="T69" fmla="*/ 192 h 224"/>
              <a:gd name="T70" fmla="*/ 8 w 208"/>
              <a:gd name="T71" fmla="*/ 216 h 224"/>
              <a:gd name="T72" fmla="*/ 32 w 208"/>
              <a:gd name="T73" fmla="*/ 216 h 224"/>
              <a:gd name="T74" fmla="*/ 32 w 208"/>
              <a:gd name="T75" fmla="*/ 192 h 224"/>
              <a:gd name="T76" fmla="*/ 116 w 208"/>
              <a:gd name="T77" fmla="*/ 192 h 224"/>
              <a:gd name="T78" fmla="*/ 92 w 208"/>
              <a:gd name="T79" fmla="*/ 192 h 224"/>
              <a:gd name="T80" fmla="*/ 92 w 208"/>
              <a:gd name="T81" fmla="*/ 216 h 224"/>
              <a:gd name="T82" fmla="*/ 116 w 208"/>
              <a:gd name="T83" fmla="*/ 216 h 224"/>
              <a:gd name="T84" fmla="*/ 116 w 208"/>
              <a:gd name="T85" fmla="*/ 192 h 224"/>
              <a:gd name="T86" fmla="*/ 200 w 208"/>
              <a:gd name="T87" fmla="*/ 192 h 224"/>
              <a:gd name="T88" fmla="*/ 176 w 208"/>
              <a:gd name="T89" fmla="*/ 192 h 224"/>
              <a:gd name="T90" fmla="*/ 176 w 208"/>
              <a:gd name="T91" fmla="*/ 216 h 224"/>
              <a:gd name="T92" fmla="*/ 200 w 208"/>
              <a:gd name="T93" fmla="*/ 216 h 224"/>
              <a:gd name="T94" fmla="*/ 200 w 208"/>
              <a:gd name="T95" fmla="*/ 192 h 224"/>
              <a:gd name="T96" fmla="*/ 160 w 208"/>
              <a:gd name="T97" fmla="*/ 8 h 224"/>
              <a:gd name="T98" fmla="*/ 48 w 208"/>
              <a:gd name="T99" fmla="*/ 8 h 224"/>
              <a:gd name="T100" fmla="*/ 48 w 208"/>
              <a:gd name="T101" fmla="*/ 60 h 224"/>
              <a:gd name="T102" fmla="*/ 160 w 208"/>
              <a:gd name="T103" fmla="*/ 60 h 224"/>
              <a:gd name="T104" fmla="*/ 160 w 208"/>
              <a:gd name="T105" fmla="*/ 8 h 224"/>
              <a:gd name="T106" fmla="*/ 66 w 208"/>
              <a:gd name="T107" fmla="*/ 36 h 224"/>
              <a:gd name="T108" fmla="*/ 72 w 208"/>
              <a:gd name="T109" fmla="*/ 42 h 224"/>
              <a:gd name="T110" fmla="*/ 66 w 208"/>
              <a:gd name="T111" fmla="*/ 48 h 224"/>
              <a:gd name="T112" fmla="*/ 60 w 208"/>
              <a:gd name="T113" fmla="*/ 42 h 224"/>
              <a:gd name="T114" fmla="*/ 66 w 208"/>
              <a:gd name="T115" fmla="*/ 36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08" h="224">
                <a:moveTo>
                  <a:pt x="168" y="0"/>
                </a:moveTo>
                <a:cubicBezTo>
                  <a:pt x="168" y="68"/>
                  <a:pt x="168" y="68"/>
                  <a:pt x="168" y="68"/>
                </a:cubicBezTo>
                <a:cubicBezTo>
                  <a:pt x="108" y="68"/>
                  <a:pt x="108" y="68"/>
                  <a:pt x="108" y="68"/>
                </a:cubicBezTo>
                <a:cubicBezTo>
                  <a:pt x="108" y="124"/>
                  <a:pt x="108" y="124"/>
                  <a:pt x="108" y="124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2" y="184"/>
                  <a:pt x="192" y="184"/>
                  <a:pt x="192" y="184"/>
                </a:cubicBezTo>
                <a:cubicBezTo>
                  <a:pt x="208" y="184"/>
                  <a:pt x="208" y="184"/>
                  <a:pt x="208" y="184"/>
                </a:cubicBezTo>
                <a:cubicBezTo>
                  <a:pt x="208" y="224"/>
                  <a:pt x="208" y="224"/>
                  <a:pt x="208" y="224"/>
                </a:cubicBezTo>
                <a:cubicBezTo>
                  <a:pt x="168" y="224"/>
                  <a:pt x="168" y="224"/>
                  <a:pt x="168" y="224"/>
                </a:cubicBezTo>
                <a:cubicBezTo>
                  <a:pt x="168" y="184"/>
                  <a:pt x="168" y="184"/>
                  <a:pt x="168" y="184"/>
                </a:cubicBezTo>
                <a:cubicBezTo>
                  <a:pt x="184" y="184"/>
                  <a:pt x="184" y="184"/>
                  <a:pt x="184" y="184"/>
                </a:cubicBezTo>
                <a:cubicBezTo>
                  <a:pt x="184" y="132"/>
                  <a:pt x="184" y="132"/>
                  <a:pt x="184" y="132"/>
                </a:cubicBezTo>
                <a:cubicBezTo>
                  <a:pt x="108" y="132"/>
                  <a:pt x="108" y="132"/>
                  <a:pt x="108" y="132"/>
                </a:cubicBezTo>
                <a:cubicBezTo>
                  <a:pt x="108" y="184"/>
                  <a:pt x="108" y="184"/>
                  <a:pt x="108" y="184"/>
                </a:cubicBezTo>
                <a:cubicBezTo>
                  <a:pt x="124" y="184"/>
                  <a:pt x="124" y="184"/>
                  <a:pt x="124" y="184"/>
                </a:cubicBezTo>
                <a:cubicBezTo>
                  <a:pt x="124" y="224"/>
                  <a:pt x="124" y="224"/>
                  <a:pt x="124" y="224"/>
                </a:cubicBezTo>
                <a:cubicBezTo>
                  <a:pt x="84" y="224"/>
                  <a:pt x="84" y="224"/>
                  <a:pt x="84" y="224"/>
                </a:cubicBezTo>
                <a:cubicBezTo>
                  <a:pt x="84" y="184"/>
                  <a:pt x="84" y="184"/>
                  <a:pt x="84" y="184"/>
                </a:cubicBezTo>
                <a:cubicBezTo>
                  <a:pt x="100" y="184"/>
                  <a:pt x="100" y="184"/>
                  <a:pt x="100" y="184"/>
                </a:cubicBezTo>
                <a:cubicBezTo>
                  <a:pt x="100" y="132"/>
                  <a:pt x="100" y="132"/>
                  <a:pt x="100" y="132"/>
                </a:cubicBezTo>
                <a:cubicBezTo>
                  <a:pt x="24" y="132"/>
                  <a:pt x="24" y="132"/>
                  <a:pt x="24" y="132"/>
                </a:cubicBezTo>
                <a:cubicBezTo>
                  <a:pt x="24" y="184"/>
                  <a:pt x="24" y="184"/>
                  <a:pt x="24" y="184"/>
                </a:cubicBezTo>
                <a:cubicBezTo>
                  <a:pt x="40" y="184"/>
                  <a:pt x="40" y="184"/>
                  <a:pt x="40" y="184"/>
                </a:cubicBezTo>
                <a:cubicBezTo>
                  <a:pt x="40" y="224"/>
                  <a:pt x="40" y="224"/>
                  <a:pt x="40" y="224"/>
                </a:cubicBezTo>
                <a:cubicBezTo>
                  <a:pt x="0" y="224"/>
                  <a:pt x="0" y="224"/>
                  <a:pt x="0" y="224"/>
                </a:cubicBezTo>
                <a:cubicBezTo>
                  <a:pt x="0" y="184"/>
                  <a:pt x="0" y="184"/>
                  <a:pt x="0" y="184"/>
                </a:cubicBezTo>
                <a:cubicBezTo>
                  <a:pt x="16" y="184"/>
                  <a:pt x="16" y="184"/>
                  <a:pt x="16" y="184"/>
                </a:cubicBezTo>
                <a:cubicBezTo>
                  <a:pt x="16" y="124"/>
                  <a:pt x="16" y="124"/>
                  <a:pt x="16" y="124"/>
                </a:cubicBezTo>
                <a:cubicBezTo>
                  <a:pt x="100" y="124"/>
                  <a:pt x="100" y="124"/>
                  <a:pt x="100" y="124"/>
                </a:cubicBezTo>
                <a:cubicBezTo>
                  <a:pt x="100" y="68"/>
                  <a:pt x="100" y="68"/>
                  <a:pt x="100" y="68"/>
                </a:cubicBezTo>
                <a:cubicBezTo>
                  <a:pt x="40" y="68"/>
                  <a:pt x="40" y="68"/>
                  <a:pt x="40" y="68"/>
                </a:cubicBezTo>
                <a:cubicBezTo>
                  <a:pt x="40" y="0"/>
                  <a:pt x="40" y="0"/>
                  <a:pt x="40" y="0"/>
                </a:cubicBezTo>
                <a:lnTo>
                  <a:pt x="168" y="0"/>
                </a:lnTo>
                <a:close/>
                <a:moveTo>
                  <a:pt x="32" y="192"/>
                </a:moveTo>
                <a:cubicBezTo>
                  <a:pt x="8" y="192"/>
                  <a:pt x="8" y="192"/>
                  <a:pt x="8" y="192"/>
                </a:cubicBezTo>
                <a:cubicBezTo>
                  <a:pt x="8" y="216"/>
                  <a:pt x="8" y="216"/>
                  <a:pt x="8" y="216"/>
                </a:cubicBezTo>
                <a:cubicBezTo>
                  <a:pt x="32" y="216"/>
                  <a:pt x="32" y="216"/>
                  <a:pt x="32" y="216"/>
                </a:cubicBezTo>
                <a:lnTo>
                  <a:pt x="32" y="192"/>
                </a:lnTo>
                <a:close/>
                <a:moveTo>
                  <a:pt x="116" y="192"/>
                </a:moveTo>
                <a:cubicBezTo>
                  <a:pt x="92" y="192"/>
                  <a:pt x="92" y="192"/>
                  <a:pt x="92" y="192"/>
                </a:cubicBezTo>
                <a:cubicBezTo>
                  <a:pt x="92" y="216"/>
                  <a:pt x="92" y="216"/>
                  <a:pt x="92" y="216"/>
                </a:cubicBezTo>
                <a:cubicBezTo>
                  <a:pt x="116" y="216"/>
                  <a:pt x="116" y="216"/>
                  <a:pt x="116" y="216"/>
                </a:cubicBezTo>
                <a:lnTo>
                  <a:pt x="116" y="192"/>
                </a:lnTo>
                <a:close/>
                <a:moveTo>
                  <a:pt x="200" y="192"/>
                </a:moveTo>
                <a:cubicBezTo>
                  <a:pt x="176" y="192"/>
                  <a:pt x="176" y="192"/>
                  <a:pt x="176" y="192"/>
                </a:cubicBezTo>
                <a:cubicBezTo>
                  <a:pt x="176" y="216"/>
                  <a:pt x="176" y="216"/>
                  <a:pt x="176" y="216"/>
                </a:cubicBezTo>
                <a:cubicBezTo>
                  <a:pt x="200" y="216"/>
                  <a:pt x="200" y="216"/>
                  <a:pt x="200" y="216"/>
                </a:cubicBezTo>
                <a:lnTo>
                  <a:pt x="200" y="192"/>
                </a:lnTo>
                <a:close/>
                <a:moveTo>
                  <a:pt x="160" y="8"/>
                </a:moveTo>
                <a:cubicBezTo>
                  <a:pt x="48" y="8"/>
                  <a:pt x="48" y="8"/>
                  <a:pt x="48" y="8"/>
                </a:cubicBezTo>
                <a:cubicBezTo>
                  <a:pt x="48" y="60"/>
                  <a:pt x="48" y="60"/>
                  <a:pt x="48" y="60"/>
                </a:cubicBezTo>
                <a:cubicBezTo>
                  <a:pt x="160" y="60"/>
                  <a:pt x="160" y="60"/>
                  <a:pt x="160" y="60"/>
                </a:cubicBezTo>
                <a:lnTo>
                  <a:pt x="160" y="8"/>
                </a:lnTo>
                <a:close/>
                <a:moveTo>
                  <a:pt x="66" y="36"/>
                </a:moveTo>
                <a:cubicBezTo>
                  <a:pt x="69" y="36"/>
                  <a:pt x="72" y="39"/>
                  <a:pt x="72" y="42"/>
                </a:cubicBezTo>
                <a:cubicBezTo>
                  <a:pt x="72" y="45"/>
                  <a:pt x="69" y="48"/>
                  <a:pt x="66" y="48"/>
                </a:cubicBezTo>
                <a:cubicBezTo>
                  <a:pt x="63" y="48"/>
                  <a:pt x="60" y="45"/>
                  <a:pt x="60" y="42"/>
                </a:cubicBezTo>
                <a:cubicBezTo>
                  <a:pt x="60" y="39"/>
                  <a:pt x="63" y="36"/>
                  <a:pt x="66" y="36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44" name="ïśļïdè">
            <a:extLst>
              <a:ext uri="{FF2B5EF4-FFF2-40B4-BE49-F238E27FC236}">
                <a16:creationId xmlns:a16="http://schemas.microsoft.com/office/drawing/2014/main" id="{96105B18-AE1F-4DE1-A9E5-993F5997A545}"/>
              </a:ext>
            </a:extLst>
          </p:cNvPr>
          <p:cNvSpPr/>
          <p:nvPr/>
        </p:nvSpPr>
        <p:spPr>
          <a:xfrm>
            <a:off x="3687931" y="2038253"/>
            <a:ext cx="523875" cy="398027"/>
          </a:xfrm>
          <a:custGeom>
            <a:avLst/>
            <a:gdLst>
              <a:gd name="T0" fmla="*/ 224 w 224"/>
              <a:gd name="T1" fmla="*/ 0 h 168"/>
              <a:gd name="T2" fmla="*/ 224 w 224"/>
              <a:gd name="T3" fmla="*/ 168 h 168"/>
              <a:gd name="T4" fmla="*/ 0 w 224"/>
              <a:gd name="T5" fmla="*/ 168 h 168"/>
              <a:gd name="T6" fmla="*/ 0 w 224"/>
              <a:gd name="T7" fmla="*/ 0 h 168"/>
              <a:gd name="T8" fmla="*/ 224 w 224"/>
              <a:gd name="T9" fmla="*/ 0 h 168"/>
              <a:gd name="T10" fmla="*/ 157 w 224"/>
              <a:gd name="T11" fmla="*/ 64 h 168"/>
              <a:gd name="T12" fmla="*/ 104 w 224"/>
              <a:gd name="T13" fmla="*/ 134 h 168"/>
              <a:gd name="T14" fmla="*/ 59 w 224"/>
              <a:gd name="T15" fmla="*/ 90 h 168"/>
              <a:gd name="T16" fmla="*/ 8 w 224"/>
              <a:gd name="T17" fmla="*/ 149 h 168"/>
              <a:gd name="T18" fmla="*/ 8 w 224"/>
              <a:gd name="T19" fmla="*/ 160 h 168"/>
              <a:gd name="T20" fmla="*/ 216 w 224"/>
              <a:gd name="T21" fmla="*/ 160 h 168"/>
              <a:gd name="T22" fmla="*/ 216 w 224"/>
              <a:gd name="T23" fmla="*/ 142 h 168"/>
              <a:gd name="T24" fmla="*/ 157 w 224"/>
              <a:gd name="T25" fmla="*/ 64 h 168"/>
              <a:gd name="T26" fmla="*/ 216 w 224"/>
              <a:gd name="T27" fmla="*/ 8 h 168"/>
              <a:gd name="T28" fmla="*/ 8 w 224"/>
              <a:gd name="T29" fmla="*/ 8 h 168"/>
              <a:gd name="T30" fmla="*/ 8 w 224"/>
              <a:gd name="T31" fmla="*/ 137 h 168"/>
              <a:gd name="T32" fmla="*/ 58 w 224"/>
              <a:gd name="T33" fmla="*/ 78 h 168"/>
              <a:gd name="T34" fmla="*/ 103 w 224"/>
              <a:gd name="T35" fmla="*/ 122 h 168"/>
              <a:gd name="T36" fmla="*/ 158 w 224"/>
              <a:gd name="T37" fmla="*/ 51 h 168"/>
              <a:gd name="T38" fmla="*/ 216 w 224"/>
              <a:gd name="T39" fmla="*/ 129 h 168"/>
              <a:gd name="T40" fmla="*/ 216 w 224"/>
              <a:gd name="T41" fmla="*/ 8 h 168"/>
              <a:gd name="T42" fmla="*/ 40 w 224"/>
              <a:gd name="T43" fmla="*/ 20 h 168"/>
              <a:gd name="T44" fmla="*/ 60 w 224"/>
              <a:gd name="T45" fmla="*/ 40 h 168"/>
              <a:gd name="T46" fmla="*/ 40 w 224"/>
              <a:gd name="T47" fmla="*/ 60 h 168"/>
              <a:gd name="T48" fmla="*/ 20 w 224"/>
              <a:gd name="T49" fmla="*/ 40 h 168"/>
              <a:gd name="T50" fmla="*/ 40 w 224"/>
              <a:gd name="T51" fmla="*/ 20 h 168"/>
              <a:gd name="T52" fmla="*/ 40 w 224"/>
              <a:gd name="T53" fmla="*/ 28 h 168"/>
              <a:gd name="T54" fmla="*/ 28 w 224"/>
              <a:gd name="T55" fmla="*/ 40 h 168"/>
              <a:gd name="T56" fmla="*/ 40 w 224"/>
              <a:gd name="T57" fmla="*/ 52 h 168"/>
              <a:gd name="T58" fmla="*/ 52 w 224"/>
              <a:gd name="T59" fmla="*/ 40 h 168"/>
              <a:gd name="T60" fmla="*/ 40 w 224"/>
              <a:gd name="T61" fmla="*/ 28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224" h="168">
                <a:moveTo>
                  <a:pt x="224" y="0"/>
                </a:moveTo>
                <a:cubicBezTo>
                  <a:pt x="224" y="168"/>
                  <a:pt x="224" y="168"/>
                  <a:pt x="224" y="168"/>
                </a:cubicBezTo>
                <a:cubicBezTo>
                  <a:pt x="0" y="168"/>
                  <a:pt x="0" y="168"/>
                  <a:pt x="0" y="168"/>
                </a:cubicBezTo>
                <a:cubicBezTo>
                  <a:pt x="0" y="0"/>
                  <a:pt x="0" y="0"/>
                  <a:pt x="0" y="0"/>
                </a:cubicBezTo>
                <a:lnTo>
                  <a:pt x="224" y="0"/>
                </a:lnTo>
                <a:close/>
                <a:moveTo>
                  <a:pt x="157" y="64"/>
                </a:moveTo>
                <a:cubicBezTo>
                  <a:pt x="104" y="134"/>
                  <a:pt x="104" y="134"/>
                  <a:pt x="104" y="134"/>
                </a:cubicBezTo>
                <a:cubicBezTo>
                  <a:pt x="59" y="90"/>
                  <a:pt x="59" y="90"/>
                  <a:pt x="59" y="90"/>
                </a:cubicBezTo>
                <a:cubicBezTo>
                  <a:pt x="8" y="149"/>
                  <a:pt x="8" y="149"/>
                  <a:pt x="8" y="149"/>
                </a:cubicBezTo>
                <a:cubicBezTo>
                  <a:pt x="8" y="160"/>
                  <a:pt x="8" y="160"/>
                  <a:pt x="8" y="160"/>
                </a:cubicBezTo>
                <a:cubicBezTo>
                  <a:pt x="216" y="160"/>
                  <a:pt x="216" y="160"/>
                  <a:pt x="216" y="160"/>
                </a:cubicBezTo>
                <a:cubicBezTo>
                  <a:pt x="216" y="142"/>
                  <a:pt x="216" y="142"/>
                  <a:pt x="216" y="142"/>
                </a:cubicBezTo>
                <a:lnTo>
                  <a:pt x="157" y="64"/>
                </a:lnTo>
                <a:close/>
                <a:moveTo>
                  <a:pt x="216" y="8"/>
                </a:moveTo>
                <a:cubicBezTo>
                  <a:pt x="8" y="8"/>
                  <a:pt x="8" y="8"/>
                  <a:pt x="8" y="8"/>
                </a:cubicBezTo>
                <a:cubicBezTo>
                  <a:pt x="8" y="137"/>
                  <a:pt x="8" y="137"/>
                  <a:pt x="8" y="137"/>
                </a:cubicBezTo>
                <a:cubicBezTo>
                  <a:pt x="58" y="78"/>
                  <a:pt x="58" y="78"/>
                  <a:pt x="58" y="78"/>
                </a:cubicBezTo>
                <a:cubicBezTo>
                  <a:pt x="103" y="122"/>
                  <a:pt x="103" y="122"/>
                  <a:pt x="103" y="122"/>
                </a:cubicBezTo>
                <a:cubicBezTo>
                  <a:pt x="158" y="51"/>
                  <a:pt x="158" y="51"/>
                  <a:pt x="158" y="51"/>
                </a:cubicBezTo>
                <a:cubicBezTo>
                  <a:pt x="216" y="129"/>
                  <a:pt x="216" y="129"/>
                  <a:pt x="216" y="129"/>
                </a:cubicBezTo>
                <a:lnTo>
                  <a:pt x="216" y="8"/>
                </a:lnTo>
                <a:close/>
                <a:moveTo>
                  <a:pt x="40" y="20"/>
                </a:moveTo>
                <a:cubicBezTo>
                  <a:pt x="51" y="20"/>
                  <a:pt x="60" y="29"/>
                  <a:pt x="60" y="40"/>
                </a:cubicBezTo>
                <a:cubicBezTo>
                  <a:pt x="60" y="51"/>
                  <a:pt x="51" y="60"/>
                  <a:pt x="40" y="60"/>
                </a:cubicBezTo>
                <a:cubicBezTo>
                  <a:pt x="29" y="60"/>
                  <a:pt x="20" y="51"/>
                  <a:pt x="20" y="40"/>
                </a:cubicBezTo>
                <a:cubicBezTo>
                  <a:pt x="20" y="29"/>
                  <a:pt x="29" y="20"/>
                  <a:pt x="40" y="20"/>
                </a:cubicBezTo>
                <a:close/>
                <a:moveTo>
                  <a:pt x="40" y="28"/>
                </a:moveTo>
                <a:cubicBezTo>
                  <a:pt x="33" y="28"/>
                  <a:pt x="28" y="33"/>
                  <a:pt x="28" y="40"/>
                </a:cubicBezTo>
                <a:cubicBezTo>
                  <a:pt x="28" y="47"/>
                  <a:pt x="33" y="52"/>
                  <a:pt x="40" y="52"/>
                </a:cubicBezTo>
                <a:cubicBezTo>
                  <a:pt x="47" y="52"/>
                  <a:pt x="52" y="47"/>
                  <a:pt x="52" y="40"/>
                </a:cubicBezTo>
                <a:cubicBezTo>
                  <a:pt x="52" y="33"/>
                  <a:pt x="47" y="28"/>
                  <a:pt x="40" y="28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48" name="îSḷídé">
            <a:extLst>
              <a:ext uri="{FF2B5EF4-FFF2-40B4-BE49-F238E27FC236}">
                <a16:creationId xmlns:a16="http://schemas.microsoft.com/office/drawing/2014/main" id="{E142BE92-0B8F-4637-8F49-7445E42B27CA}"/>
              </a:ext>
            </a:extLst>
          </p:cNvPr>
          <p:cNvSpPr/>
          <p:nvPr/>
        </p:nvSpPr>
        <p:spPr>
          <a:xfrm>
            <a:off x="5863460" y="1975329"/>
            <a:ext cx="480460" cy="523875"/>
          </a:xfrm>
          <a:custGeom>
            <a:avLst/>
            <a:gdLst>
              <a:gd name="T0" fmla="*/ 156 w 208"/>
              <a:gd name="T1" fmla="*/ 0 h 224"/>
              <a:gd name="T2" fmla="*/ 156 w 208"/>
              <a:gd name="T3" fmla="*/ 8 h 224"/>
              <a:gd name="T4" fmla="*/ 144 w 208"/>
              <a:gd name="T5" fmla="*/ 8 h 224"/>
              <a:gd name="T6" fmla="*/ 144 w 208"/>
              <a:gd name="T7" fmla="*/ 59 h 224"/>
              <a:gd name="T8" fmla="*/ 208 w 208"/>
              <a:gd name="T9" fmla="*/ 204 h 224"/>
              <a:gd name="T10" fmla="*/ 201 w 208"/>
              <a:gd name="T11" fmla="*/ 224 h 224"/>
              <a:gd name="T12" fmla="*/ 7 w 208"/>
              <a:gd name="T13" fmla="*/ 224 h 224"/>
              <a:gd name="T14" fmla="*/ 0 w 208"/>
              <a:gd name="T15" fmla="*/ 204 h 224"/>
              <a:gd name="T16" fmla="*/ 64 w 208"/>
              <a:gd name="T17" fmla="*/ 59 h 224"/>
              <a:gd name="T18" fmla="*/ 64 w 208"/>
              <a:gd name="T19" fmla="*/ 8 h 224"/>
              <a:gd name="T20" fmla="*/ 52 w 208"/>
              <a:gd name="T21" fmla="*/ 8 h 224"/>
              <a:gd name="T22" fmla="*/ 52 w 208"/>
              <a:gd name="T23" fmla="*/ 0 h 224"/>
              <a:gd name="T24" fmla="*/ 156 w 208"/>
              <a:gd name="T25" fmla="*/ 0 h 224"/>
              <a:gd name="T26" fmla="*/ 108 w 208"/>
              <a:gd name="T27" fmla="*/ 174 h 224"/>
              <a:gd name="T28" fmla="*/ 106 w 208"/>
              <a:gd name="T29" fmla="*/ 175 h 224"/>
              <a:gd name="T30" fmla="*/ 22 w 208"/>
              <a:gd name="T31" fmla="*/ 174 h 224"/>
              <a:gd name="T32" fmla="*/ 8 w 208"/>
              <a:gd name="T33" fmla="*/ 204 h 224"/>
              <a:gd name="T34" fmla="*/ 13 w 208"/>
              <a:gd name="T35" fmla="*/ 216 h 224"/>
              <a:gd name="T36" fmla="*/ 195 w 208"/>
              <a:gd name="T37" fmla="*/ 216 h 224"/>
              <a:gd name="T38" fmla="*/ 200 w 208"/>
              <a:gd name="T39" fmla="*/ 204 h 224"/>
              <a:gd name="T40" fmla="*/ 185 w 208"/>
              <a:gd name="T41" fmla="*/ 171 h 224"/>
              <a:gd name="T42" fmla="*/ 108 w 208"/>
              <a:gd name="T43" fmla="*/ 174 h 224"/>
              <a:gd name="T44" fmla="*/ 136 w 208"/>
              <a:gd name="T45" fmla="*/ 8 h 224"/>
              <a:gd name="T46" fmla="*/ 72 w 208"/>
              <a:gd name="T47" fmla="*/ 8 h 224"/>
              <a:gd name="T48" fmla="*/ 72 w 208"/>
              <a:gd name="T49" fmla="*/ 61 h 224"/>
              <a:gd name="T50" fmla="*/ 25 w 208"/>
              <a:gd name="T51" fmla="*/ 166 h 224"/>
              <a:gd name="T52" fmla="*/ 101 w 208"/>
              <a:gd name="T53" fmla="*/ 170 h 224"/>
              <a:gd name="T54" fmla="*/ 102 w 208"/>
              <a:gd name="T55" fmla="*/ 169 h 224"/>
              <a:gd name="T56" fmla="*/ 180 w 208"/>
              <a:gd name="T57" fmla="*/ 160 h 224"/>
              <a:gd name="T58" fmla="*/ 136 w 208"/>
              <a:gd name="T59" fmla="*/ 61 h 224"/>
              <a:gd name="T60" fmla="*/ 136 w 208"/>
              <a:gd name="T61" fmla="*/ 8 h 224"/>
              <a:gd name="T62" fmla="*/ 130 w 208"/>
              <a:gd name="T63" fmla="*/ 104 h 224"/>
              <a:gd name="T64" fmla="*/ 148 w 208"/>
              <a:gd name="T65" fmla="*/ 122 h 224"/>
              <a:gd name="T66" fmla="*/ 130 w 208"/>
              <a:gd name="T67" fmla="*/ 140 h 224"/>
              <a:gd name="T68" fmla="*/ 112 w 208"/>
              <a:gd name="T69" fmla="*/ 122 h 224"/>
              <a:gd name="T70" fmla="*/ 130 w 208"/>
              <a:gd name="T71" fmla="*/ 104 h 224"/>
              <a:gd name="T72" fmla="*/ 130 w 208"/>
              <a:gd name="T73" fmla="*/ 112 h 224"/>
              <a:gd name="T74" fmla="*/ 120 w 208"/>
              <a:gd name="T75" fmla="*/ 122 h 224"/>
              <a:gd name="T76" fmla="*/ 130 w 208"/>
              <a:gd name="T77" fmla="*/ 132 h 224"/>
              <a:gd name="T78" fmla="*/ 140 w 208"/>
              <a:gd name="T79" fmla="*/ 122 h 224"/>
              <a:gd name="T80" fmla="*/ 130 w 208"/>
              <a:gd name="T81" fmla="*/ 112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08" h="224">
                <a:moveTo>
                  <a:pt x="156" y="0"/>
                </a:moveTo>
                <a:cubicBezTo>
                  <a:pt x="156" y="8"/>
                  <a:pt x="156" y="8"/>
                  <a:pt x="156" y="8"/>
                </a:cubicBezTo>
                <a:cubicBezTo>
                  <a:pt x="144" y="8"/>
                  <a:pt x="144" y="8"/>
                  <a:pt x="144" y="8"/>
                </a:cubicBezTo>
                <a:cubicBezTo>
                  <a:pt x="144" y="59"/>
                  <a:pt x="144" y="59"/>
                  <a:pt x="144" y="59"/>
                </a:cubicBezTo>
                <a:cubicBezTo>
                  <a:pt x="208" y="204"/>
                  <a:pt x="208" y="204"/>
                  <a:pt x="208" y="204"/>
                </a:cubicBezTo>
                <a:cubicBezTo>
                  <a:pt x="201" y="224"/>
                  <a:pt x="201" y="224"/>
                  <a:pt x="201" y="224"/>
                </a:cubicBezTo>
                <a:cubicBezTo>
                  <a:pt x="7" y="224"/>
                  <a:pt x="7" y="224"/>
                  <a:pt x="7" y="224"/>
                </a:cubicBezTo>
                <a:cubicBezTo>
                  <a:pt x="0" y="204"/>
                  <a:pt x="0" y="204"/>
                  <a:pt x="0" y="204"/>
                </a:cubicBezTo>
                <a:cubicBezTo>
                  <a:pt x="64" y="59"/>
                  <a:pt x="64" y="59"/>
                  <a:pt x="64" y="59"/>
                </a:cubicBezTo>
                <a:cubicBezTo>
                  <a:pt x="64" y="8"/>
                  <a:pt x="64" y="8"/>
                  <a:pt x="64" y="8"/>
                </a:cubicBezTo>
                <a:cubicBezTo>
                  <a:pt x="52" y="8"/>
                  <a:pt x="52" y="8"/>
                  <a:pt x="52" y="8"/>
                </a:cubicBezTo>
                <a:cubicBezTo>
                  <a:pt x="52" y="0"/>
                  <a:pt x="52" y="0"/>
                  <a:pt x="52" y="0"/>
                </a:cubicBezTo>
                <a:lnTo>
                  <a:pt x="156" y="0"/>
                </a:lnTo>
                <a:close/>
                <a:moveTo>
                  <a:pt x="108" y="174"/>
                </a:moveTo>
                <a:cubicBezTo>
                  <a:pt x="106" y="175"/>
                  <a:pt x="106" y="175"/>
                  <a:pt x="106" y="175"/>
                </a:cubicBezTo>
                <a:cubicBezTo>
                  <a:pt x="83" y="192"/>
                  <a:pt x="50" y="191"/>
                  <a:pt x="22" y="174"/>
                </a:cubicBezTo>
                <a:cubicBezTo>
                  <a:pt x="8" y="204"/>
                  <a:pt x="8" y="204"/>
                  <a:pt x="8" y="204"/>
                </a:cubicBezTo>
                <a:cubicBezTo>
                  <a:pt x="13" y="216"/>
                  <a:pt x="13" y="216"/>
                  <a:pt x="13" y="216"/>
                </a:cubicBezTo>
                <a:cubicBezTo>
                  <a:pt x="195" y="216"/>
                  <a:pt x="195" y="216"/>
                  <a:pt x="195" y="216"/>
                </a:cubicBezTo>
                <a:cubicBezTo>
                  <a:pt x="200" y="204"/>
                  <a:pt x="200" y="204"/>
                  <a:pt x="200" y="204"/>
                </a:cubicBezTo>
                <a:cubicBezTo>
                  <a:pt x="185" y="171"/>
                  <a:pt x="185" y="171"/>
                  <a:pt x="185" y="171"/>
                </a:cubicBezTo>
                <a:cubicBezTo>
                  <a:pt x="159" y="159"/>
                  <a:pt x="128" y="160"/>
                  <a:pt x="108" y="174"/>
                </a:cubicBezTo>
                <a:close/>
                <a:moveTo>
                  <a:pt x="136" y="8"/>
                </a:moveTo>
                <a:cubicBezTo>
                  <a:pt x="72" y="8"/>
                  <a:pt x="72" y="8"/>
                  <a:pt x="72" y="8"/>
                </a:cubicBezTo>
                <a:cubicBezTo>
                  <a:pt x="72" y="61"/>
                  <a:pt x="72" y="61"/>
                  <a:pt x="72" y="61"/>
                </a:cubicBezTo>
                <a:cubicBezTo>
                  <a:pt x="25" y="166"/>
                  <a:pt x="25" y="166"/>
                  <a:pt x="25" y="166"/>
                </a:cubicBezTo>
                <a:cubicBezTo>
                  <a:pt x="50" y="182"/>
                  <a:pt x="80" y="183"/>
                  <a:pt x="101" y="170"/>
                </a:cubicBezTo>
                <a:cubicBezTo>
                  <a:pt x="102" y="169"/>
                  <a:pt x="102" y="169"/>
                  <a:pt x="102" y="169"/>
                </a:cubicBezTo>
                <a:cubicBezTo>
                  <a:pt x="123" y="154"/>
                  <a:pt x="153" y="151"/>
                  <a:pt x="180" y="160"/>
                </a:cubicBezTo>
                <a:cubicBezTo>
                  <a:pt x="136" y="61"/>
                  <a:pt x="136" y="61"/>
                  <a:pt x="136" y="61"/>
                </a:cubicBezTo>
                <a:lnTo>
                  <a:pt x="136" y="8"/>
                </a:lnTo>
                <a:close/>
                <a:moveTo>
                  <a:pt x="130" y="104"/>
                </a:moveTo>
                <a:cubicBezTo>
                  <a:pt x="140" y="104"/>
                  <a:pt x="148" y="112"/>
                  <a:pt x="148" y="122"/>
                </a:cubicBezTo>
                <a:cubicBezTo>
                  <a:pt x="148" y="132"/>
                  <a:pt x="140" y="140"/>
                  <a:pt x="130" y="140"/>
                </a:cubicBezTo>
                <a:cubicBezTo>
                  <a:pt x="120" y="140"/>
                  <a:pt x="112" y="132"/>
                  <a:pt x="112" y="122"/>
                </a:cubicBezTo>
                <a:cubicBezTo>
                  <a:pt x="112" y="112"/>
                  <a:pt x="120" y="104"/>
                  <a:pt x="130" y="104"/>
                </a:cubicBezTo>
                <a:close/>
                <a:moveTo>
                  <a:pt x="130" y="112"/>
                </a:moveTo>
                <a:cubicBezTo>
                  <a:pt x="124" y="112"/>
                  <a:pt x="120" y="116"/>
                  <a:pt x="120" y="122"/>
                </a:cubicBezTo>
                <a:cubicBezTo>
                  <a:pt x="120" y="128"/>
                  <a:pt x="124" y="132"/>
                  <a:pt x="130" y="132"/>
                </a:cubicBezTo>
                <a:cubicBezTo>
                  <a:pt x="136" y="132"/>
                  <a:pt x="140" y="128"/>
                  <a:pt x="140" y="122"/>
                </a:cubicBezTo>
                <a:cubicBezTo>
                  <a:pt x="140" y="116"/>
                  <a:pt x="136" y="112"/>
                  <a:pt x="130" y="112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53" name="ïṧ1ïḍé">
            <a:extLst>
              <a:ext uri="{FF2B5EF4-FFF2-40B4-BE49-F238E27FC236}">
                <a16:creationId xmlns:a16="http://schemas.microsoft.com/office/drawing/2014/main" id="{E5C992FE-5942-46B0-80C2-941F52078169}"/>
              </a:ext>
            </a:extLst>
          </p:cNvPr>
          <p:cNvSpPr/>
          <p:nvPr/>
        </p:nvSpPr>
        <p:spPr>
          <a:xfrm>
            <a:off x="7995572" y="2018619"/>
            <a:ext cx="523875" cy="437295"/>
          </a:xfrm>
          <a:custGeom>
            <a:avLst/>
            <a:gdLst>
              <a:gd name="T0" fmla="*/ 224 w 224"/>
              <a:gd name="T1" fmla="*/ 0 h 184"/>
              <a:gd name="T2" fmla="*/ 224 w 224"/>
              <a:gd name="T3" fmla="*/ 156 h 184"/>
              <a:gd name="T4" fmla="*/ 86 w 224"/>
              <a:gd name="T5" fmla="*/ 156 h 184"/>
              <a:gd name="T6" fmla="*/ 48 w 224"/>
              <a:gd name="T7" fmla="*/ 184 h 184"/>
              <a:gd name="T8" fmla="*/ 48 w 224"/>
              <a:gd name="T9" fmla="*/ 156 h 184"/>
              <a:gd name="T10" fmla="*/ 0 w 224"/>
              <a:gd name="T11" fmla="*/ 156 h 184"/>
              <a:gd name="T12" fmla="*/ 0 w 224"/>
              <a:gd name="T13" fmla="*/ 0 h 184"/>
              <a:gd name="T14" fmla="*/ 224 w 224"/>
              <a:gd name="T15" fmla="*/ 0 h 184"/>
              <a:gd name="T16" fmla="*/ 216 w 224"/>
              <a:gd name="T17" fmla="*/ 8 h 184"/>
              <a:gd name="T18" fmla="*/ 8 w 224"/>
              <a:gd name="T19" fmla="*/ 8 h 184"/>
              <a:gd name="T20" fmla="*/ 8 w 224"/>
              <a:gd name="T21" fmla="*/ 148 h 184"/>
              <a:gd name="T22" fmla="*/ 56 w 224"/>
              <a:gd name="T23" fmla="*/ 148 h 184"/>
              <a:gd name="T24" fmla="*/ 56 w 224"/>
              <a:gd name="T25" fmla="*/ 168 h 184"/>
              <a:gd name="T26" fmla="*/ 83 w 224"/>
              <a:gd name="T27" fmla="*/ 148 h 184"/>
              <a:gd name="T28" fmla="*/ 216 w 224"/>
              <a:gd name="T29" fmla="*/ 148 h 184"/>
              <a:gd name="T30" fmla="*/ 216 w 224"/>
              <a:gd name="T31" fmla="*/ 8 h 184"/>
              <a:gd name="T32" fmla="*/ 56 w 224"/>
              <a:gd name="T33" fmla="*/ 60 h 184"/>
              <a:gd name="T34" fmla="*/ 74 w 224"/>
              <a:gd name="T35" fmla="*/ 78 h 184"/>
              <a:gd name="T36" fmla="*/ 56 w 224"/>
              <a:gd name="T37" fmla="*/ 96 h 184"/>
              <a:gd name="T38" fmla="*/ 38 w 224"/>
              <a:gd name="T39" fmla="*/ 78 h 184"/>
              <a:gd name="T40" fmla="*/ 56 w 224"/>
              <a:gd name="T41" fmla="*/ 60 h 184"/>
              <a:gd name="T42" fmla="*/ 112 w 224"/>
              <a:gd name="T43" fmla="*/ 60 h 184"/>
              <a:gd name="T44" fmla="*/ 130 w 224"/>
              <a:gd name="T45" fmla="*/ 78 h 184"/>
              <a:gd name="T46" fmla="*/ 112 w 224"/>
              <a:gd name="T47" fmla="*/ 96 h 184"/>
              <a:gd name="T48" fmla="*/ 94 w 224"/>
              <a:gd name="T49" fmla="*/ 78 h 184"/>
              <a:gd name="T50" fmla="*/ 112 w 224"/>
              <a:gd name="T51" fmla="*/ 60 h 184"/>
              <a:gd name="T52" fmla="*/ 168 w 224"/>
              <a:gd name="T53" fmla="*/ 60 h 184"/>
              <a:gd name="T54" fmla="*/ 186 w 224"/>
              <a:gd name="T55" fmla="*/ 78 h 184"/>
              <a:gd name="T56" fmla="*/ 168 w 224"/>
              <a:gd name="T57" fmla="*/ 96 h 184"/>
              <a:gd name="T58" fmla="*/ 150 w 224"/>
              <a:gd name="T59" fmla="*/ 78 h 184"/>
              <a:gd name="T60" fmla="*/ 168 w 224"/>
              <a:gd name="T61" fmla="*/ 60 h 184"/>
              <a:gd name="T62" fmla="*/ 56 w 224"/>
              <a:gd name="T63" fmla="*/ 68 h 184"/>
              <a:gd name="T64" fmla="*/ 46 w 224"/>
              <a:gd name="T65" fmla="*/ 78 h 184"/>
              <a:gd name="T66" fmla="*/ 56 w 224"/>
              <a:gd name="T67" fmla="*/ 88 h 184"/>
              <a:gd name="T68" fmla="*/ 66 w 224"/>
              <a:gd name="T69" fmla="*/ 78 h 184"/>
              <a:gd name="T70" fmla="*/ 56 w 224"/>
              <a:gd name="T71" fmla="*/ 68 h 184"/>
              <a:gd name="T72" fmla="*/ 112 w 224"/>
              <a:gd name="T73" fmla="*/ 68 h 184"/>
              <a:gd name="T74" fmla="*/ 102 w 224"/>
              <a:gd name="T75" fmla="*/ 78 h 184"/>
              <a:gd name="T76" fmla="*/ 112 w 224"/>
              <a:gd name="T77" fmla="*/ 88 h 184"/>
              <a:gd name="T78" fmla="*/ 122 w 224"/>
              <a:gd name="T79" fmla="*/ 78 h 184"/>
              <a:gd name="T80" fmla="*/ 112 w 224"/>
              <a:gd name="T81" fmla="*/ 68 h 184"/>
              <a:gd name="T82" fmla="*/ 168 w 224"/>
              <a:gd name="T83" fmla="*/ 68 h 184"/>
              <a:gd name="T84" fmla="*/ 158 w 224"/>
              <a:gd name="T85" fmla="*/ 78 h 184"/>
              <a:gd name="T86" fmla="*/ 168 w 224"/>
              <a:gd name="T87" fmla="*/ 88 h 184"/>
              <a:gd name="T88" fmla="*/ 178 w 224"/>
              <a:gd name="T89" fmla="*/ 78 h 184"/>
              <a:gd name="T90" fmla="*/ 168 w 224"/>
              <a:gd name="T91" fmla="*/ 68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24" h="184">
                <a:moveTo>
                  <a:pt x="224" y="0"/>
                </a:moveTo>
                <a:cubicBezTo>
                  <a:pt x="224" y="156"/>
                  <a:pt x="224" y="156"/>
                  <a:pt x="224" y="156"/>
                </a:cubicBezTo>
                <a:cubicBezTo>
                  <a:pt x="86" y="156"/>
                  <a:pt x="86" y="156"/>
                  <a:pt x="86" y="156"/>
                </a:cubicBezTo>
                <a:cubicBezTo>
                  <a:pt x="48" y="184"/>
                  <a:pt x="48" y="184"/>
                  <a:pt x="48" y="184"/>
                </a:cubicBezTo>
                <a:cubicBezTo>
                  <a:pt x="48" y="156"/>
                  <a:pt x="48" y="156"/>
                  <a:pt x="48" y="156"/>
                </a:cubicBezTo>
                <a:cubicBezTo>
                  <a:pt x="0" y="156"/>
                  <a:pt x="0" y="156"/>
                  <a:pt x="0" y="156"/>
                </a:cubicBezTo>
                <a:cubicBezTo>
                  <a:pt x="0" y="0"/>
                  <a:pt x="0" y="0"/>
                  <a:pt x="0" y="0"/>
                </a:cubicBezTo>
                <a:lnTo>
                  <a:pt x="224" y="0"/>
                </a:lnTo>
                <a:close/>
                <a:moveTo>
                  <a:pt x="216" y="8"/>
                </a:moveTo>
                <a:cubicBezTo>
                  <a:pt x="8" y="8"/>
                  <a:pt x="8" y="8"/>
                  <a:pt x="8" y="8"/>
                </a:cubicBezTo>
                <a:cubicBezTo>
                  <a:pt x="8" y="148"/>
                  <a:pt x="8" y="148"/>
                  <a:pt x="8" y="148"/>
                </a:cubicBezTo>
                <a:cubicBezTo>
                  <a:pt x="56" y="148"/>
                  <a:pt x="56" y="148"/>
                  <a:pt x="56" y="148"/>
                </a:cubicBezTo>
                <a:cubicBezTo>
                  <a:pt x="56" y="168"/>
                  <a:pt x="56" y="168"/>
                  <a:pt x="56" y="168"/>
                </a:cubicBezTo>
                <a:cubicBezTo>
                  <a:pt x="83" y="148"/>
                  <a:pt x="83" y="148"/>
                  <a:pt x="83" y="148"/>
                </a:cubicBezTo>
                <a:cubicBezTo>
                  <a:pt x="216" y="148"/>
                  <a:pt x="216" y="148"/>
                  <a:pt x="216" y="148"/>
                </a:cubicBezTo>
                <a:lnTo>
                  <a:pt x="216" y="8"/>
                </a:lnTo>
                <a:close/>
                <a:moveTo>
                  <a:pt x="56" y="60"/>
                </a:moveTo>
                <a:cubicBezTo>
                  <a:pt x="66" y="60"/>
                  <a:pt x="74" y="68"/>
                  <a:pt x="74" y="78"/>
                </a:cubicBezTo>
                <a:cubicBezTo>
                  <a:pt x="74" y="88"/>
                  <a:pt x="66" y="96"/>
                  <a:pt x="56" y="96"/>
                </a:cubicBezTo>
                <a:cubicBezTo>
                  <a:pt x="46" y="96"/>
                  <a:pt x="38" y="88"/>
                  <a:pt x="38" y="78"/>
                </a:cubicBezTo>
                <a:cubicBezTo>
                  <a:pt x="38" y="68"/>
                  <a:pt x="46" y="60"/>
                  <a:pt x="56" y="60"/>
                </a:cubicBezTo>
                <a:close/>
                <a:moveTo>
                  <a:pt x="112" y="60"/>
                </a:moveTo>
                <a:cubicBezTo>
                  <a:pt x="122" y="60"/>
                  <a:pt x="130" y="68"/>
                  <a:pt x="130" y="78"/>
                </a:cubicBezTo>
                <a:cubicBezTo>
                  <a:pt x="130" y="88"/>
                  <a:pt x="122" y="96"/>
                  <a:pt x="112" y="96"/>
                </a:cubicBezTo>
                <a:cubicBezTo>
                  <a:pt x="102" y="96"/>
                  <a:pt x="94" y="88"/>
                  <a:pt x="94" y="78"/>
                </a:cubicBezTo>
                <a:cubicBezTo>
                  <a:pt x="94" y="68"/>
                  <a:pt x="102" y="60"/>
                  <a:pt x="112" y="60"/>
                </a:cubicBezTo>
                <a:close/>
                <a:moveTo>
                  <a:pt x="168" y="60"/>
                </a:moveTo>
                <a:cubicBezTo>
                  <a:pt x="178" y="60"/>
                  <a:pt x="186" y="68"/>
                  <a:pt x="186" y="78"/>
                </a:cubicBezTo>
                <a:cubicBezTo>
                  <a:pt x="186" y="88"/>
                  <a:pt x="178" y="96"/>
                  <a:pt x="168" y="96"/>
                </a:cubicBezTo>
                <a:cubicBezTo>
                  <a:pt x="158" y="96"/>
                  <a:pt x="150" y="88"/>
                  <a:pt x="150" y="78"/>
                </a:cubicBezTo>
                <a:cubicBezTo>
                  <a:pt x="150" y="68"/>
                  <a:pt x="158" y="60"/>
                  <a:pt x="168" y="60"/>
                </a:cubicBezTo>
                <a:close/>
                <a:moveTo>
                  <a:pt x="56" y="68"/>
                </a:moveTo>
                <a:cubicBezTo>
                  <a:pt x="50" y="68"/>
                  <a:pt x="46" y="72"/>
                  <a:pt x="46" y="78"/>
                </a:cubicBezTo>
                <a:cubicBezTo>
                  <a:pt x="46" y="84"/>
                  <a:pt x="50" y="88"/>
                  <a:pt x="56" y="88"/>
                </a:cubicBezTo>
                <a:cubicBezTo>
                  <a:pt x="62" y="88"/>
                  <a:pt x="66" y="84"/>
                  <a:pt x="66" y="78"/>
                </a:cubicBezTo>
                <a:cubicBezTo>
                  <a:pt x="66" y="72"/>
                  <a:pt x="62" y="68"/>
                  <a:pt x="56" y="68"/>
                </a:cubicBezTo>
                <a:close/>
                <a:moveTo>
                  <a:pt x="112" y="68"/>
                </a:moveTo>
                <a:cubicBezTo>
                  <a:pt x="106" y="68"/>
                  <a:pt x="102" y="72"/>
                  <a:pt x="102" y="78"/>
                </a:cubicBezTo>
                <a:cubicBezTo>
                  <a:pt x="102" y="84"/>
                  <a:pt x="106" y="88"/>
                  <a:pt x="112" y="88"/>
                </a:cubicBezTo>
                <a:cubicBezTo>
                  <a:pt x="118" y="88"/>
                  <a:pt x="122" y="84"/>
                  <a:pt x="122" y="78"/>
                </a:cubicBezTo>
                <a:cubicBezTo>
                  <a:pt x="122" y="72"/>
                  <a:pt x="118" y="68"/>
                  <a:pt x="112" y="68"/>
                </a:cubicBezTo>
                <a:close/>
                <a:moveTo>
                  <a:pt x="168" y="68"/>
                </a:moveTo>
                <a:cubicBezTo>
                  <a:pt x="162" y="68"/>
                  <a:pt x="158" y="72"/>
                  <a:pt x="158" y="78"/>
                </a:cubicBezTo>
                <a:cubicBezTo>
                  <a:pt x="158" y="84"/>
                  <a:pt x="162" y="88"/>
                  <a:pt x="168" y="88"/>
                </a:cubicBezTo>
                <a:cubicBezTo>
                  <a:pt x="174" y="88"/>
                  <a:pt x="178" y="84"/>
                  <a:pt x="178" y="78"/>
                </a:cubicBezTo>
                <a:cubicBezTo>
                  <a:pt x="178" y="72"/>
                  <a:pt x="174" y="68"/>
                  <a:pt x="168" y="68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52" name="ïṧļîďé">
            <a:extLst>
              <a:ext uri="{FF2B5EF4-FFF2-40B4-BE49-F238E27FC236}">
                <a16:creationId xmlns:a16="http://schemas.microsoft.com/office/drawing/2014/main" id="{73C3DEC5-1B87-46EC-B94B-0FD8FC2FD77D}"/>
              </a:ext>
            </a:extLst>
          </p:cNvPr>
          <p:cNvSpPr/>
          <p:nvPr/>
        </p:nvSpPr>
        <p:spPr>
          <a:xfrm>
            <a:off x="10152288" y="1975329"/>
            <a:ext cx="518086" cy="523875"/>
          </a:xfrm>
          <a:custGeom>
            <a:avLst/>
            <a:gdLst>
              <a:gd name="T0" fmla="*/ 160 w 224"/>
              <a:gd name="T1" fmla="*/ 0 h 224"/>
              <a:gd name="T2" fmla="*/ 160 w 224"/>
              <a:gd name="T3" fmla="*/ 48 h 224"/>
              <a:gd name="T4" fmla="*/ 224 w 224"/>
              <a:gd name="T5" fmla="*/ 48 h 224"/>
              <a:gd name="T6" fmla="*/ 224 w 224"/>
              <a:gd name="T7" fmla="*/ 176 h 224"/>
              <a:gd name="T8" fmla="*/ 160 w 224"/>
              <a:gd name="T9" fmla="*/ 176 h 224"/>
              <a:gd name="T10" fmla="*/ 160 w 224"/>
              <a:gd name="T11" fmla="*/ 224 h 224"/>
              <a:gd name="T12" fmla="*/ 64 w 224"/>
              <a:gd name="T13" fmla="*/ 224 h 224"/>
              <a:gd name="T14" fmla="*/ 64 w 224"/>
              <a:gd name="T15" fmla="*/ 176 h 224"/>
              <a:gd name="T16" fmla="*/ 0 w 224"/>
              <a:gd name="T17" fmla="*/ 176 h 224"/>
              <a:gd name="T18" fmla="*/ 0 w 224"/>
              <a:gd name="T19" fmla="*/ 76 h 224"/>
              <a:gd name="T20" fmla="*/ 26 w 224"/>
              <a:gd name="T21" fmla="*/ 48 h 224"/>
              <a:gd name="T22" fmla="*/ 64 w 224"/>
              <a:gd name="T23" fmla="*/ 48 h 224"/>
              <a:gd name="T24" fmla="*/ 64 w 224"/>
              <a:gd name="T25" fmla="*/ 0 h 224"/>
              <a:gd name="T26" fmla="*/ 160 w 224"/>
              <a:gd name="T27" fmla="*/ 0 h 224"/>
              <a:gd name="T28" fmla="*/ 152 w 224"/>
              <a:gd name="T29" fmla="*/ 120 h 224"/>
              <a:gd name="T30" fmla="*/ 72 w 224"/>
              <a:gd name="T31" fmla="*/ 120 h 224"/>
              <a:gd name="T32" fmla="*/ 72 w 224"/>
              <a:gd name="T33" fmla="*/ 216 h 224"/>
              <a:gd name="T34" fmla="*/ 152 w 224"/>
              <a:gd name="T35" fmla="*/ 216 h 224"/>
              <a:gd name="T36" fmla="*/ 152 w 224"/>
              <a:gd name="T37" fmla="*/ 120 h 224"/>
              <a:gd name="T38" fmla="*/ 216 w 224"/>
              <a:gd name="T39" fmla="*/ 56 h 224"/>
              <a:gd name="T40" fmla="*/ 30 w 224"/>
              <a:gd name="T41" fmla="*/ 56 h 224"/>
              <a:gd name="T42" fmla="*/ 8 w 224"/>
              <a:gd name="T43" fmla="*/ 80 h 224"/>
              <a:gd name="T44" fmla="*/ 8 w 224"/>
              <a:gd name="T45" fmla="*/ 168 h 224"/>
              <a:gd name="T46" fmla="*/ 64 w 224"/>
              <a:gd name="T47" fmla="*/ 168 h 224"/>
              <a:gd name="T48" fmla="*/ 64 w 224"/>
              <a:gd name="T49" fmla="*/ 112 h 224"/>
              <a:gd name="T50" fmla="*/ 160 w 224"/>
              <a:gd name="T51" fmla="*/ 112 h 224"/>
              <a:gd name="T52" fmla="*/ 160 w 224"/>
              <a:gd name="T53" fmla="*/ 168 h 224"/>
              <a:gd name="T54" fmla="*/ 216 w 224"/>
              <a:gd name="T55" fmla="*/ 168 h 224"/>
              <a:gd name="T56" fmla="*/ 216 w 224"/>
              <a:gd name="T57" fmla="*/ 56 h 224"/>
              <a:gd name="T58" fmla="*/ 194 w 224"/>
              <a:gd name="T59" fmla="*/ 72 h 224"/>
              <a:gd name="T60" fmla="*/ 200 w 224"/>
              <a:gd name="T61" fmla="*/ 78 h 224"/>
              <a:gd name="T62" fmla="*/ 194 w 224"/>
              <a:gd name="T63" fmla="*/ 84 h 224"/>
              <a:gd name="T64" fmla="*/ 188 w 224"/>
              <a:gd name="T65" fmla="*/ 78 h 224"/>
              <a:gd name="T66" fmla="*/ 194 w 224"/>
              <a:gd name="T67" fmla="*/ 72 h 224"/>
              <a:gd name="T68" fmla="*/ 152 w 224"/>
              <a:gd name="T69" fmla="*/ 8 h 224"/>
              <a:gd name="T70" fmla="*/ 72 w 224"/>
              <a:gd name="T71" fmla="*/ 8 h 224"/>
              <a:gd name="T72" fmla="*/ 72 w 224"/>
              <a:gd name="T73" fmla="*/ 48 h 224"/>
              <a:gd name="T74" fmla="*/ 152 w 224"/>
              <a:gd name="T75" fmla="*/ 48 h 224"/>
              <a:gd name="T76" fmla="*/ 152 w 224"/>
              <a:gd name="T77" fmla="*/ 8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24" h="224">
                <a:moveTo>
                  <a:pt x="160" y="0"/>
                </a:moveTo>
                <a:cubicBezTo>
                  <a:pt x="160" y="48"/>
                  <a:pt x="160" y="48"/>
                  <a:pt x="160" y="48"/>
                </a:cubicBezTo>
                <a:cubicBezTo>
                  <a:pt x="224" y="48"/>
                  <a:pt x="224" y="48"/>
                  <a:pt x="224" y="48"/>
                </a:cubicBezTo>
                <a:cubicBezTo>
                  <a:pt x="224" y="176"/>
                  <a:pt x="224" y="176"/>
                  <a:pt x="224" y="176"/>
                </a:cubicBezTo>
                <a:cubicBezTo>
                  <a:pt x="160" y="176"/>
                  <a:pt x="160" y="176"/>
                  <a:pt x="160" y="176"/>
                </a:cubicBezTo>
                <a:cubicBezTo>
                  <a:pt x="160" y="224"/>
                  <a:pt x="160" y="224"/>
                  <a:pt x="160" y="224"/>
                </a:cubicBezTo>
                <a:cubicBezTo>
                  <a:pt x="64" y="224"/>
                  <a:pt x="64" y="224"/>
                  <a:pt x="64" y="224"/>
                </a:cubicBezTo>
                <a:cubicBezTo>
                  <a:pt x="64" y="176"/>
                  <a:pt x="64" y="176"/>
                  <a:pt x="64" y="176"/>
                </a:cubicBezTo>
                <a:cubicBezTo>
                  <a:pt x="0" y="176"/>
                  <a:pt x="0" y="176"/>
                  <a:pt x="0" y="176"/>
                </a:cubicBezTo>
                <a:cubicBezTo>
                  <a:pt x="0" y="76"/>
                  <a:pt x="0" y="76"/>
                  <a:pt x="0" y="76"/>
                </a:cubicBezTo>
                <a:cubicBezTo>
                  <a:pt x="26" y="48"/>
                  <a:pt x="26" y="48"/>
                  <a:pt x="26" y="48"/>
                </a:cubicBezTo>
                <a:cubicBezTo>
                  <a:pt x="64" y="48"/>
                  <a:pt x="64" y="48"/>
                  <a:pt x="64" y="48"/>
                </a:cubicBezTo>
                <a:cubicBezTo>
                  <a:pt x="64" y="0"/>
                  <a:pt x="64" y="0"/>
                  <a:pt x="64" y="0"/>
                </a:cubicBezTo>
                <a:lnTo>
                  <a:pt x="160" y="0"/>
                </a:lnTo>
                <a:close/>
                <a:moveTo>
                  <a:pt x="152" y="120"/>
                </a:moveTo>
                <a:cubicBezTo>
                  <a:pt x="72" y="120"/>
                  <a:pt x="72" y="120"/>
                  <a:pt x="72" y="120"/>
                </a:cubicBezTo>
                <a:cubicBezTo>
                  <a:pt x="72" y="216"/>
                  <a:pt x="72" y="216"/>
                  <a:pt x="72" y="216"/>
                </a:cubicBezTo>
                <a:cubicBezTo>
                  <a:pt x="152" y="216"/>
                  <a:pt x="152" y="216"/>
                  <a:pt x="152" y="216"/>
                </a:cubicBezTo>
                <a:lnTo>
                  <a:pt x="152" y="120"/>
                </a:lnTo>
                <a:close/>
                <a:moveTo>
                  <a:pt x="216" y="56"/>
                </a:moveTo>
                <a:cubicBezTo>
                  <a:pt x="30" y="56"/>
                  <a:pt x="30" y="56"/>
                  <a:pt x="30" y="56"/>
                </a:cubicBezTo>
                <a:cubicBezTo>
                  <a:pt x="8" y="80"/>
                  <a:pt x="8" y="80"/>
                  <a:pt x="8" y="80"/>
                </a:cubicBezTo>
                <a:cubicBezTo>
                  <a:pt x="8" y="168"/>
                  <a:pt x="8" y="168"/>
                  <a:pt x="8" y="168"/>
                </a:cubicBezTo>
                <a:cubicBezTo>
                  <a:pt x="64" y="168"/>
                  <a:pt x="64" y="168"/>
                  <a:pt x="64" y="168"/>
                </a:cubicBezTo>
                <a:cubicBezTo>
                  <a:pt x="64" y="112"/>
                  <a:pt x="64" y="112"/>
                  <a:pt x="64" y="112"/>
                </a:cubicBezTo>
                <a:cubicBezTo>
                  <a:pt x="160" y="112"/>
                  <a:pt x="160" y="112"/>
                  <a:pt x="160" y="112"/>
                </a:cubicBezTo>
                <a:cubicBezTo>
                  <a:pt x="160" y="168"/>
                  <a:pt x="160" y="168"/>
                  <a:pt x="160" y="168"/>
                </a:cubicBezTo>
                <a:cubicBezTo>
                  <a:pt x="216" y="168"/>
                  <a:pt x="216" y="168"/>
                  <a:pt x="216" y="168"/>
                </a:cubicBezTo>
                <a:lnTo>
                  <a:pt x="216" y="56"/>
                </a:lnTo>
                <a:close/>
                <a:moveTo>
                  <a:pt x="194" y="72"/>
                </a:moveTo>
                <a:cubicBezTo>
                  <a:pt x="197" y="72"/>
                  <a:pt x="200" y="75"/>
                  <a:pt x="200" y="78"/>
                </a:cubicBezTo>
                <a:cubicBezTo>
                  <a:pt x="200" y="81"/>
                  <a:pt x="197" y="84"/>
                  <a:pt x="194" y="84"/>
                </a:cubicBezTo>
                <a:cubicBezTo>
                  <a:pt x="191" y="84"/>
                  <a:pt x="188" y="81"/>
                  <a:pt x="188" y="78"/>
                </a:cubicBezTo>
                <a:cubicBezTo>
                  <a:pt x="188" y="75"/>
                  <a:pt x="191" y="72"/>
                  <a:pt x="194" y="72"/>
                </a:cubicBezTo>
                <a:close/>
                <a:moveTo>
                  <a:pt x="152" y="8"/>
                </a:moveTo>
                <a:cubicBezTo>
                  <a:pt x="72" y="8"/>
                  <a:pt x="72" y="8"/>
                  <a:pt x="72" y="8"/>
                </a:cubicBezTo>
                <a:cubicBezTo>
                  <a:pt x="72" y="48"/>
                  <a:pt x="72" y="48"/>
                  <a:pt x="72" y="48"/>
                </a:cubicBezTo>
                <a:cubicBezTo>
                  <a:pt x="152" y="48"/>
                  <a:pt x="152" y="48"/>
                  <a:pt x="152" y="48"/>
                </a:cubicBezTo>
                <a:lnTo>
                  <a:pt x="152" y="8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6" name="í$ľíḍè">
            <a:extLst>
              <a:ext uri="{FF2B5EF4-FFF2-40B4-BE49-F238E27FC236}">
                <a16:creationId xmlns:a16="http://schemas.microsoft.com/office/drawing/2014/main" id="{45BA1F07-2BD1-4DDA-BF7A-923CDD0B24C2}"/>
              </a:ext>
            </a:extLst>
          </p:cNvPr>
          <p:cNvSpPr txBox="1"/>
          <p:nvPr/>
        </p:nvSpPr>
        <p:spPr>
          <a:xfrm>
            <a:off x="1044440" y="3418193"/>
            <a:ext cx="1679509" cy="408161"/>
          </a:xfrm>
          <a:prstGeom prst="rect">
            <a:avLst/>
          </a:prstGeom>
          <a:noFill/>
        </p:spPr>
        <p:txBody>
          <a:bodyPr wrap="none" lIns="90000" tIns="46800" rIns="90000" bIns="46800" rtlCol="0" anchor="b" anchorCtr="0">
            <a:normAutofit/>
          </a:bodyPr>
          <a:lstStyle/>
          <a:p>
            <a:r>
              <a:rPr lang="en-US" altLang="zh-CN" sz="1600" b="1" dirty="0"/>
              <a:t>Text here</a:t>
            </a:r>
          </a:p>
        </p:txBody>
      </p:sp>
      <p:sp>
        <p:nvSpPr>
          <p:cNvPr id="27" name="ïsļïḓê">
            <a:extLst>
              <a:ext uri="{FF2B5EF4-FFF2-40B4-BE49-F238E27FC236}">
                <a16:creationId xmlns:a16="http://schemas.microsoft.com/office/drawing/2014/main" id="{AC84A615-03AD-4966-AB63-192FDF868F2B}"/>
              </a:ext>
            </a:extLst>
          </p:cNvPr>
          <p:cNvSpPr txBox="1"/>
          <p:nvPr/>
        </p:nvSpPr>
        <p:spPr>
          <a:xfrm>
            <a:off x="1044440" y="3826357"/>
            <a:ext cx="1679509" cy="661627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/>
              <a:t>Supporting text here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/>
              <a:t>……</a:t>
            </a:r>
          </a:p>
        </p:txBody>
      </p:sp>
      <p:sp>
        <p:nvSpPr>
          <p:cNvPr id="28" name="í$ľíḍè">
            <a:extLst>
              <a:ext uri="{FF2B5EF4-FFF2-40B4-BE49-F238E27FC236}">
                <a16:creationId xmlns:a16="http://schemas.microsoft.com/office/drawing/2014/main" id="{8124C32B-35C9-40AF-8B14-5657D500AFB3}"/>
              </a:ext>
            </a:extLst>
          </p:cNvPr>
          <p:cNvSpPr txBox="1"/>
          <p:nvPr/>
        </p:nvSpPr>
        <p:spPr>
          <a:xfrm>
            <a:off x="5023577" y="3316240"/>
            <a:ext cx="1679509" cy="408161"/>
          </a:xfrm>
          <a:prstGeom prst="rect">
            <a:avLst/>
          </a:prstGeom>
          <a:noFill/>
        </p:spPr>
        <p:txBody>
          <a:bodyPr wrap="none" lIns="90000" tIns="46800" rIns="90000" bIns="46800" rtlCol="0" anchor="b" anchorCtr="0">
            <a:normAutofit/>
          </a:bodyPr>
          <a:lstStyle/>
          <a:p>
            <a:r>
              <a:rPr lang="en-US" altLang="zh-CN" sz="1600" b="1" dirty="0"/>
              <a:t>Text here</a:t>
            </a:r>
          </a:p>
        </p:txBody>
      </p:sp>
      <p:sp>
        <p:nvSpPr>
          <p:cNvPr id="29" name="ïsļïḓê">
            <a:extLst>
              <a:ext uri="{FF2B5EF4-FFF2-40B4-BE49-F238E27FC236}">
                <a16:creationId xmlns:a16="http://schemas.microsoft.com/office/drawing/2014/main" id="{74254804-FEB6-4257-8D30-C3A6BD18C087}"/>
              </a:ext>
            </a:extLst>
          </p:cNvPr>
          <p:cNvSpPr txBox="1"/>
          <p:nvPr/>
        </p:nvSpPr>
        <p:spPr>
          <a:xfrm>
            <a:off x="5001997" y="3724404"/>
            <a:ext cx="1679509" cy="661627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/>
              <a:t>Supporting text here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/>
              <a:t>……</a:t>
            </a:r>
          </a:p>
        </p:txBody>
      </p:sp>
      <p:sp>
        <p:nvSpPr>
          <p:cNvPr id="30" name="í$ľíḍè">
            <a:extLst>
              <a:ext uri="{FF2B5EF4-FFF2-40B4-BE49-F238E27FC236}">
                <a16:creationId xmlns:a16="http://schemas.microsoft.com/office/drawing/2014/main" id="{161B8B3B-E081-4225-B698-E9281AFA32B0}"/>
              </a:ext>
            </a:extLst>
          </p:cNvPr>
          <p:cNvSpPr txBox="1"/>
          <p:nvPr/>
        </p:nvSpPr>
        <p:spPr>
          <a:xfrm>
            <a:off x="3198934" y="3840965"/>
            <a:ext cx="1679509" cy="408161"/>
          </a:xfrm>
          <a:prstGeom prst="rect">
            <a:avLst/>
          </a:prstGeom>
          <a:noFill/>
        </p:spPr>
        <p:txBody>
          <a:bodyPr wrap="none" lIns="90000" tIns="46800" rIns="90000" bIns="46800" rtlCol="0" anchor="b" anchorCtr="0">
            <a:normAutofit/>
          </a:bodyPr>
          <a:lstStyle/>
          <a:p>
            <a:r>
              <a:rPr lang="en-US" altLang="zh-CN" sz="1600" b="1" dirty="0"/>
              <a:t>Text here</a:t>
            </a:r>
          </a:p>
        </p:txBody>
      </p:sp>
      <p:sp>
        <p:nvSpPr>
          <p:cNvPr id="31" name="ïsļïḓê">
            <a:extLst>
              <a:ext uri="{FF2B5EF4-FFF2-40B4-BE49-F238E27FC236}">
                <a16:creationId xmlns:a16="http://schemas.microsoft.com/office/drawing/2014/main" id="{EF9B8832-57DD-48C8-83ED-4C875EEE8827}"/>
              </a:ext>
            </a:extLst>
          </p:cNvPr>
          <p:cNvSpPr txBox="1"/>
          <p:nvPr/>
        </p:nvSpPr>
        <p:spPr>
          <a:xfrm>
            <a:off x="3198934" y="4249129"/>
            <a:ext cx="1679509" cy="661627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/>
              <a:t>Supporting text here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/>
              <a:t>……</a:t>
            </a:r>
          </a:p>
        </p:txBody>
      </p:sp>
      <p:sp>
        <p:nvSpPr>
          <p:cNvPr id="32" name="í$ľíḍè">
            <a:extLst>
              <a:ext uri="{FF2B5EF4-FFF2-40B4-BE49-F238E27FC236}">
                <a16:creationId xmlns:a16="http://schemas.microsoft.com/office/drawing/2014/main" id="{CC57EC72-38E2-4BF1-A359-E1F4B46E880D}"/>
              </a:ext>
            </a:extLst>
          </p:cNvPr>
          <p:cNvSpPr txBox="1"/>
          <p:nvPr/>
        </p:nvSpPr>
        <p:spPr>
          <a:xfrm>
            <a:off x="7534957" y="3840965"/>
            <a:ext cx="1679509" cy="408161"/>
          </a:xfrm>
          <a:prstGeom prst="rect">
            <a:avLst/>
          </a:prstGeom>
          <a:noFill/>
        </p:spPr>
        <p:txBody>
          <a:bodyPr wrap="none" lIns="90000" tIns="46800" rIns="90000" bIns="46800" rtlCol="0" anchor="b" anchorCtr="0">
            <a:normAutofit/>
          </a:bodyPr>
          <a:lstStyle/>
          <a:p>
            <a:r>
              <a:rPr lang="en-US" altLang="zh-CN" sz="1600" b="1" dirty="0"/>
              <a:t>Text here</a:t>
            </a:r>
          </a:p>
        </p:txBody>
      </p:sp>
      <p:sp>
        <p:nvSpPr>
          <p:cNvPr id="33" name="ïsļïḓê">
            <a:extLst>
              <a:ext uri="{FF2B5EF4-FFF2-40B4-BE49-F238E27FC236}">
                <a16:creationId xmlns:a16="http://schemas.microsoft.com/office/drawing/2014/main" id="{5E885D02-2C29-4EFA-99A4-D438249F2D2D}"/>
              </a:ext>
            </a:extLst>
          </p:cNvPr>
          <p:cNvSpPr txBox="1"/>
          <p:nvPr/>
        </p:nvSpPr>
        <p:spPr>
          <a:xfrm>
            <a:off x="7534957" y="4249129"/>
            <a:ext cx="1679509" cy="661627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/>
              <a:t>Supporting text here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/>
              <a:t>……</a:t>
            </a:r>
          </a:p>
        </p:txBody>
      </p:sp>
      <p:grpSp>
        <p:nvGrpSpPr>
          <p:cNvPr id="34" name="组合 33">
            <a:extLst>
              <a:ext uri="{FF2B5EF4-FFF2-40B4-BE49-F238E27FC236}">
                <a16:creationId xmlns:a16="http://schemas.microsoft.com/office/drawing/2014/main" id="{E5A8D8F9-FAB8-4916-B32E-B0EA61B01209}"/>
              </a:ext>
            </a:extLst>
          </p:cNvPr>
          <p:cNvGrpSpPr/>
          <p:nvPr/>
        </p:nvGrpSpPr>
        <p:grpSpPr>
          <a:xfrm>
            <a:off x="9919495" y="3107374"/>
            <a:ext cx="107691" cy="324250"/>
            <a:chOff x="5165102" y="3107374"/>
            <a:chExt cx="107691" cy="324250"/>
          </a:xfrm>
        </p:grpSpPr>
        <p:sp>
          <p:nvSpPr>
            <p:cNvPr id="35" name="iṣľïḍè">
              <a:extLst>
                <a:ext uri="{FF2B5EF4-FFF2-40B4-BE49-F238E27FC236}">
                  <a16:creationId xmlns:a16="http://schemas.microsoft.com/office/drawing/2014/main" id="{321AF93F-C3A0-439A-BA22-8285E4954F6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5102" y="3107374"/>
              <a:ext cx="107691" cy="105026"/>
            </a:xfrm>
            <a:prstGeom prst="ellipse">
              <a:avLst/>
            </a:prstGeom>
            <a:solidFill>
              <a:schemeClr val="accent1"/>
            </a:solidFill>
            <a:ln w="1270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îṣlîḓé">
              <a:extLst>
                <a:ext uri="{FF2B5EF4-FFF2-40B4-BE49-F238E27FC236}">
                  <a16:creationId xmlns:a16="http://schemas.microsoft.com/office/drawing/2014/main" id="{DF47BD46-CDC0-4F95-AE9C-7F31D8577188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5218948" y="3196922"/>
              <a:ext cx="0" cy="234702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37" name="í$ľíḍè">
            <a:extLst>
              <a:ext uri="{FF2B5EF4-FFF2-40B4-BE49-F238E27FC236}">
                <a16:creationId xmlns:a16="http://schemas.microsoft.com/office/drawing/2014/main" id="{63A05138-567D-4C02-A94E-C985CB89A749}"/>
              </a:ext>
            </a:extLst>
          </p:cNvPr>
          <p:cNvSpPr txBox="1"/>
          <p:nvPr/>
        </p:nvSpPr>
        <p:spPr>
          <a:xfrm>
            <a:off x="9777970" y="3316240"/>
            <a:ext cx="1679509" cy="408161"/>
          </a:xfrm>
          <a:prstGeom prst="rect">
            <a:avLst/>
          </a:prstGeom>
          <a:noFill/>
        </p:spPr>
        <p:txBody>
          <a:bodyPr wrap="none" lIns="90000" tIns="46800" rIns="90000" bIns="46800" rtlCol="0" anchor="b" anchorCtr="0">
            <a:normAutofit/>
          </a:bodyPr>
          <a:lstStyle/>
          <a:p>
            <a:r>
              <a:rPr lang="en-US" altLang="zh-CN" sz="1600" b="1" dirty="0"/>
              <a:t>Text here</a:t>
            </a:r>
          </a:p>
        </p:txBody>
      </p:sp>
      <p:sp>
        <p:nvSpPr>
          <p:cNvPr id="38" name="ïsļïḓê">
            <a:extLst>
              <a:ext uri="{FF2B5EF4-FFF2-40B4-BE49-F238E27FC236}">
                <a16:creationId xmlns:a16="http://schemas.microsoft.com/office/drawing/2014/main" id="{7F9D9526-5E1F-437F-892D-8B11C2B48392}"/>
              </a:ext>
            </a:extLst>
          </p:cNvPr>
          <p:cNvSpPr txBox="1"/>
          <p:nvPr/>
        </p:nvSpPr>
        <p:spPr>
          <a:xfrm>
            <a:off x="9777970" y="3724404"/>
            <a:ext cx="1679509" cy="661627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/>
              <a:t>Supporting text here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/>
              <a:t>……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400121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3" name="组合 982">
            <a:extLst>
              <a:ext uri="{FF2B5EF4-FFF2-40B4-BE49-F238E27FC236}">
                <a16:creationId xmlns:a16="http://schemas.microsoft.com/office/drawing/2014/main" id="{3EB1ED0C-4295-4BFA-9243-691A967532BC}"/>
              </a:ext>
            </a:extLst>
          </p:cNvPr>
          <p:cNvGrpSpPr/>
          <p:nvPr/>
        </p:nvGrpSpPr>
        <p:grpSpPr>
          <a:xfrm>
            <a:off x="8464065" y="4948027"/>
            <a:ext cx="3384703" cy="857400"/>
            <a:chOff x="1561641" y="900225"/>
            <a:chExt cx="3384703" cy="857400"/>
          </a:xfrm>
          <a:noFill/>
        </p:grpSpPr>
        <p:sp>
          <p:nvSpPr>
            <p:cNvPr id="984" name="矩形 983">
              <a:extLst>
                <a:ext uri="{FF2B5EF4-FFF2-40B4-BE49-F238E27FC236}">
                  <a16:creationId xmlns:a16="http://schemas.microsoft.com/office/drawing/2014/main" id="{28608996-DFC4-46C8-B69E-7EFC9B60439A}"/>
                </a:ext>
              </a:extLst>
            </p:cNvPr>
            <p:cNvSpPr/>
            <p:nvPr/>
          </p:nvSpPr>
          <p:spPr>
            <a:xfrm>
              <a:off x="1561641" y="900225"/>
              <a:ext cx="2185791" cy="830997"/>
            </a:xfrm>
            <a:prstGeom prst="rect">
              <a:avLst/>
            </a:prstGeom>
            <a:grpFill/>
          </p:spPr>
          <p:txBody>
            <a:bodyPr wrap="square" lIns="0" tIns="0" rIns="0" bIns="0">
              <a:spAutoFit/>
            </a:bodyPr>
            <a:lstStyle/>
            <a:p>
              <a:pPr lvl="0">
                <a:defRPr/>
              </a:pPr>
              <a:r>
                <a:rPr lang="zh-CN" altLang="en-US" sz="5400" b="1" kern="0" dirty="0">
                  <a:ln w="6350">
                    <a:noFill/>
                  </a:ln>
                  <a:solidFill>
                    <a:schemeClr val="accent1"/>
                  </a:solidFill>
                  <a:ea typeface="微软雅黑" panose="020B0503020204020204" pitchFamily="34" charset="-122"/>
                </a:rPr>
                <a:t>目录</a:t>
              </a:r>
              <a:endParaRPr lang="en-US" altLang="zh-CN" sz="5400" b="1" kern="0" dirty="0">
                <a:ln w="6350">
                  <a:noFill/>
                </a:ln>
                <a:solidFill>
                  <a:schemeClr val="accent1"/>
                </a:solidFill>
                <a:ea typeface="微软雅黑" panose="020B0503020204020204" pitchFamily="34" charset="-122"/>
              </a:endParaRPr>
            </a:p>
          </p:txBody>
        </p:sp>
        <p:sp>
          <p:nvSpPr>
            <p:cNvPr id="985" name="矩形 984">
              <a:extLst>
                <a:ext uri="{FF2B5EF4-FFF2-40B4-BE49-F238E27FC236}">
                  <a16:creationId xmlns:a16="http://schemas.microsoft.com/office/drawing/2014/main" id="{E0CEBDF9-4B82-439B-878E-E9E8AB60C466}"/>
                </a:ext>
              </a:extLst>
            </p:cNvPr>
            <p:cNvSpPr/>
            <p:nvPr/>
          </p:nvSpPr>
          <p:spPr>
            <a:xfrm>
              <a:off x="2983948" y="1295960"/>
              <a:ext cx="1962396" cy="461665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lvl="0" algn="ctr">
                <a:defRPr/>
              </a:pPr>
              <a:r>
                <a:rPr lang="en-US" altLang="zh-CN" sz="2400" kern="0" dirty="0">
                  <a:ln w="6350">
                    <a:noFill/>
                  </a:ln>
                  <a:solidFill>
                    <a:schemeClr val="accent1"/>
                  </a:solidFill>
                  <a:ea typeface="微软雅黑" panose="020B0503020204020204" pitchFamily="34" charset="-122"/>
                  <a:cs typeface="Arial" panose="020B0604020202020204" pitchFamily="34" charset="0"/>
                </a:rPr>
                <a:t>CONTENTS </a:t>
              </a:r>
              <a:endParaRPr lang="zh-CN" altLang="en-US" sz="2400" kern="0" dirty="0">
                <a:ln w="6350">
                  <a:noFill/>
                </a:ln>
                <a:solidFill>
                  <a:schemeClr val="accent1"/>
                </a:solidFill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986" name="íṣḻïďê">
            <a:extLst>
              <a:ext uri="{FF2B5EF4-FFF2-40B4-BE49-F238E27FC236}">
                <a16:creationId xmlns:a16="http://schemas.microsoft.com/office/drawing/2014/main" id="{BE1F9CF4-0D85-4DE3-B4B9-6592E7B4E5E4}"/>
              </a:ext>
            </a:extLst>
          </p:cNvPr>
          <p:cNvGrpSpPr/>
          <p:nvPr/>
        </p:nvGrpSpPr>
        <p:grpSpPr>
          <a:xfrm>
            <a:off x="1119960" y="1874864"/>
            <a:ext cx="4181476" cy="573999"/>
            <a:chOff x="6095999" y="1651734"/>
            <a:chExt cx="4181476" cy="573999"/>
          </a:xfrm>
        </p:grpSpPr>
        <p:sp>
          <p:nvSpPr>
            <p:cNvPr id="987" name="íS1íďè">
              <a:extLst>
                <a:ext uri="{FF2B5EF4-FFF2-40B4-BE49-F238E27FC236}">
                  <a16:creationId xmlns:a16="http://schemas.microsoft.com/office/drawing/2014/main" id="{893C4036-B8E6-4549-8CAD-BE4513E830D1}"/>
                </a:ext>
              </a:extLst>
            </p:cNvPr>
            <p:cNvSpPr/>
            <p:nvPr/>
          </p:nvSpPr>
          <p:spPr>
            <a:xfrm>
              <a:off x="6095999" y="1651734"/>
              <a:ext cx="638175" cy="573999"/>
            </a:xfrm>
            <a:prstGeom prst="rect">
              <a:avLst/>
            </a:prstGeom>
            <a:noFill/>
            <a:ln w="381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2400" b="1" dirty="0">
                  <a:solidFill>
                    <a:schemeClr val="accent1"/>
                  </a:solidFill>
                </a:rPr>
                <a:t>01.</a:t>
              </a:r>
              <a:endParaRPr lang="zh-CN" altLang="en-US" sz="2400" b="1" dirty="0">
                <a:solidFill>
                  <a:schemeClr val="accent1"/>
                </a:solidFill>
              </a:endParaRPr>
            </a:p>
          </p:txBody>
        </p:sp>
        <p:sp>
          <p:nvSpPr>
            <p:cNvPr id="988" name="ïSḻïḋè">
              <a:extLst>
                <a:ext uri="{FF2B5EF4-FFF2-40B4-BE49-F238E27FC236}">
                  <a16:creationId xmlns:a16="http://schemas.microsoft.com/office/drawing/2014/main" id="{2F3E04C2-FC04-4575-B792-20D14135E433}"/>
                </a:ext>
              </a:extLst>
            </p:cNvPr>
            <p:cNvSpPr/>
            <p:nvPr/>
          </p:nvSpPr>
          <p:spPr bwMode="auto">
            <a:xfrm>
              <a:off x="6800850" y="1687850"/>
              <a:ext cx="3476625" cy="501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zh-CN" altLang="en-US" sz="1400" dirty="0"/>
                <a:t>单击此处添加标题</a:t>
              </a:r>
              <a:endParaRPr lang="en-US" altLang="zh-CN" sz="1400" dirty="0"/>
            </a:p>
          </p:txBody>
        </p:sp>
      </p:grpSp>
      <p:grpSp>
        <p:nvGrpSpPr>
          <p:cNvPr id="989" name="ïṡľíḓê">
            <a:extLst>
              <a:ext uri="{FF2B5EF4-FFF2-40B4-BE49-F238E27FC236}">
                <a16:creationId xmlns:a16="http://schemas.microsoft.com/office/drawing/2014/main" id="{EB5683CE-B101-4C40-B4AA-D82C716465AA}"/>
              </a:ext>
            </a:extLst>
          </p:cNvPr>
          <p:cNvGrpSpPr/>
          <p:nvPr/>
        </p:nvGrpSpPr>
        <p:grpSpPr>
          <a:xfrm>
            <a:off x="1119960" y="2755689"/>
            <a:ext cx="4181476" cy="573999"/>
            <a:chOff x="6095999" y="2498467"/>
            <a:chExt cx="4181476" cy="573999"/>
          </a:xfrm>
        </p:grpSpPr>
        <p:sp>
          <p:nvSpPr>
            <p:cNvPr id="990" name="íśliḋè">
              <a:extLst>
                <a:ext uri="{FF2B5EF4-FFF2-40B4-BE49-F238E27FC236}">
                  <a16:creationId xmlns:a16="http://schemas.microsoft.com/office/drawing/2014/main" id="{0E898C74-0DFB-479C-B8FA-D79AA2B35924}"/>
                </a:ext>
              </a:extLst>
            </p:cNvPr>
            <p:cNvSpPr/>
            <p:nvPr/>
          </p:nvSpPr>
          <p:spPr>
            <a:xfrm>
              <a:off x="6095999" y="2498467"/>
              <a:ext cx="638175" cy="573999"/>
            </a:xfrm>
            <a:prstGeom prst="rect">
              <a:avLst/>
            </a:prstGeom>
            <a:noFill/>
            <a:ln w="381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2400" b="1" dirty="0">
                  <a:solidFill>
                    <a:schemeClr val="accent1"/>
                  </a:solidFill>
                </a:rPr>
                <a:t>02.</a:t>
              </a:r>
              <a:endParaRPr lang="zh-CN" altLang="en-US" sz="2400" b="1" dirty="0">
                <a:solidFill>
                  <a:schemeClr val="accent1"/>
                </a:solidFill>
              </a:endParaRPr>
            </a:p>
          </p:txBody>
        </p:sp>
        <p:sp>
          <p:nvSpPr>
            <p:cNvPr id="991" name="îṧļide">
              <a:extLst>
                <a:ext uri="{FF2B5EF4-FFF2-40B4-BE49-F238E27FC236}">
                  <a16:creationId xmlns:a16="http://schemas.microsoft.com/office/drawing/2014/main" id="{6E2C8D7D-1105-45CE-BD2C-C3E1031E1233}"/>
                </a:ext>
              </a:extLst>
            </p:cNvPr>
            <p:cNvSpPr/>
            <p:nvPr/>
          </p:nvSpPr>
          <p:spPr bwMode="auto">
            <a:xfrm>
              <a:off x="6800850" y="2534583"/>
              <a:ext cx="3476625" cy="501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zh-CN" altLang="en-US" sz="1400" dirty="0"/>
                <a:t>单击此处添加标题</a:t>
              </a:r>
              <a:endParaRPr lang="en-US" altLang="zh-CN" sz="1400" dirty="0"/>
            </a:p>
          </p:txBody>
        </p:sp>
      </p:grpSp>
      <p:grpSp>
        <p:nvGrpSpPr>
          <p:cNvPr id="992" name="îṥḷiḑê">
            <a:extLst>
              <a:ext uri="{FF2B5EF4-FFF2-40B4-BE49-F238E27FC236}">
                <a16:creationId xmlns:a16="http://schemas.microsoft.com/office/drawing/2014/main" id="{63AA5B56-E4BA-46CD-88F6-39A101DA2BD8}"/>
              </a:ext>
            </a:extLst>
          </p:cNvPr>
          <p:cNvGrpSpPr/>
          <p:nvPr/>
        </p:nvGrpSpPr>
        <p:grpSpPr>
          <a:xfrm>
            <a:off x="1119960" y="3636514"/>
            <a:ext cx="4181476" cy="573999"/>
            <a:chOff x="6095999" y="3345200"/>
            <a:chExt cx="4181476" cy="573999"/>
          </a:xfrm>
        </p:grpSpPr>
        <p:sp>
          <p:nvSpPr>
            <p:cNvPr id="993" name="í$ļîďè">
              <a:extLst>
                <a:ext uri="{FF2B5EF4-FFF2-40B4-BE49-F238E27FC236}">
                  <a16:creationId xmlns:a16="http://schemas.microsoft.com/office/drawing/2014/main" id="{A25FE1FD-1126-4F33-A377-F531A8EA1762}"/>
                </a:ext>
              </a:extLst>
            </p:cNvPr>
            <p:cNvSpPr/>
            <p:nvPr/>
          </p:nvSpPr>
          <p:spPr>
            <a:xfrm>
              <a:off x="6095999" y="3345200"/>
              <a:ext cx="638175" cy="573999"/>
            </a:xfrm>
            <a:prstGeom prst="rect">
              <a:avLst/>
            </a:prstGeom>
            <a:noFill/>
            <a:ln w="381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2400" b="1" dirty="0">
                  <a:solidFill>
                    <a:schemeClr val="accent1"/>
                  </a:solidFill>
                </a:rPr>
                <a:t>03.</a:t>
              </a:r>
              <a:endParaRPr lang="zh-CN" altLang="en-US" sz="2400" b="1" dirty="0">
                <a:solidFill>
                  <a:schemeClr val="accent1"/>
                </a:solidFill>
              </a:endParaRPr>
            </a:p>
          </p:txBody>
        </p:sp>
        <p:sp>
          <p:nvSpPr>
            <p:cNvPr id="994" name="ïş1îḍè">
              <a:extLst>
                <a:ext uri="{FF2B5EF4-FFF2-40B4-BE49-F238E27FC236}">
                  <a16:creationId xmlns:a16="http://schemas.microsoft.com/office/drawing/2014/main" id="{3271FC85-1546-44DF-ADB0-6C8DFD86D582}"/>
                </a:ext>
              </a:extLst>
            </p:cNvPr>
            <p:cNvSpPr/>
            <p:nvPr/>
          </p:nvSpPr>
          <p:spPr bwMode="auto">
            <a:xfrm>
              <a:off x="6800850" y="3381316"/>
              <a:ext cx="3476625" cy="501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zh-CN" altLang="en-US" sz="1400" dirty="0"/>
                <a:t>单击此处添加标题</a:t>
              </a:r>
              <a:endParaRPr lang="en-US" altLang="zh-CN" sz="1400" dirty="0"/>
            </a:p>
          </p:txBody>
        </p:sp>
      </p:grpSp>
      <p:grpSp>
        <p:nvGrpSpPr>
          <p:cNvPr id="995" name="îŝḷïḑe">
            <a:extLst>
              <a:ext uri="{FF2B5EF4-FFF2-40B4-BE49-F238E27FC236}">
                <a16:creationId xmlns:a16="http://schemas.microsoft.com/office/drawing/2014/main" id="{A5456228-D334-45B6-B80E-12D5BE1453B6}"/>
              </a:ext>
            </a:extLst>
          </p:cNvPr>
          <p:cNvGrpSpPr/>
          <p:nvPr/>
        </p:nvGrpSpPr>
        <p:grpSpPr>
          <a:xfrm>
            <a:off x="6388647" y="1871472"/>
            <a:ext cx="4181476" cy="573999"/>
            <a:chOff x="6095999" y="4191933"/>
            <a:chExt cx="4181476" cy="573999"/>
          </a:xfrm>
        </p:grpSpPr>
        <p:sp>
          <p:nvSpPr>
            <p:cNvPr id="996" name="íṩļiḍè">
              <a:extLst>
                <a:ext uri="{FF2B5EF4-FFF2-40B4-BE49-F238E27FC236}">
                  <a16:creationId xmlns:a16="http://schemas.microsoft.com/office/drawing/2014/main" id="{4ADB33A0-20BD-4CE8-92DF-93A85CC5FC9C}"/>
                </a:ext>
              </a:extLst>
            </p:cNvPr>
            <p:cNvSpPr/>
            <p:nvPr/>
          </p:nvSpPr>
          <p:spPr>
            <a:xfrm>
              <a:off x="6095999" y="4191933"/>
              <a:ext cx="638175" cy="573999"/>
            </a:xfrm>
            <a:prstGeom prst="rect">
              <a:avLst/>
            </a:prstGeom>
            <a:noFill/>
            <a:ln w="381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2400" b="1" dirty="0">
                  <a:solidFill>
                    <a:schemeClr val="accent1"/>
                  </a:solidFill>
                </a:rPr>
                <a:t>04.</a:t>
              </a:r>
              <a:endParaRPr lang="zh-CN" altLang="en-US" sz="2400" b="1" dirty="0">
                <a:solidFill>
                  <a:schemeClr val="accent1"/>
                </a:solidFill>
              </a:endParaRPr>
            </a:p>
          </p:txBody>
        </p:sp>
        <p:sp>
          <p:nvSpPr>
            <p:cNvPr id="997" name="í$ľïḍé">
              <a:extLst>
                <a:ext uri="{FF2B5EF4-FFF2-40B4-BE49-F238E27FC236}">
                  <a16:creationId xmlns:a16="http://schemas.microsoft.com/office/drawing/2014/main" id="{C8157CD6-36C0-4BED-841A-451F25E02AC9}"/>
                </a:ext>
              </a:extLst>
            </p:cNvPr>
            <p:cNvSpPr/>
            <p:nvPr/>
          </p:nvSpPr>
          <p:spPr bwMode="auto">
            <a:xfrm>
              <a:off x="6800850" y="4228049"/>
              <a:ext cx="3476625" cy="501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zh-CN" altLang="en-US" sz="1400" dirty="0"/>
                <a:t>单击此处添加标题</a:t>
              </a:r>
              <a:endParaRPr lang="en-US" altLang="zh-CN" sz="1400" dirty="0"/>
            </a:p>
          </p:txBody>
        </p:sp>
      </p:grpSp>
      <p:grpSp>
        <p:nvGrpSpPr>
          <p:cNvPr id="998" name="îsļïḍè">
            <a:extLst>
              <a:ext uri="{FF2B5EF4-FFF2-40B4-BE49-F238E27FC236}">
                <a16:creationId xmlns:a16="http://schemas.microsoft.com/office/drawing/2014/main" id="{C7777829-4E1A-4FDE-800F-ECCC41691B62}"/>
              </a:ext>
            </a:extLst>
          </p:cNvPr>
          <p:cNvGrpSpPr/>
          <p:nvPr/>
        </p:nvGrpSpPr>
        <p:grpSpPr>
          <a:xfrm>
            <a:off x="6388647" y="2752296"/>
            <a:ext cx="4181476" cy="573999"/>
            <a:chOff x="6095999" y="5038667"/>
            <a:chExt cx="4181476" cy="573999"/>
          </a:xfrm>
        </p:grpSpPr>
        <p:sp>
          <p:nvSpPr>
            <p:cNvPr id="999" name="i$ļiḋè">
              <a:extLst>
                <a:ext uri="{FF2B5EF4-FFF2-40B4-BE49-F238E27FC236}">
                  <a16:creationId xmlns:a16="http://schemas.microsoft.com/office/drawing/2014/main" id="{CB64BD71-BA11-45FE-8A23-C8E9957FD15A}"/>
                </a:ext>
              </a:extLst>
            </p:cNvPr>
            <p:cNvSpPr/>
            <p:nvPr/>
          </p:nvSpPr>
          <p:spPr>
            <a:xfrm>
              <a:off x="6095999" y="5038667"/>
              <a:ext cx="638175" cy="573999"/>
            </a:xfrm>
            <a:prstGeom prst="rect">
              <a:avLst/>
            </a:prstGeom>
            <a:noFill/>
            <a:ln w="381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2400" b="1" dirty="0">
                  <a:solidFill>
                    <a:schemeClr val="accent1"/>
                  </a:solidFill>
                </a:rPr>
                <a:t>05.</a:t>
              </a:r>
              <a:endParaRPr lang="zh-CN" altLang="en-US" sz="2400" b="1" dirty="0">
                <a:solidFill>
                  <a:schemeClr val="accent1"/>
                </a:solidFill>
              </a:endParaRPr>
            </a:p>
          </p:txBody>
        </p:sp>
        <p:sp>
          <p:nvSpPr>
            <p:cNvPr id="1000" name="i$ḻiďé">
              <a:extLst>
                <a:ext uri="{FF2B5EF4-FFF2-40B4-BE49-F238E27FC236}">
                  <a16:creationId xmlns:a16="http://schemas.microsoft.com/office/drawing/2014/main" id="{7DEC7290-CB56-4FAF-8052-A83B9A74C536}"/>
                </a:ext>
              </a:extLst>
            </p:cNvPr>
            <p:cNvSpPr/>
            <p:nvPr/>
          </p:nvSpPr>
          <p:spPr bwMode="auto">
            <a:xfrm>
              <a:off x="6800850" y="5074783"/>
              <a:ext cx="3476625" cy="501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zh-CN" altLang="en-US" sz="1400" dirty="0"/>
                <a:t>单击此处添加标题</a:t>
              </a:r>
              <a:endParaRPr lang="en-US" altLang="zh-CN" sz="1400" dirty="0"/>
            </a:p>
          </p:txBody>
        </p:sp>
      </p:grpSp>
      <p:cxnSp>
        <p:nvCxnSpPr>
          <p:cNvPr id="1001" name="直接连接符 1000">
            <a:extLst>
              <a:ext uri="{FF2B5EF4-FFF2-40B4-BE49-F238E27FC236}">
                <a16:creationId xmlns:a16="http://schemas.microsoft.com/office/drawing/2014/main" id="{FD19DF36-DF77-477E-8AFE-548FCCC046D5}"/>
              </a:ext>
            </a:extLst>
          </p:cNvPr>
          <p:cNvCxnSpPr/>
          <p:nvPr/>
        </p:nvCxnSpPr>
        <p:spPr>
          <a:xfrm>
            <a:off x="1939111" y="2602276"/>
            <a:ext cx="371475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2" name="直接连接符 1001">
            <a:extLst>
              <a:ext uri="{FF2B5EF4-FFF2-40B4-BE49-F238E27FC236}">
                <a16:creationId xmlns:a16="http://schemas.microsoft.com/office/drawing/2014/main" id="{6A802E78-F7FD-403D-8718-5867EF6B2560}"/>
              </a:ext>
            </a:extLst>
          </p:cNvPr>
          <p:cNvCxnSpPr/>
          <p:nvPr/>
        </p:nvCxnSpPr>
        <p:spPr>
          <a:xfrm>
            <a:off x="1939111" y="3483101"/>
            <a:ext cx="371475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3" name="直接连接符 1002">
            <a:extLst>
              <a:ext uri="{FF2B5EF4-FFF2-40B4-BE49-F238E27FC236}">
                <a16:creationId xmlns:a16="http://schemas.microsoft.com/office/drawing/2014/main" id="{05F38EEC-DC65-4D3C-B7E5-096BF00D292D}"/>
              </a:ext>
            </a:extLst>
          </p:cNvPr>
          <p:cNvCxnSpPr/>
          <p:nvPr/>
        </p:nvCxnSpPr>
        <p:spPr>
          <a:xfrm>
            <a:off x="7207798" y="2598884"/>
            <a:ext cx="371475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4" name="等腰三角形 1003">
            <a:extLst>
              <a:ext uri="{FF2B5EF4-FFF2-40B4-BE49-F238E27FC236}">
                <a16:creationId xmlns:a16="http://schemas.microsoft.com/office/drawing/2014/main" id="{F6757492-B973-4EB6-857F-E06D13ED655A}"/>
              </a:ext>
            </a:extLst>
          </p:cNvPr>
          <p:cNvSpPr/>
          <p:nvPr/>
        </p:nvSpPr>
        <p:spPr>
          <a:xfrm>
            <a:off x="10054771" y="5176722"/>
            <a:ext cx="188684" cy="162659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06" name="矩形 1005">
            <a:extLst>
              <a:ext uri="{FF2B5EF4-FFF2-40B4-BE49-F238E27FC236}">
                <a16:creationId xmlns:a16="http://schemas.microsoft.com/office/drawing/2014/main" id="{02BD3648-B63C-4F0D-ABC1-3A766049C32E}"/>
              </a:ext>
            </a:extLst>
          </p:cNvPr>
          <p:cNvSpPr/>
          <p:nvPr/>
        </p:nvSpPr>
        <p:spPr>
          <a:xfrm>
            <a:off x="4083051" y="5153758"/>
            <a:ext cx="2041525" cy="618005"/>
          </a:xfrm>
          <a:prstGeom prst="rect">
            <a:avLst/>
          </a:prstGeom>
          <a:blipFill>
            <a:blip r:embed="rId3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07" name="矩形 1006">
            <a:extLst>
              <a:ext uri="{FF2B5EF4-FFF2-40B4-BE49-F238E27FC236}">
                <a16:creationId xmlns:a16="http://schemas.microsoft.com/office/drawing/2014/main" id="{673F51C1-4FDA-4EEF-83EF-E3CBC937D461}"/>
              </a:ext>
            </a:extLst>
          </p:cNvPr>
          <p:cNvSpPr/>
          <p:nvPr/>
        </p:nvSpPr>
        <p:spPr>
          <a:xfrm>
            <a:off x="6124575" y="5153758"/>
            <a:ext cx="2041525" cy="618005"/>
          </a:xfrm>
          <a:prstGeom prst="rect">
            <a:avLst/>
          </a:prstGeom>
          <a:blipFill>
            <a:blip r:embed="rId4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08" name="矩形 1007">
            <a:extLst>
              <a:ext uri="{FF2B5EF4-FFF2-40B4-BE49-F238E27FC236}">
                <a16:creationId xmlns:a16="http://schemas.microsoft.com/office/drawing/2014/main" id="{A46B14A5-3503-49CB-93EC-F0FD6CE5626C}"/>
              </a:ext>
            </a:extLst>
          </p:cNvPr>
          <p:cNvSpPr/>
          <p:nvPr/>
        </p:nvSpPr>
        <p:spPr>
          <a:xfrm>
            <a:off x="2041527" y="5153758"/>
            <a:ext cx="2041525" cy="618005"/>
          </a:xfrm>
          <a:prstGeom prst="rect">
            <a:avLst/>
          </a:prstGeom>
          <a:blipFill>
            <a:blip r:embed="rId5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09" name="矩形 1008">
            <a:extLst>
              <a:ext uri="{FF2B5EF4-FFF2-40B4-BE49-F238E27FC236}">
                <a16:creationId xmlns:a16="http://schemas.microsoft.com/office/drawing/2014/main" id="{701AAC92-F15C-4266-9400-D641C9A96432}"/>
              </a:ext>
            </a:extLst>
          </p:cNvPr>
          <p:cNvSpPr/>
          <p:nvPr/>
        </p:nvSpPr>
        <p:spPr>
          <a:xfrm>
            <a:off x="0" y="5153758"/>
            <a:ext cx="2041525" cy="618005"/>
          </a:xfrm>
          <a:prstGeom prst="rect">
            <a:avLst/>
          </a:prstGeom>
          <a:blipFill>
            <a:blip r:embed="rId6" cstate="screen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010" name="组合 1009">
            <a:extLst>
              <a:ext uri="{FF2B5EF4-FFF2-40B4-BE49-F238E27FC236}">
                <a16:creationId xmlns:a16="http://schemas.microsoft.com/office/drawing/2014/main" id="{F6606325-DC81-487B-9D04-72F8393923CD}"/>
              </a:ext>
            </a:extLst>
          </p:cNvPr>
          <p:cNvGrpSpPr/>
          <p:nvPr/>
        </p:nvGrpSpPr>
        <p:grpSpPr>
          <a:xfrm>
            <a:off x="9708290" y="569958"/>
            <a:ext cx="1812197" cy="410323"/>
            <a:chOff x="7537450" y="-861601"/>
            <a:chExt cx="2669040" cy="604332"/>
          </a:xfrm>
        </p:grpSpPr>
        <p:grpSp>
          <p:nvGrpSpPr>
            <p:cNvPr id="1011" name="图形 7">
              <a:extLst>
                <a:ext uri="{FF2B5EF4-FFF2-40B4-BE49-F238E27FC236}">
                  <a16:creationId xmlns:a16="http://schemas.microsoft.com/office/drawing/2014/main" id="{3A2474AF-2556-4959-932A-D33B7DDEC807}"/>
                </a:ext>
              </a:extLst>
            </p:cNvPr>
            <p:cNvGrpSpPr/>
            <p:nvPr/>
          </p:nvGrpSpPr>
          <p:grpSpPr>
            <a:xfrm>
              <a:off x="7537450" y="-861601"/>
              <a:ext cx="604826" cy="604332"/>
              <a:chOff x="1948711" y="3428943"/>
              <a:chExt cx="3240058" cy="3237414"/>
            </a:xfrm>
          </p:grpSpPr>
          <p:grpSp>
            <p:nvGrpSpPr>
              <p:cNvPr id="1070" name="图形 7">
                <a:extLst>
                  <a:ext uri="{FF2B5EF4-FFF2-40B4-BE49-F238E27FC236}">
                    <a16:creationId xmlns:a16="http://schemas.microsoft.com/office/drawing/2014/main" id="{15CEE353-EACF-462E-BFD9-4C42B716FC45}"/>
                  </a:ext>
                </a:extLst>
              </p:cNvPr>
              <p:cNvGrpSpPr/>
              <p:nvPr/>
            </p:nvGrpSpPr>
            <p:grpSpPr>
              <a:xfrm>
                <a:off x="1948711" y="3428943"/>
                <a:ext cx="3240058" cy="3237414"/>
                <a:chOff x="1948710" y="3428943"/>
                <a:chExt cx="3240058" cy="3237414"/>
              </a:xfrm>
              <a:solidFill>
                <a:srgbClr val="00993E"/>
              </a:solidFill>
            </p:grpSpPr>
            <p:sp>
              <p:nvSpPr>
                <p:cNvPr id="1149" name="任意多边形: 形状 1148">
                  <a:extLst>
                    <a:ext uri="{FF2B5EF4-FFF2-40B4-BE49-F238E27FC236}">
                      <a16:creationId xmlns:a16="http://schemas.microsoft.com/office/drawing/2014/main" id="{12DF0379-A956-4DF7-AF00-3E3775798A6F}"/>
                    </a:ext>
                  </a:extLst>
                </p:cNvPr>
                <p:cNvSpPr/>
                <p:nvPr/>
              </p:nvSpPr>
              <p:spPr>
                <a:xfrm>
                  <a:off x="1949069" y="3428943"/>
                  <a:ext cx="3239642" cy="3237414"/>
                </a:xfrm>
                <a:custGeom>
                  <a:avLst/>
                  <a:gdLst>
                    <a:gd name="connsiteX0" fmla="*/ 1612202 w 3239642"/>
                    <a:gd name="connsiteY0" fmla="*/ 3167977 h 3237414"/>
                    <a:gd name="connsiteX1" fmla="*/ 1660779 w 3239642"/>
                    <a:gd name="connsiteY1" fmla="*/ 3164357 h 3237414"/>
                    <a:gd name="connsiteX2" fmla="*/ 1785557 w 3239642"/>
                    <a:gd name="connsiteY2" fmla="*/ 3155309 h 3237414"/>
                    <a:gd name="connsiteX3" fmla="*/ 2056067 w 3239642"/>
                    <a:gd name="connsiteY3" fmla="*/ 3099683 h 3237414"/>
                    <a:gd name="connsiteX4" fmla="*/ 3034665 w 3239642"/>
                    <a:gd name="connsiteY4" fmla="*/ 2211286 h 3237414"/>
                    <a:gd name="connsiteX5" fmla="*/ 3135344 w 3239642"/>
                    <a:gd name="connsiteY5" fmla="*/ 1836953 h 3237414"/>
                    <a:gd name="connsiteX6" fmla="*/ 3147346 w 3239642"/>
                    <a:gd name="connsiteY6" fmla="*/ 1676266 h 3237414"/>
                    <a:gd name="connsiteX7" fmla="*/ 3141345 w 3239642"/>
                    <a:gd name="connsiteY7" fmla="*/ 1467288 h 3237414"/>
                    <a:gd name="connsiteX8" fmla="*/ 3037713 w 3239642"/>
                    <a:gd name="connsiteY8" fmla="*/ 1055332 h 3237414"/>
                    <a:gd name="connsiteX9" fmla="*/ 1612202 w 3239642"/>
                    <a:gd name="connsiteY9" fmla="*/ 90544 h 3237414"/>
                    <a:gd name="connsiteX10" fmla="*/ 1612202 w 3239642"/>
                    <a:gd name="connsiteY10" fmla="*/ 152 h 3237414"/>
                    <a:gd name="connsiteX11" fmla="*/ 3118961 w 3239642"/>
                    <a:gd name="connsiteY11" fmla="*/ 1014851 h 3237414"/>
                    <a:gd name="connsiteX12" fmla="*/ 3227070 w 3239642"/>
                    <a:gd name="connsiteY12" fmla="*/ 1438808 h 3237414"/>
                    <a:gd name="connsiteX13" fmla="*/ 3234690 w 3239642"/>
                    <a:gd name="connsiteY13" fmla="*/ 1566539 h 3237414"/>
                    <a:gd name="connsiteX14" fmla="*/ 3239643 w 3239642"/>
                    <a:gd name="connsiteY14" fmla="*/ 1632261 h 3237414"/>
                    <a:gd name="connsiteX15" fmla="*/ 3239643 w 3239642"/>
                    <a:gd name="connsiteY15" fmla="*/ 1646168 h 3237414"/>
                    <a:gd name="connsiteX16" fmla="*/ 3227070 w 3239642"/>
                    <a:gd name="connsiteY16" fmla="*/ 1780089 h 3237414"/>
                    <a:gd name="connsiteX17" fmla="*/ 3210497 w 3239642"/>
                    <a:gd name="connsiteY17" fmla="*/ 1907724 h 3237414"/>
                    <a:gd name="connsiteX18" fmla="*/ 3112675 w 3239642"/>
                    <a:gd name="connsiteY18" fmla="*/ 2238527 h 3237414"/>
                    <a:gd name="connsiteX19" fmla="*/ 2095119 w 3239642"/>
                    <a:gd name="connsiteY19" fmla="*/ 3162929 h 3237414"/>
                    <a:gd name="connsiteX20" fmla="*/ 1823180 w 3239642"/>
                    <a:gd name="connsiteY20" fmla="*/ 3221507 h 3237414"/>
                    <a:gd name="connsiteX21" fmla="*/ 1669733 w 3239642"/>
                    <a:gd name="connsiteY21" fmla="*/ 3233604 h 3237414"/>
                    <a:gd name="connsiteX22" fmla="*/ 1612202 w 3239642"/>
                    <a:gd name="connsiteY22" fmla="*/ 3237414 h 3237414"/>
                    <a:gd name="connsiteX23" fmla="*/ 1612202 w 3239642"/>
                    <a:gd name="connsiteY23" fmla="*/ 3167977 h 3237414"/>
                    <a:gd name="connsiteX24" fmla="*/ 1391793 w 3239642"/>
                    <a:gd name="connsiteY24" fmla="*/ 105499 h 3237414"/>
                    <a:gd name="connsiteX25" fmla="*/ 1082231 w 3239642"/>
                    <a:gd name="connsiteY25" fmla="*/ 183604 h 3237414"/>
                    <a:gd name="connsiteX26" fmla="*/ 160687 w 3239642"/>
                    <a:gd name="connsiteY26" fmla="*/ 1118768 h 3237414"/>
                    <a:gd name="connsiteX27" fmla="*/ 90107 w 3239642"/>
                    <a:gd name="connsiteY27" fmla="*/ 1407185 h 3237414"/>
                    <a:gd name="connsiteX28" fmla="*/ 136684 w 3239642"/>
                    <a:gd name="connsiteY28" fmla="*/ 2054981 h 3237414"/>
                    <a:gd name="connsiteX29" fmla="*/ 990410 w 3239642"/>
                    <a:gd name="connsiteY29" fmla="*/ 3032055 h 3237414"/>
                    <a:gd name="connsiteX30" fmla="*/ 1283494 w 3239642"/>
                    <a:gd name="connsiteY30" fmla="*/ 3129877 h 3237414"/>
                    <a:gd name="connsiteX31" fmla="*/ 1451801 w 3239642"/>
                    <a:gd name="connsiteY31" fmla="*/ 3155404 h 3237414"/>
                    <a:gd name="connsiteX32" fmla="*/ 1612202 w 3239642"/>
                    <a:gd name="connsiteY32" fmla="*/ 3168072 h 3237414"/>
                    <a:gd name="connsiteX33" fmla="*/ 1612202 w 3239642"/>
                    <a:gd name="connsiteY33" fmla="*/ 3237319 h 3237414"/>
                    <a:gd name="connsiteX34" fmla="*/ 1456277 w 3239642"/>
                    <a:gd name="connsiteY34" fmla="*/ 3224555 h 3237414"/>
                    <a:gd name="connsiteX35" fmla="*/ 1304639 w 3239642"/>
                    <a:gd name="connsiteY35" fmla="*/ 3203600 h 3237414"/>
                    <a:gd name="connsiteX36" fmla="*/ 981361 w 3239642"/>
                    <a:gd name="connsiteY36" fmla="*/ 3101302 h 3237414"/>
                    <a:gd name="connsiteX37" fmla="*/ 68961 w 3239642"/>
                    <a:gd name="connsiteY37" fmla="*/ 2071649 h 3237414"/>
                    <a:gd name="connsiteX38" fmla="*/ 0 w 3239642"/>
                    <a:gd name="connsiteY38" fmla="*/ 1637309 h 3237414"/>
                    <a:gd name="connsiteX39" fmla="*/ 0 w 3239642"/>
                    <a:gd name="connsiteY39" fmla="*/ 1568539 h 3237414"/>
                    <a:gd name="connsiteX40" fmla="*/ 18002 w 3239642"/>
                    <a:gd name="connsiteY40" fmla="*/ 1390707 h 3237414"/>
                    <a:gd name="connsiteX41" fmla="*/ 88583 w 3239642"/>
                    <a:gd name="connsiteY41" fmla="*/ 1094575 h 3237414"/>
                    <a:gd name="connsiteX42" fmla="*/ 1071563 w 3239642"/>
                    <a:gd name="connsiteY42" fmla="*/ 94926 h 3237414"/>
                    <a:gd name="connsiteX43" fmla="*/ 1393317 w 3239642"/>
                    <a:gd name="connsiteY43" fmla="*/ 15202 h 3237414"/>
                    <a:gd name="connsiteX44" fmla="*/ 1569053 w 3239642"/>
                    <a:gd name="connsiteY44" fmla="*/ 247 h 3237414"/>
                    <a:gd name="connsiteX45" fmla="*/ 1612106 w 3239642"/>
                    <a:gd name="connsiteY45" fmla="*/ 57 h 3237414"/>
                    <a:gd name="connsiteX46" fmla="*/ 1612106 w 3239642"/>
                    <a:gd name="connsiteY46" fmla="*/ 90544 h 3237414"/>
                    <a:gd name="connsiteX47" fmla="*/ 1562957 w 3239642"/>
                    <a:gd name="connsiteY47" fmla="*/ 90544 h 3237414"/>
                    <a:gd name="connsiteX48" fmla="*/ 1391793 w 3239642"/>
                    <a:gd name="connsiteY48" fmla="*/ 105499 h 32374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3239642" h="3237414">
                      <a:moveTo>
                        <a:pt x="1612202" y="3167977"/>
                      </a:moveTo>
                      <a:cubicBezTo>
                        <a:pt x="1630394" y="3167786"/>
                        <a:pt x="1647158" y="3166548"/>
                        <a:pt x="1660779" y="3164357"/>
                      </a:cubicBezTo>
                      <a:cubicBezTo>
                        <a:pt x="1702308" y="3161309"/>
                        <a:pt x="1743932" y="3158356"/>
                        <a:pt x="1785557" y="3155309"/>
                      </a:cubicBezTo>
                      <a:cubicBezTo>
                        <a:pt x="1881378" y="3137973"/>
                        <a:pt x="1971389" y="3126257"/>
                        <a:pt x="2056067" y="3099683"/>
                      </a:cubicBezTo>
                      <a:cubicBezTo>
                        <a:pt x="2522982" y="2953188"/>
                        <a:pt x="2851976" y="2642292"/>
                        <a:pt x="3034665" y="2211286"/>
                      </a:cubicBezTo>
                      <a:cubicBezTo>
                        <a:pt x="3082671" y="2097938"/>
                        <a:pt x="3109436" y="1974113"/>
                        <a:pt x="3135344" y="1836953"/>
                      </a:cubicBezTo>
                      <a:cubicBezTo>
                        <a:pt x="3145155" y="1784852"/>
                        <a:pt x="3138011" y="1732654"/>
                        <a:pt x="3147346" y="1676266"/>
                      </a:cubicBezTo>
                      <a:cubicBezTo>
                        <a:pt x="3156966" y="1617974"/>
                        <a:pt x="3150965" y="1521581"/>
                        <a:pt x="3141345" y="1467288"/>
                      </a:cubicBezTo>
                      <a:cubicBezTo>
                        <a:pt x="3114294" y="1312983"/>
                        <a:pt x="3088767" y="1179633"/>
                        <a:pt x="3037713" y="1055332"/>
                      </a:cubicBezTo>
                      <a:cubicBezTo>
                        <a:pt x="2825972" y="540410"/>
                        <a:pt x="2338578" y="99307"/>
                        <a:pt x="1612202" y="90544"/>
                      </a:cubicBezTo>
                      <a:lnTo>
                        <a:pt x="1612202" y="152"/>
                      </a:lnTo>
                      <a:cubicBezTo>
                        <a:pt x="2379821" y="6439"/>
                        <a:pt x="2895791" y="471449"/>
                        <a:pt x="3118961" y="1014851"/>
                      </a:cubicBezTo>
                      <a:cubicBezTo>
                        <a:pt x="3171444" y="1142962"/>
                        <a:pt x="3198781" y="1280217"/>
                        <a:pt x="3227070" y="1438808"/>
                      </a:cubicBezTo>
                      <a:cubicBezTo>
                        <a:pt x="3229547" y="1481385"/>
                        <a:pt x="3232118" y="1524057"/>
                        <a:pt x="3234690" y="1566539"/>
                      </a:cubicBezTo>
                      <a:cubicBezTo>
                        <a:pt x="3237929" y="1586922"/>
                        <a:pt x="3239453" y="1609306"/>
                        <a:pt x="3239643" y="1632261"/>
                      </a:cubicBezTo>
                      <a:lnTo>
                        <a:pt x="3239643" y="1646168"/>
                      </a:lnTo>
                      <a:cubicBezTo>
                        <a:pt x="3239167" y="1693697"/>
                        <a:pt x="3233642" y="1742561"/>
                        <a:pt x="3227070" y="1780089"/>
                      </a:cubicBezTo>
                      <a:cubicBezTo>
                        <a:pt x="3221641" y="1822666"/>
                        <a:pt x="3216021" y="1865243"/>
                        <a:pt x="3210497" y="1907724"/>
                      </a:cubicBezTo>
                      <a:cubicBezTo>
                        <a:pt x="3184112" y="2026787"/>
                        <a:pt x="3155918" y="2136800"/>
                        <a:pt x="3112675" y="2238527"/>
                      </a:cubicBezTo>
                      <a:cubicBezTo>
                        <a:pt x="2923604" y="2684297"/>
                        <a:pt x="2577370" y="3010529"/>
                        <a:pt x="2095119" y="3162929"/>
                      </a:cubicBezTo>
                      <a:cubicBezTo>
                        <a:pt x="2009775" y="3189980"/>
                        <a:pt x="1919097" y="3203696"/>
                        <a:pt x="1823180" y="3221507"/>
                      </a:cubicBezTo>
                      <a:cubicBezTo>
                        <a:pt x="1771936" y="3225508"/>
                        <a:pt x="1720977" y="3229604"/>
                        <a:pt x="1669733" y="3233604"/>
                      </a:cubicBezTo>
                      <a:cubicBezTo>
                        <a:pt x="1653826" y="3236271"/>
                        <a:pt x="1634014" y="3237319"/>
                        <a:pt x="1612202" y="3237414"/>
                      </a:cubicBezTo>
                      <a:lnTo>
                        <a:pt x="1612202" y="3167977"/>
                      </a:lnTo>
                      <a:close/>
                      <a:moveTo>
                        <a:pt x="1391793" y="105499"/>
                      </a:moveTo>
                      <a:cubicBezTo>
                        <a:pt x="1281113" y="127120"/>
                        <a:pt x="1177099" y="146551"/>
                        <a:pt x="1082231" y="183604"/>
                      </a:cubicBezTo>
                      <a:cubicBezTo>
                        <a:pt x="632269" y="359245"/>
                        <a:pt x="335947" y="667759"/>
                        <a:pt x="160687" y="1118768"/>
                      </a:cubicBezTo>
                      <a:cubicBezTo>
                        <a:pt x="126397" y="1206779"/>
                        <a:pt x="109823" y="1305173"/>
                        <a:pt x="90107" y="1407185"/>
                      </a:cubicBezTo>
                      <a:cubicBezTo>
                        <a:pt x="48482" y="1621688"/>
                        <a:pt x="84582" y="1883912"/>
                        <a:pt x="136684" y="2054981"/>
                      </a:cubicBezTo>
                      <a:cubicBezTo>
                        <a:pt x="277654" y="2517134"/>
                        <a:pt x="571595" y="2848604"/>
                        <a:pt x="990410" y="3032055"/>
                      </a:cubicBezTo>
                      <a:cubicBezTo>
                        <a:pt x="1080516" y="3071584"/>
                        <a:pt x="1178243" y="3103588"/>
                        <a:pt x="1283494" y="3129877"/>
                      </a:cubicBezTo>
                      <a:cubicBezTo>
                        <a:pt x="1338167" y="3143402"/>
                        <a:pt x="1392460" y="3144926"/>
                        <a:pt x="1451801" y="3155404"/>
                      </a:cubicBezTo>
                      <a:cubicBezTo>
                        <a:pt x="1487424" y="3161690"/>
                        <a:pt x="1556671" y="3168929"/>
                        <a:pt x="1612202" y="3168072"/>
                      </a:cubicBezTo>
                      <a:lnTo>
                        <a:pt x="1612202" y="3237319"/>
                      </a:lnTo>
                      <a:cubicBezTo>
                        <a:pt x="1557052" y="3237319"/>
                        <a:pt x="1491139" y="3230556"/>
                        <a:pt x="1456277" y="3224555"/>
                      </a:cubicBezTo>
                      <a:cubicBezTo>
                        <a:pt x="1402747" y="3215316"/>
                        <a:pt x="1354265" y="3214649"/>
                        <a:pt x="1304639" y="3203600"/>
                      </a:cubicBezTo>
                      <a:cubicBezTo>
                        <a:pt x="1187672" y="3177311"/>
                        <a:pt x="1080230" y="3143783"/>
                        <a:pt x="981361" y="3101302"/>
                      </a:cubicBezTo>
                      <a:cubicBezTo>
                        <a:pt x="534448" y="2908516"/>
                        <a:pt x="219170" y="2561520"/>
                        <a:pt x="68961" y="2071649"/>
                      </a:cubicBezTo>
                      <a:cubicBezTo>
                        <a:pt x="32861" y="1953730"/>
                        <a:pt x="3715" y="1795900"/>
                        <a:pt x="0" y="1637309"/>
                      </a:cubicBezTo>
                      <a:lnTo>
                        <a:pt x="0" y="1568539"/>
                      </a:lnTo>
                      <a:cubicBezTo>
                        <a:pt x="1524" y="1507865"/>
                        <a:pt x="7144" y="1447857"/>
                        <a:pt x="18002" y="1390707"/>
                      </a:cubicBezTo>
                      <a:cubicBezTo>
                        <a:pt x="37528" y="1286408"/>
                        <a:pt x="53531" y="1184872"/>
                        <a:pt x="88583" y="1094575"/>
                      </a:cubicBezTo>
                      <a:cubicBezTo>
                        <a:pt x="278797" y="604799"/>
                        <a:pt x="582644" y="285426"/>
                        <a:pt x="1071563" y="94926"/>
                      </a:cubicBezTo>
                      <a:cubicBezTo>
                        <a:pt x="1169861" y="56635"/>
                        <a:pt x="1278445" y="36919"/>
                        <a:pt x="1393317" y="15202"/>
                      </a:cubicBezTo>
                      <a:cubicBezTo>
                        <a:pt x="1451801" y="10249"/>
                        <a:pt x="1510474" y="5200"/>
                        <a:pt x="1569053" y="247"/>
                      </a:cubicBezTo>
                      <a:cubicBezTo>
                        <a:pt x="1583531" y="-38"/>
                        <a:pt x="1597819" y="-38"/>
                        <a:pt x="1612106" y="57"/>
                      </a:cubicBezTo>
                      <a:lnTo>
                        <a:pt x="1612106" y="90544"/>
                      </a:lnTo>
                      <a:cubicBezTo>
                        <a:pt x="1595914" y="90259"/>
                        <a:pt x="1579436" y="90259"/>
                        <a:pt x="1562957" y="90544"/>
                      </a:cubicBezTo>
                      <a:cubicBezTo>
                        <a:pt x="1505903" y="95593"/>
                        <a:pt x="1448848" y="100450"/>
                        <a:pt x="1391793" y="105499"/>
                      </a:cubicBezTo>
                      <a:close/>
                    </a:path>
                  </a:pathLst>
                </a:custGeom>
                <a:solidFill>
                  <a:srgbClr val="00993E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50" name="任意多边形: 形状 1149">
                  <a:extLst>
                    <a:ext uri="{FF2B5EF4-FFF2-40B4-BE49-F238E27FC236}">
                      <a16:creationId xmlns:a16="http://schemas.microsoft.com/office/drawing/2014/main" id="{3372E29D-5FA3-4130-90FF-1188D42D2C87}"/>
                    </a:ext>
                  </a:extLst>
                </p:cNvPr>
                <p:cNvSpPr/>
                <p:nvPr/>
              </p:nvSpPr>
              <p:spPr>
                <a:xfrm>
                  <a:off x="1948710" y="3429082"/>
                  <a:ext cx="3240058" cy="3237140"/>
                </a:xfrm>
                <a:custGeom>
                  <a:avLst/>
                  <a:gdLst>
                    <a:gd name="connsiteX0" fmla="*/ 1392152 w 3240058"/>
                    <a:gd name="connsiteY0" fmla="*/ 105359 h 3237140"/>
                    <a:gd name="connsiteX1" fmla="*/ 1082589 w 3240058"/>
                    <a:gd name="connsiteY1" fmla="*/ 183464 h 3237140"/>
                    <a:gd name="connsiteX2" fmla="*/ 161046 w 3240058"/>
                    <a:gd name="connsiteY2" fmla="*/ 1118629 h 3237140"/>
                    <a:gd name="connsiteX3" fmla="*/ 90465 w 3240058"/>
                    <a:gd name="connsiteY3" fmla="*/ 1407046 h 3237140"/>
                    <a:gd name="connsiteX4" fmla="*/ 137043 w 3240058"/>
                    <a:gd name="connsiteY4" fmla="*/ 2054841 h 3237140"/>
                    <a:gd name="connsiteX5" fmla="*/ 990768 w 3240058"/>
                    <a:gd name="connsiteY5" fmla="*/ 3031916 h 3237140"/>
                    <a:gd name="connsiteX6" fmla="*/ 1283853 w 3240058"/>
                    <a:gd name="connsiteY6" fmla="*/ 3129737 h 3237140"/>
                    <a:gd name="connsiteX7" fmla="*/ 1452159 w 3240058"/>
                    <a:gd name="connsiteY7" fmla="*/ 3155264 h 3237140"/>
                    <a:gd name="connsiteX8" fmla="*/ 1661138 w 3240058"/>
                    <a:gd name="connsiteY8" fmla="*/ 3164313 h 3237140"/>
                    <a:gd name="connsiteX9" fmla="*/ 1785915 w 3240058"/>
                    <a:gd name="connsiteY9" fmla="*/ 3155264 h 3237140"/>
                    <a:gd name="connsiteX10" fmla="*/ 2056425 w 3240058"/>
                    <a:gd name="connsiteY10" fmla="*/ 3099638 h 3237140"/>
                    <a:gd name="connsiteX11" fmla="*/ 3035024 w 3240058"/>
                    <a:gd name="connsiteY11" fmla="*/ 2211242 h 3237140"/>
                    <a:gd name="connsiteX12" fmla="*/ 3135703 w 3240058"/>
                    <a:gd name="connsiteY12" fmla="*/ 1836909 h 3237140"/>
                    <a:gd name="connsiteX13" fmla="*/ 3147705 w 3240058"/>
                    <a:gd name="connsiteY13" fmla="*/ 1676222 h 3237140"/>
                    <a:gd name="connsiteX14" fmla="*/ 3141704 w 3240058"/>
                    <a:gd name="connsiteY14" fmla="*/ 1467244 h 3237140"/>
                    <a:gd name="connsiteX15" fmla="*/ 3038072 w 3240058"/>
                    <a:gd name="connsiteY15" fmla="*/ 1055287 h 3237140"/>
                    <a:gd name="connsiteX16" fmla="*/ 1563411 w 3240058"/>
                    <a:gd name="connsiteY16" fmla="*/ 90405 h 3237140"/>
                    <a:gd name="connsiteX17" fmla="*/ 1392152 w 3240058"/>
                    <a:gd name="connsiteY17" fmla="*/ 105359 h 3237140"/>
                    <a:gd name="connsiteX18" fmla="*/ 1392152 w 3240058"/>
                    <a:gd name="connsiteY18" fmla="*/ 105359 h 3237140"/>
                    <a:gd name="connsiteX19" fmla="*/ 1569507 w 3240058"/>
                    <a:gd name="connsiteY19" fmla="*/ 203 h 3237140"/>
                    <a:gd name="connsiteX20" fmla="*/ 3119320 w 3240058"/>
                    <a:gd name="connsiteY20" fmla="*/ 1014711 h 3237140"/>
                    <a:gd name="connsiteX21" fmla="*/ 3227429 w 3240058"/>
                    <a:gd name="connsiteY21" fmla="*/ 1438669 h 3237140"/>
                    <a:gd name="connsiteX22" fmla="*/ 3235049 w 3240058"/>
                    <a:gd name="connsiteY22" fmla="*/ 1566399 h 3237140"/>
                    <a:gd name="connsiteX23" fmla="*/ 3227429 w 3240058"/>
                    <a:gd name="connsiteY23" fmla="*/ 1779854 h 3237140"/>
                    <a:gd name="connsiteX24" fmla="*/ 3210855 w 3240058"/>
                    <a:gd name="connsiteY24" fmla="*/ 1907489 h 3237140"/>
                    <a:gd name="connsiteX25" fmla="*/ 3113034 w 3240058"/>
                    <a:gd name="connsiteY25" fmla="*/ 2238293 h 3237140"/>
                    <a:gd name="connsiteX26" fmla="*/ 2095478 w 3240058"/>
                    <a:gd name="connsiteY26" fmla="*/ 3162694 h 3237140"/>
                    <a:gd name="connsiteX27" fmla="*/ 1823539 w 3240058"/>
                    <a:gd name="connsiteY27" fmla="*/ 3221273 h 3237140"/>
                    <a:gd name="connsiteX28" fmla="*/ 1670091 w 3240058"/>
                    <a:gd name="connsiteY28" fmla="*/ 3233369 h 3237140"/>
                    <a:gd name="connsiteX29" fmla="*/ 1456636 w 3240058"/>
                    <a:gd name="connsiteY29" fmla="*/ 3224320 h 3237140"/>
                    <a:gd name="connsiteX30" fmla="*/ 1304998 w 3240058"/>
                    <a:gd name="connsiteY30" fmla="*/ 3203366 h 3237140"/>
                    <a:gd name="connsiteX31" fmla="*/ 981720 w 3240058"/>
                    <a:gd name="connsiteY31" fmla="*/ 3101067 h 3237140"/>
                    <a:gd name="connsiteX32" fmla="*/ 69320 w 3240058"/>
                    <a:gd name="connsiteY32" fmla="*/ 2071414 h 3237140"/>
                    <a:gd name="connsiteX33" fmla="*/ 18361 w 3240058"/>
                    <a:gd name="connsiteY33" fmla="*/ 1390567 h 3237140"/>
                    <a:gd name="connsiteX34" fmla="*/ 88941 w 3240058"/>
                    <a:gd name="connsiteY34" fmla="*/ 1094435 h 3237140"/>
                    <a:gd name="connsiteX35" fmla="*/ 1071921 w 3240058"/>
                    <a:gd name="connsiteY35" fmla="*/ 94786 h 3237140"/>
                    <a:gd name="connsiteX36" fmla="*/ 1393676 w 3240058"/>
                    <a:gd name="connsiteY36" fmla="*/ 15062 h 3237140"/>
                    <a:gd name="connsiteX37" fmla="*/ 1569507 w 3240058"/>
                    <a:gd name="connsiteY37" fmla="*/ 203 h 32371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3240058" h="3237140">
                      <a:moveTo>
                        <a:pt x="1392152" y="105359"/>
                      </a:moveTo>
                      <a:cubicBezTo>
                        <a:pt x="1281471" y="126981"/>
                        <a:pt x="1177458" y="146412"/>
                        <a:pt x="1082589" y="183464"/>
                      </a:cubicBezTo>
                      <a:cubicBezTo>
                        <a:pt x="632628" y="359105"/>
                        <a:pt x="336306" y="667620"/>
                        <a:pt x="161046" y="1118629"/>
                      </a:cubicBezTo>
                      <a:cubicBezTo>
                        <a:pt x="126756" y="1206640"/>
                        <a:pt x="110182" y="1305033"/>
                        <a:pt x="90465" y="1407046"/>
                      </a:cubicBezTo>
                      <a:cubicBezTo>
                        <a:pt x="48841" y="1621549"/>
                        <a:pt x="84941" y="1883772"/>
                        <a:pt x="137043" y="2054841"/>
                      </a:cubicBezTo>
                      <a:cubicBezTo>
                        <a:pt x="278013" y="2516994"/>
                        <a:pt x="571954" y="2848464"/>
                        <a:pt x="990768" y="3031916"/>
                      </a:cubicBezTo>
                      <a:cubicBezTo>
                        <a:pt x="1080875" y="3071444"/>
                        <a:pt x="1178601" y="3103448"/>
                        <a:pt x="1283853" y="3129737"/>
                      </a:cubicBezTo>
                      <a:cubicBezTo>
                        <a:pt x="1338526" y="3143263"/>
                        <a:pt x="1392819" y="3144787"/>
                        <a:pt x="1452159" y="3155264"/>
                      </a:cubicBezTo>
                      <a:cubicBezTo>
                        <a:pt x="1499308" y="3163646"/>
                        <a:pt x="1606083" y="3173457"/>
                        <a:pt x="1661138" y="3164313"/>
                      </a:cubicBezTo>
                      <a:cubicBezTo>
                        <a:pt x="1702667" y="3161265"/>
                        <a:pt x="1744291" y="3158312"/>
                        <a:pt x="1785915" y="3155264"/>
                      </a:cubicBezTo>
                      <a:cubicBezTo>
                        <a:pt x="1881737" y="3137929"/>
                        <a:pt x="1971748" y="3126213"/>
                        <a:pt x="2056425" y="3099638"/>
                      </a:cubicBezTo>
                      <a:cubicBezTo>
                        <a:pt x="2523341" y="2953144"/>
                        <a:pt x="2852334" y="2642248"/>
                        <a:pt x="3035024" y="2211242"/>
                      </a:cubicBezTo>
                      <a:cubicBezTo>
                        <a:pt x="3083030" y="2097894"/>
                        <a:pt x="3109795" y="1974069"/>
                        <a:pt x="3135703" y="1836909"/>
                      </a:cubicBezTo>
                      <a:cubicBezTo>
                        <a:pt x="3145514" y="1784807"/>
                        <a:pt x="3138370" y="1732610"/>
                        <a:pt x="3147705" y="1676222"/>
                      </a:cubicBezTo>
                      <a:cubicBezTo>
                        <a:pt x="3157325" y="1617929"/>
                        <a:pt x="3151324" y="1521536"/>
                        <a:pt x="3141704" y="1467244"/>
                      </a:cubicBezTo>
                      <a:cubicBezTo>
                        <a:pt x="3114653" y="1312939"/>
                        <a:pt x="3089126" y="1179589"/>
                        <a:pt x="3038072" y="1055287"/>
                      </a:cubicBezTo>
                      <a:cubicBezTo>
                        <a:pt x="2821664" y="528745"/>
                        <a:pt x="2316839" y="79165"/>
                        <a:pt x="1563411" y="90405"/>
                      </a:cubicBezTo>
                      <a:cubicBezTo>
                        <a:pt x="1506261" y="95453"/>
                        <a:pt x="1449207" y="100311"/>
                        <a:pt x="1392152" y="105359"/>
                      </a:cubicBezTo>
                      <a:lnTo>
                        <a:pt x="1392152" y="105359"/>
                      </a:lnTo>
                      <a:close/>
                      <a:moveTo>
                        <a:pt x="1569507" y="203"/>
                      </a:moveTo>
                      <a:cubicBezTo>
                        <a:pt x="2360844" y="-11227"/>
                        <a:pt x="2892149" y="461308"/>
                        <a:pt x="3119320" y="1014711"/>
                      </a:cubicBezTo>
                      <a:cubicBezTo>
                        <a:pt x="3171803" y="1142822"/>
                        <a:pt x="3199140" y="1280077"/>
                        <a:pt x="3227429" y="1438669"/>
                      </a:cubicBezTo>
                      <a:cubicBezTo>
                        <a:pt x="3229905" y="1481245"/>
                        <a:pt x="3232477" y="1523917"/>
                        <a:pt x="3235049" y="1566399"/>
                      </a:cubicBezTo>
                      <a:cubicBezTo>
                        <a:pt x="3245526" y="1632883"/>
                        <a:pt x="3237906" y="1720418"/>
                        <a:pt x="3227429" y="1779854"/>
                      </a:cubicBezTo>
                      <a:cubicBezTo>
                        <a:pt x="3222000" y="1822431"/>
                        <a:pt x="3216380" y="1865008"/>
                        <a:pt x="3210855" y="1907489"/>
                      </a:cubicBezTo>
                      <a:cubicBezTo>
                        <a:pt x="3184471" y="2026552"/>
                        <a:pt x="3156277" y="2136566"/>
                        <a:pt x="3113034" y="2238293"/>
                      </a:cubicBezTo>
                      <a:cubicBezTo>
                        <a:pt x="2923962" y="2684062"/>
                        <a:pt x="2577729" y="3010294"/>
                        <a:pt x="2095478" y="3162694"/>
                      </a:cubicBezTo>
                      <a:cubicBezTo>
                        <a:pt x="2010134" y="3189745"/>
                        <a:pt x="1919456" y="3203461"/>
                        <a:pt x="1823539" y="3221273"/>
                      </a:cubicBezTo>
                      <a:cubicBezTo>
                        <a:pt x="1772295" y="3225273"/>
                        <a:pt x="1721336" y="3229369"/>
                        <a:pt x="1670091" y="3233369"/>
                      </a:cubicBezTo>
                      <a:cubicBezTo>
                        <a:pt x="1613799" y="3242704"/>
                        <a:pt x="1505214" y="3232798"/>
                        <a:pt x="1456636" y="3224320"/>
                      </a:cubicBezTo>
                      <a:cubicBezTo>
                        <a:pt x="1403106" y="3215081"/>
                        <a:pt x="1354623" y="3214415"/>
                        <a:pt x="1304998" y="3203366"/>
                      </a:cubicBezTo>
                      <a:cubicBezTo>
                        <a:pt x="1188031" y="3177076"/>
                        <a:pt x="1080589" y="3143549"/>
                        <a:pt x="981720" y="3101067"/>
                      </a:cubicBezTo>
                      <a:cubicBezTo>
                        <a:pt x="534807" y="2908281"/>
                        <a:pt x="219529" y="2561285"/>
                        <a:pt x="69320" y="2071414"/>
                      </a:cubicBezTo>
                      <a:cubicBezTo>
                        <a:pt x="14170" y="1891297"/>
                        <a:pt x="-24597" y="1617929"/>
                        <a:pt x="18361" y="1390567"/>
                      </a:cubicBezTo>
                      <a:cubicBezTo>
                        <a:pt x="37887" y="1286269"/>
                        <a:pt x="53889" y="1184732"/>
                        <a:pt x="88941" y="1094435"/>
                      </a:cubicBezTo>
                      <a:cubicBezTo>
                        <a:pt x="279156" y="604660"/>
                        <a:pt x="583003" y="285286"/>
                        <a:pt x="1071921" y="94786"/>
                      </a:cubicBezTo>
                      <a:cubicBezTo>
                        <a:pt x="1170219" y="56496"/>
                        <a:pt x="1278804" y="36779"/>
                        <a:pt x="1393676" y="15062"/>
                      </a:cubicBezTo>
                      <a:cubicBezTo>
                        <a:pt x="1452159" y="10204"/>
                        <a:pt x="1510833" y="5156"/>
                        <a:pt x="1569507" y="203"/>
                      </a:cubicBezTo>
                      <a:close/>
                    </a:path>
                  </a:pathLst>
                </a:custGeom>
                <a:solidFill>
                  <a:srgbClr val="00993E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071" name="任意多边形: 形状 1070">
                <a:extLst>
                  <a:ext uri="{FF2B5EF4-FFF2-40B4-BE49-F238E27FC236}">
                    <a16:creationId xmlns:a16="http://schemas.microsoft.com/office/drawing/2014/main" id="{4AB6051A-109B-4A87-9480-259AB46ADC9E}"/>
                  </a:ext>
                </a:extLst>
              </p:cNvPr>
              <p:cNvSpPr/>
              <p:nvPr/>
            </p:nvSpPr>
            <p:spPr>
              <a:xfrm>
                <a:off x="2205197" y="4387273"/>
                <a:ext cx="252048" cy="419849"/>
              </a:xfrm>
              <a:custGeom>
                <a:avLst/>
                <a:gdLst>
                  <a:gd name="connsiteX0" fmla="*/ 137541 w 252047"/>
                  <a:gd name="connsiteY0" fmla="*/ 322646 h 419850"/>
                  <a:gd name="connsiteX1" fmla="*/ 203645 w 252047"/>
                  <a:gd name="connsiteY1" fmla="*/ 411229 h 419850"/>
                  <a:gd name="connsiteX2" fmla="*/ 208979 w 252047"/>
                  <a:gd name="connsiteY2" fmla="*/ 404561 h 419850"/>
                  <a:gd name="connsiteX3" fmla="*/ 198501 w 252047"/>
                  <a:gd name="connsiteY3" fmla="*/ 366937 h 419850"/>
                  <a:gd name="connsiteX4" fmla="*/ 217265 w 252047"/>
                  <a:gd name="connsiteY4" fmla="*/ 365509 h 419850"/>
                  <a:gd name="connsiteX5" fmla="*/ 249555 w 252047"/>
                  <a:gd name="connsiteY5" fmla="*/ 375224 h 419850"/>
                  <a:gd name="connsiteX6" fmla="*/ 206312 w 252047"/>
                  <a:gd name="connsiteY6" fmla="*/ 339220 h 419850"/>
                  <a:gd name="connsiteX7" fmla="*/ 180404 w 252047"/>
                  <a:gd name="connsiteY7" fmla="*/ 325218 h 419850"/>
                  <a:gd name="connsiteX8" fmla="*/ 147257 w 252047"/>
                  <a:gd name="connsiteY8" fmla="*/ 297405 h 419850"/>
                  <a:gd name="connsiteX9" fmla="*/ 60960 w 252047"/>
                  <a:gd name="connsiteY9" fmla="*/ 168532 h 419850"/>
                  <a:gd name="connsiteX10" fmla="*/ 41720 w 252047"/>
                  <a:gd name="connsiteY10" fmla="*/ 126145 h 419850"/>
                  <a:gd name="connsiteX11" fmla="*/ 51054 w 252047"/>
                  <a:gd name="connsiteY11" fmla="*/ 128431 h 419850"/>
                  <a:gd name="connsiteX12" fmla="*/ 107537 w 252047"/>
                  <a:gd name="connsiteY12" fmla="*/ 222253 h 419850"/>
                  <a:gd name="connsiteX13" fmla="*/ 140113 w 252047"/>
                  <a:gd name="connsiteY13" fmla="*/ 229682 h 419850"/>
                  <a:gd name="connsiteX14" fmla="*/ 133445 w 252047"/>
                  <a:gd name="connsiteY14" fmla="*/ 211585 h 419850"/>
                  <a:gd name="connsiteX15" fmla="*/ 109442 w 252047"/>
                  <a:gd name="connsiteY15" fmla="*/ 177009 h 419850"/>
                  <a:gd name="connsiteX16" fmla="*/ 98489 w 252047"/>
                  <a:gd name="connsiteY16" fmla="*/ 140528 h 419850"/>
                  <a:gd name="connsiteX17" fmla="*/ 108014 w 252047"/>
                  <a:gd name="connsiteY17" fmla="*/ 147100 h 419850"/>
                  <a:gd name="connsiteX18" fmla="*/ 132683 w 252047"/>
                  <a:gd name="connsiteY18" fmla="*/ 194535 h 419850"/>
                  <a:gd name="connsiteX19" fmla="*/ 142494 w 252047"/>
                  <a:gd name="connsiteY19" fmla="*/ 195868 h 419850"/>
                  <a:gd name="connsiteX20" fmla="*/ 150209 w 252047"/>
                  <a:gd name="connsiteY20" fmla="*/ 158245 h 419850"/>
                  <a:gd name="connsiteX21" fmla="*/ 141827 w 252047"/>
                  <a:gd name="connsiteY21" fmla="*/ 157768 h 419850"/>
                  <a:gd name="connsiteX22" fmla="*/ 129826 w 252047"/>
                  <a:gd name="connsiteY22" fmla="*/ 153387 h 419850"/>
                  <a:gd name="connsiteX23" fmla="*/ 89535 w 252047"/>
                  <a:gd name="connsiteY23" fmla="*/ 79092 h 419850"/>
                  <a:gd name="connsiteX24" fmla="*/ 71438 w 252047"/>
                  <a:gd name="connsiteY24" fmla="*/ 86236 h 419850"/>
                  <a:gd name="connsiteX25" fmla="*/ 90297 w 252047"/>
                  <a:gd name="connsiteY25" fmla="*/ 157578 h 419850"/>
                  <a:gd name="connsiteX26" fmla="*/ 86773 w 252047"/>
                  <a:gd name="connsiteY26" fmla="*/ 166341 h 419850"/>
                  <a:gd name="connsiteX27" fmla="*/ 52483 w 252047"/>
                  <a:gd name="connsiteY27" fmla="*/ 96904 h 419850"/>
                  <a:gd name="connsiteX28" fmla="*/ 18098 w 252047"/>
                  <a:gd name="connsiteY28" fmla="*/ 7940 h 419850"/>
                  <a:gd name="connsiteX29" fmla="*/ 0 w 252047"/>
                  <a:gd name="connsiteY29" fmla="*/ 6892 h 419850"/>
                  <a:gd name="connsiteX30" fmla="*/ 2858 w 252047"/>
                  <a:gd name="connsiteY30" fmla="*/ 79949 h 419850"/>
                  <a:gd name="connsiteX31" fmla="*/ 11144 w 252047"/>
                  <a:gd name="connsiteY31" fmla="*/ 125860 h 419850"/>
                  <a:gd name="connsiteX32" fmla="*/ 23146 w 252047"/>
                  <a:gd name="connsiteY32" fmla="*/ 143671 h 419850"/>
                  <a:gd name="connsiteX33" fmla="*/ 83820 w 252047"/>
                  <a:gd name="connsiteY33" fmla="*/ 234826 h 419850"/>
                  <a:gd name="connsiteX34" fmla="*/ 114205 w 252047"/>
                  <a:gd name="connsiteY34" fmla="*/ 277593 h 419850"/>
                  <a:gd name="connsiteX35" fmla="*/ 103061 w 252047"/>
                  <a:gd name="connsiteY35" fmla="*/ 282165 h 419850"/>
                  <a:gd name="connsiteX36" fmla="*/ 48387 w 252047"/>
                  <a:gd name="connsiteY36" fmla="*/ 236921 h 419850"/>
                  <a:gd name="connsiteX37" fmla="*/ 35909 w 252047"/>
                  <a:gd name="connsiteY37" fmla="*/ 255685 h 419850"/>
                  <a:gd name="connsiteX38" fmla="*/ 64008 w 252047"/>
                  <a:gd name="connsiteY38" fmla="*/ 330076 h 419850"/>
                  <a:gd name="connsiteX39" fmla="*/ 84963 w 252047"/>
                  <a:gd name="connsiteY39" fmla="*/ 300548 h 419850"/>
                  <a:gd name="connsiteX40" fmla="*/ 76486 w 252047"/>
                  <a:gd name="connsiteY40" fmla="*/ 290261 h 419850"/>
                  <a:gd name="connsiteX41" fmla="*/ 89535 w 252047"/>
                  <a:gd name="connsiteY41" fmla="*/ 287213 h 419850"/>
                  <a:gd name="connsiteX42" fmla="*/ 132588 w 252047"/>
                  <a:gd name="connsiteY42" fmla="*/ 315407 h 419850"/>
                  <a:gd name="connsiteX43" fmla="*/ 137541 w 252047"/>
                  <a:gd name="connsiteY43" fmla="*/ 322646 h 419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252047" h="419850">
                    <a:moveTo>
                      <a:pt x="137541" y="322646"/>
                    </a:moveTo>
                    <a:cubicBezTo>
                      <a:pt x="137541" y="322646"/>
                      <a:pt x="177356" y="454186"/>
                      <a:pt x="203645" y="411229"/>
                    </a:cubicBezTo>
                    <a:lnTo>
                      <a:pt x="208979" y="404561"/>
                    </a:lnTo>
                    <a:lnTo>
                      <a:pt x="198501" y="366937"/>
                    </a:lnTo>
                    <a:cubicBezTo>
                      <a:pt x="198501" y="366937"/>
                      <a:pt x="194977" y="348554"/>
                      <a:pt x="217265" y="365509"/>
                    </a:cubicBezTo>
                    <a:cubicBezTo>
                      <a:pt x="217265" y="365509"/>
                      <a:pt x="246983" y="384654"/>
                      <a:pt x="249555" y="375224"/>
                    </a:cubicBezTo>
                    <a:cubicBezTo>
                      <a:pt x="249555" y="375224"/>
                      <a:pt x="267653" y="372652"/>
                      <a:pt x="206312" y="339220"/>
                    </a:cubicBezTo>
                    <a:cubicBezTo>
                      <a:pt x="206312" y="339220"/>
                      <a:pt x="183071" y="329695"/>
                      <a:pt x="180404" y="325218"/>
                    </a:cubicBezTo>
                    <a:cubicBezTo>
                      <a:pt x="177832" y="320646"/>
                      <a:pt x="168593" y="328552"/>
                      <a:pt x="147257" y="297405"/>
                    </a:cubicBezTo>
                    <a:cubicBezTo>
                      <a:pt x="147257" y="297405"/>
                      <a:pt x="87916" y="233111"/>
                      <a:pt x="60960" y="168532"/>
                    </a:cubicBezTo>
                    <a:cubicBezTo>
                      <a:pt x="60960" y="168532"/>
                      <a:pt x="42101" y="141100"/>
                      <a:pt x="41720" y="126145"/>
                    </a:cubicBezTo>
                    <a:cubicBezTo>
                      <a:pt x="41720" y="126145"/>
                      <a:pt x="46673" y="119383"/>
                      <a:pt x="51054" y="128431"/>
                    </a:cubicBezTo>
                    <a:cubicBezTo>
                      <a:pt x="51054" y="128431"/>
                      <a:pt x="87249" y="204631"/>
                      <a:pt x="107537" y="222253"/>
                    </a:cubicBezTo>
                    <a:cubicBezTo>
                      <a:pt x="107537" y="222253"/>
                      <a:pt x="134588" y="252828"/>
                      <a:pt x="140113" y="229682"/>
                    </a:cubicBezTo>
                    <a:cubicBezTo>
                      <a:pt x="140113" y="229682"/>
                      <a:pt x="142589" y="225491"/>
                      <a:pt x="133445" y="211585"/>
                    </a:cubicBezTo>
                    <a:cubicBezTo>
                      <a:pt x="133445" y="211585"/>
                      <a:pt x="115157" y="185581"/>
                      <a:pt x="109442" y="177009"/>
                    </a:cubicBezTo>
                    <a:cubicBezTo>
                      <a:pt x="109442" y="177009"/>
                      <a:pt x="97917" y="157006"/>
                      <a:pt x="98489" y="140528"/>
                    </a:cubicBezTo>
                    <a:cubicBezTo>
                      <a:pt x="98489" y="140528"/>
                      <a:pt x="102965" y="135194"/>
                      <a:pt x="108014" y="147100"/>
                    </a:cubicBezTo>
                    <a:lnTo>
                      <a:pt x="132683" y="194535"/>
                    </a:lnTo>
                    <a:lnTo>
                      <a:pt x="142494" y="195868"/>
                    </a:lnTo>
                    <a:cubicBezTo>
                      <a:pt x="142494" y="195868"/>
                      <a:pt x="164211" y="162626"/>
                      <a:pt x="150209" y="158245"/>
                    </a:cubicBezTo>
                    <a:cubicBezTo>
                      <a:pt x="150209" y="158245"/>
                      <a:pt x="144971" y="155197"/>
                      <a:pt x="141827" y="157768"/>
                    </a:cubicBezTo>
                    <a:cubicBezTo>
                      <a:pt x="141827" y="157768"/>
                      <a:pt x="132398" y="161674"/>
                      <a:pt x="129826" y="153387"/>
                    </a:cubicBezTo>
                    <a:lnTo>
                      <a:pt x="89535" y="79092"/>
                    </a:lnTo>
                    <a:cubicBezTo>
                      <a:pt x="89535" y="79092"/>
                      <a:pt x="73057" y="72329"/>
                      <a:pt x="71438" y="86236"/>
                    </a:cubicBezTo>
                    <a:cubicBezTo>
                      <a:pt x="71438" y="86236"/>
                      <a:pt x="66104" y="117097"/>
                      <a:pt x="90297" y="157578"/>
                    </a:cubicBezTo>
                    <a:cubicBezTo>
                      <a:pt x="90297" y="157578"/>
                      <a:pt x="96107" y="168532"/>
                      <a:pt x="86773" y="166341"/>
                    </a:cubicBezTo>
                    <a:cubicBezTo>
                      <a:pt x="86773" y="166341"/>
                      <a:pt x="54674" y="104524"/>
                      <a:pt x="52483" y="96904"/>
                    </a:cubicBezTo>
                    <a:cubicBezTo>
                      <a:pt x="52483" y="96904"/>
                      <a:pt x="26099" y="56994"/>
                      <a:pt x="18098" y="7940"/>
                    </a:cubicBezTo>
                    <a:cubicBezTo>
                      <a:pt x="18098" y="7940"/>
                      <a:pt x="8096" y="-9205"/>
                      <a:pt x="0" y="6892"/>
                    </a:cubicBezTo>
                    <a:cubicBezTo>
                      <a:pt x="0" y="6892"/>
                      <a:pt x="0" y="60328"/>
                      <a:pt x="2858" y="79949"/>
                    </a:cubicBezTo>
                    <a:cubicBezTo>
                      <a:pt x="2858" y="79949"/>
                      <a:pt x="12097" y="111286"/>
                      <a:pt x="11144" y="125860"/>
                    </a:cubicBezTo>
                    <a:cubicBezTo>
                      <a:pt x="11144" y="125860"/>
                      <a:pt x="14097" y="139099"/>
                      <a:pt x="23146" y="143671"/>
                    </a:cubicBezTo>
                    <a:cubicBezTo>
                      <a:pt x="23146" y="143671"/>
                      <a:pt x="70961" y="210823"/>
                      <a:pt x="83820" y="234826"/>
                    </a:cubicBezTo>
                    <a:cubicBezTo>
                      <a:pt x="83820" y="234826"/>
                      <a:pt x="106109" y="263496"/>
                      <a:pt x="114205" y="277593"/>
                    </a:cubicBezTo>
                    <a:cubicBezTo>
                      <a:pt x="114205" y="277593"/>
                      <a:pt x="117634" y="290452"/>
                      <a:pt x="103061" y="282165"/>
                    </a:cubicBezTo>
                    <a:cubicBezTo>
                      <a:pt x="103061" y="282165"/>
                      <a:pt x="55245" y="242636"/>
                      <a:pt x="48387" y="236921"/>
                    </a:cubicBezTo>
                    <a:cubicBezTo>
                      <a:pt x="48387" y="236921"/>
                      <a:pt x="31718" y="236159"/>
                      <a:pt x="35909" y="255685"/>
                    </a:cubicBezTo>
                    <a:cubicBezTo>
                      <a:pt x="35909" y="255685"/>
                      <a:pt x="56483" y="299691"/>
                      <a:pt x="64008" y="330076"/>
                    </a:cubicBezTo>
                    <a:cubicBezTo>
                      <a:pt x="64008" y="330076"/>
                      <a:pt x="88297" y="337124"/>
                      <a:pt x="84963" y="300548"/>
                    </a:cubicBezTo>
                    <a:cubicBezTo>
                      <a:pt x="84963" y="300548"/>
                      <a:pt x="84296" y="292738"/>
                      <a:pt x="76486" y="290261"/>
                    </a:cubicBezTo>
                    <a:cubicBezTo>
                      <a:pt x="76486" y="290261"/>
                      <a:pt x="74962" y="274164"/>
                      <a:pt x="89535" y="287213"/>
                    </a:cubicBezTo>
                    <a:cubicBezTo>
                      <a:pt x="89535" y="287213"/>
                      <a:pt x="125921" y="301405"/>
                      <a:pt x="132588" y="315407"/>
                    </a:cubicBezTo>
                    <a:cubicBezTo>
                      <a:pt x="132779" y="315502"/>
                      <a:pt x="137827" y="319598"/>
                      <a:pt x="137541" y="322646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2" name="任意多边形: 形状 1071">
                <a:extLst>
                  <a:ext uri="{FF2B5EF4-FFF2-40B4-BE49-F238E27FC236}">
                    <a16:creationId xmlns:a16="http://schemas.microsoft.com/office/drawing/2014/main" id="{C78F461B-8D3A-476D-9903-7870C010E25C}"/>
                  </a:ext>
                </a:extLst>
              </p:cNvPr>
              <p:cNvSpPr/>
              <p:nvPr/>
            </p:nvSpPr>
            <p:spPr>
              <a:xfrm>
                <a:off x="2145666" y="4575586"/>
                <a:ext cx="37729" cy="37370"/>
              </a:xfrm>
              <a:custGeom>
                <a:avLst/>
                <a:gdLst>
                  <a:gd name="connsiteX0" fmla="*/ 0 w 37731"/>
                  <a:gd name="connsiteY0" fmla="*/ 36895 h 37371"/>
                  <a:gd name="connsiteX1" fmla="*/ 15431 w 37731"/>
                  <a:gd name="connsiteY1" fmla="*/ 37372 h 37371"/>
                  <a:gd name="connsiteX2" fmla="*/ 36671 w 37731"/>
                  <a:gd name="connsiteY2" fmla="*/ 16988 h 37371"/>
                  <a:gd name="connsiteX3" fmla="*/ 19145 w 37731"/>
                  <a:gd name="connsiteY3" fmla="*/ 415 h 37371"/>
                  <a:gd name="connsiteX4" fmla="*/ 857 w 37731"/>
                  <a:gd name="connsiteY4" fmla="*/ 22036 h 37371"/>
                  <a:gd name="connsiteX5" fmla="*/ 0 w 37731"/>
                  <a:gd name="connsiteY5" fmla="*/ 36895 h 37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731" h="37371">
                    <a:moveTo>
                      <a:pt x="0" y="36895"/>
                    </a:moveTo>
                    <a:lnTo>
                      <a:pt x="15431" y="37372"/>
                    </a:lnTo>
                    <a:lnTo>
                      <a:pt x="36671" y="16988"/>
                    </a:lnTo>
                    <a:cubicBezTo>
                      <a:pt x="36671" y="16988"/>
                      <a:pt x="44196" y="-3110"/>
                      <a:pt x="19145" y="415"/>
                    </a:cubicBezTo>
                    <a:cubicBezTo>
                      <a:pt x="19145" y="415"/>
                      <a:pt x="2286" y="18036"/>
                      <a:pt x="857" y="22036"/>
                    </a:cubicBezTo>
                    <a:cubicBezTo>
                      <a:pt x="857" y="22036"/>
                      <a:pt x="0" y="34609"/>
                      <a:pt x="0" y="36895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3" name="任意多边形: 形状 1072">
                <a:extLst>
                  <a:ext uri="{FF2B5EF4-FFF2-40B4-BE49-F238E27FC236}">
                    <a16:creationId xmlns:a16="http://schemas.microsoft.com/office/drawing/2014/main" id="{B31199B1-D608-488E-B94F-71BF2B36436A}"/>
                  </a:ext>
                </a:extLst>
              </p:cNvPr>
              <p:cNvSpPr/>
              <p:nvPr/>
            </p:nvSpPr>
            <p:spPr>
              <a:xfrm>
                <a:off x="2368892" y="4489780"/>
                <a:ext cx="143998" cy="212292"/>
              </a:xfrm>
              <a:custGeom>
                <a:avLst/>
                <a:gdLst>
                  <a:gd name="connsiteX0" fmla="*/ 28326 w 143997"/>
                  <a:gd name="connsiteY0" fmla="*/ 155560 h 212292"/>
                  <a:gd name="connsiteX1" fmla="*/ 228 w 143997"/>
                  <a:gd name="connsiteY1" fmla="*/ 88980 h 212292"/>
                  <a:gd name="connsiteX2" fmla="*/ 9562 w 143997"/>
                  <a:gd name="connsiteY2" fmla="*/ 684 h 212292"/>
                  <a:gd name="connsiteX3" fmla="*/ 79857 w 143997"/>
                  <a:gd name="connsiteY3" fmla="*/ 36403 h 212292"/>
                  <a:gd name="connsiteX4" fmla="*/ 143388 w 143997"/>
                  <a:gd name="connsiteY4" fmla="*/ 110507 h 212292"/>
                  <a:gd name="connsiteX5" fmla="*/ 121862 w 143997"/>
                  <a:gd name="connsiteY5" fmla="*/ 149559 h 212292"/>
                  <a:gd name="connsiteX6" fmla="*/ 112527 w 143997"/>
                  <a:gd name="connsiteY6" fmla="*/ 153560 h 212292"/>
                  <a:gd name="connsiteX7" fmla="*/ 101193 w 143997"/>
                  <a:gd name="connsiteY7" fmla="*/ 170133 h 212292"/>
                  <a:gd name="connsiteX8" fmla="*/ 95478 w 143997"/>
                  <a:gd name="connsiteY8" fmla="*/ 184516 h 212292"/>
                  <a:gd name="connsiteX9" fmla="*/ 100431 w 143997"/>
                  <a:gd name="connsiteY9" fmla="*/ 196518 h 212292"/>
                  <a:gd name="connsiteX10" fmla="*/ 89572 w 143997"/>
                  <a:gd name="connsiteY10" fmla="*/ 210043 h 212292"/>
                  <a:gd name="connsiteX11" fmla="*/ 61759 w 143997"/>
                  <a:gd name="connsiteY11" fmla="*/ 206233 h 212292"/>
                  <a:gd name="connsiteX12" fmla="*/ 3180 w 143997"/>
                  <a:gd name="connsiteY12" fmla="*/ 171277 h 212292"/>
                  <a:gd name="connsiteX13" fmla="*/ 13182 w 143997"/>
                  <a:gd name="connsiteY13" fmla="*/ 156608 h 212292"/>
                  <a:gd name="connsiteX14" fmla="*/ 29089 w 143997"/>
                  <a:gd name="connsiteY14" fmla="*/ 161180 h 212292"/>
                  <a:gd name="connsiteX15" fmla="*/ 28326 w 143997"/>
                  <a:gd name="connsiteY15" fmla="*/ 155560 h 21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43997" h="212292">
                    <a:moveTo>
                      <a:pt x="28326" y="155560"/>
                    </a:moveTo>
                    <a:cubicBezTo>
                      <a:pt x="26802" y="153941"/>
                      <a:pt x="3562" y="114126"/>
                      <a:pt x="228" y="88980"/>
                    </a:cubicBezTo>
                    <a:cubicBezTo>
                      <a:pt x="1371" y="86028"/>
                      <a:pt x="-4344" y="26592"/>
                      <a:pt x="9562" y="684"/>
                    </a:cubicBezTo>
                    <a:cubicBezTo>
                      <a:pt x="9562" y="684"/>
                      <a:pt x="22707" y="-7984"/>
                      <a:pt x="79857" y="36403"/>
                    </a:cubicBezTo>
                    <a:cubicBezTo>
                      <a:pt x="79857" y="36403"/>
                      <a:pt x="136435" y="86885"/>
                      <a:pt x="143388" y="110507"/>
                    </a:cubicBezTo>
                    <a:cubicBezTo>
                      <a:pt x="143388" y="110507"/>
                      <a:pt x="149675" y="138606"/>
                      <a:pt x="121862" y="149559"/>
                    </a:cubicBezTo>
                    <a:cubicBezTo>
                      <a:pt x="121862" y="149559"/>
                      <a:pt x="119671" y="157751"/>
                      <a:pt x="112527" y="153560"/>
                    </a:cubicBezTo>
                    <a:cubicBezTo>
                      <a:pt x="112527" y="153560"/>
                      <a:pt x="103479" y="163466"/>
                      <a:pt x="101193" y="170133"/>
                    </a:cubicBezTo>
                    <a:cubicBezTo>
                      <a:pt x="101193" y="170133"/>
                      <a:pt x="103860" y="180706"/>
                      <a:pt x="95478" y="184516"/>
                    </a:cubicBezTo>
                    <a:cubicBezTo>
                      <a:pt x="95478" y="184516"/>
                      <a:pt x="91763" y="187850"/>
                      <a:pt x="100431" y="196518"/>
                    </a:cubicBezTo>
                    <a:cubicBezTo>
                      <a:pt x="100431" y="196518"/>
                      <a:pt x="105003" y="204900"/>
                      <a:pt x="89572" y="210043"/>
                    </a:cubicBezTo>
                    <a:cubicBezTo>
                      <a:pt x="89572" y="210043"/>
                      <a:pt x="84619" y="217092"/>
                      <a:pt x="61759" y="206233"/>
                    </a:cubicBezTo>
                    <a:cubicBezTo>
                      <a:pt x="61759" y="206233"/>
                      <a:pt x="8134" y="172800"/>
                      <a:pt x="3180" y="171277"/>
                    </a:cubicBezTo>
                    <a:cubicBezTo>
                      <a:pt x="3180" y="171277"/>
                      <a:pt x="-3582" y="158513"/>
                      <a:pt x="13182" y="156608"/>
                    </a:cubicBezTo>
                    <a:cubicBezTo>
                      <a:pt x="13182" y="156608"/>
                      <a:pt x="27850" y="164895"/>
                      <a:pt x="29089" y="161180"/>
                    </a:cubicBezTo>
                    <a:cubicBezTo>
                      <a:pt x="29184" y="161085"/>
                      <a:pt x="29850" y="156989"/>
                      <a:pt x="28326" y="155560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4" name="任意多边形: 形状 1073">
                <a:extLst>
                  <a:ext uri="{FF2B5EF4-FFF2-40B4-BE49-F238E27FC236}">
                    <a16:creationId xmlns:a16="http://schemas.microsoft.com/office/drawing/2014/main" id="{C80B8B23-E095-4776-AA90-9590BA654159}"/>
                  </a:ext>
                </a:extLst>
              </p:cNvPr>
              <p:cNvSpPr/>
              <p:nvPr/>
            </p:nvSpPr>
            <p:spPr>
              <a:xfrm>
                <a:off x="2379875" y="4500547"/>
                <a:ext cx="111164" cy="129234"/>
              </a:xfrm>
              <a:custGeom>
                <a:avLst/>
                <a:gdLst>
                  <a:gd name="connsiteX0" fmla="*/ 4200 w 111165"/>
                  <a:gd name="connsiteY0" fmla="*/ 81549 h 129236"/>
                  <a:gd name="connsiteX1" fmla="*/ 8772 w 111165"/>
                  <a:gd name="connsiteY1" fmla="*/ 777 h 129236"/>
                  <a:gd name="connsiteX2" fmla="*/ 56397 w 111165"/>
                  <a:gd name="connsiteY2" fmla="*/ 44021 h 129236"/>
                  <a:gd name="connsiteX3" fmla="*/ 109356 w 111165"/>
                  <a:gd name="connsiteY3" fmla="*/ 101837 h 129236"/>
                  <a:gd name="connsiteX4" fmla="*/ 111165 w 111165"/>
                  <a:gd name="connsiteY4" fmla="*/ 118030 h 129236"/>
                  <a:gd name="connsiteX5" fmla="*/ 97640 w 111165"/>
                  <a:gd name="connsiteY5" fmla="*/ 128984 h 129236"/>
                  <a:gd name="connsiteX6" fmla="*/ 80019 w 111165"/>
                  <a:gd name="connsiteY6" fmla="*/ 117649 h 129236"/>
                  <a:gd name="connsiteX7" fmla="*/ 85353 w 111165"/>
                  <a:gd name="connsiteY7" fmla="*/ 90217 h 129236"/>
                  <a:gd name="connsiteX8" fmla="*/ 33060 w 111165"/>
                  <a:gd name="connsiteY8" fmla="*/ 53736 h 129236"/>
                  <a:gd name="connsiteX9" fmla="*/ 13153 w 111165"/>
                  <a:gd name="connsiteY9" fmla="*/ 52688 h 129236"/>
                  <a:gd name="connsiteX10" fmla="*/ 11534 w 111165"/>
                  <a:gd name="connsiteY10" fmla="*/ 81073 h 129236"/>
                  <a:gd name="connsiteX11" fmla="*/ 4200 w 111165"/>
                  <a:gd name="connsiteY11" fmla="*/ 81549 h 129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1165" h="129236">
                    <a:moveTo>
                      <a:pt x="4200" y="81549"/>
                    </a:moveTo>
                    <a:cubicBezTo>
                      <a:pt x="4200" y="81549"/>
                      <a:pt x="-7802" y="6492"/>
                      <a:pt x="8772" y="777"/>
                    </a:cubicBezTo>
                    <a:cubicBezTo>
                      <a:pt x="8772" y="777"/>
                      <a:pt x="14296" y="-9415"/>
                      <a:pt x="56397" y="44021"/>
                    </a:cubicBezTo>
                    <a:cubicBezTo>
                      <a:pt x="56397" y="44021"/>
                      <a:pt x="103450" y="89455"/>
                      <a:pt x="109356" y="101837"/>
                    </a:cubicBezTo>
                    <a:cubicBezTo>
                      <a:pt x="109356" y="101837"/>
                      <a:pt x="108117" y="117268"/>
                      <a:pt x="111165" y="118030"/>
                    </a:cubicBezTo>
                    <a:cubicBezTo>
                      <a:pt x="111165" y="118030"/>
                      <a:pt x="108594" y="131079"/>
                      <a:pt x="97640" y="128984"/>
                    </a:cubicBezTo>
                    <a:cubicBezTo>
                      <a:pt x="97640" y="128984"/>
                      <a:pt x="90115" y="131936"/>
                      <a:pt x="80019" y="117649"/>
                    </a:cubicBezTo>
                    <a:cubicBezTo>
                      <a:pt x="80019" y="117649"/>
                      <a:pt x="81543" y="97075"/>
                      <a:pt x="85353" y="90217"/>
                    </a:cubicBezTo>
                    <a:cubicBezTo>
                      <a:pt x="85353" y="90217"/>
                      <a:pt x="45824" y="87169"/>
                      <a:pt x="33060" y="53736"/>
                    </a:cubicBezTo>
                    <a:cubicBezTo>
                      <a:pt x="33060" y="53736"/>
                      <a:pt x="25155" y="45830"/>
                      <a:pt x="13153" y="52688"/>
                    </a:cubicBezTo>
                    <a:cubicBezTo>
                      <a:pt x="13153" y="52688"/>
                      <a:pt x="8200" y="66214"/>
                      <a:pt x="11534" y="81073"/>
                    </a:cubicBezTo>
                    <a:cubicBezTo>
                      <a:pt x="11629" y="81168"/>
                      <a:pt x="15534" y="93170"/>
                      <a:pt x="4200" y="81549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5" name="任意多边形: 形状 1074">
                <a:extLst>
                  <a:ext uri="{FF2B5EF4-FFF2-40B4-BE49-F238E27FC236}">
                    <a16:creationId xmlns:a16="http://schemas.microsoft.com/office/drawing/2014/main" id="{135A5A73-3105-4F91-BC82-5B8FAE97903A}"/>
                  </a:ext>
                </a:extLst>
              </p:cNvPr>
              <p:cNvSpPr/>
              <p:nvPr/>
            </p:nvSpPr>
            <p:spPr>
              <a:xfrm>
                <a:off x="2409445" y="4588402"/>
                <a:ext cx="17236" cy="18665"/>
              </a:xfrm>
              <a:custGeom>
                <a:avLst/>
                <a:gdLst>
                  <a:gd name="connsiteX0" fmla="*/ 4540 w 17237"/>
                  <a:gd name="connsiteY0" fmla="*/ 75 h 18666"/>
                  <a:gd name="connsiteX1" fmla="*/ 16637 w 17237"/>
                  <a:gd name="connsiteY1" fmla="*/ 12457 h 18666"/>
                  <a:gd name="connsiteX2" fmla="*/ 16351 w 17237"/>
                  <a:gd name="connsiteY2" fmla="*/ 18648 h 18666"/>
                  <a:gd name="connsiteX3" fmla="*/ 8446 w 17237"/>
                  <a:gd name="connsiteY3" fmla="*/ 16267 h 18666"/>
                  <a:gd name="connsiteX4" fmla="*/ 2826 w 17237"/>
                  <a:gd name="connsiteY4" fmla="*/ 8076 h 18666"/>
                  <a:gd name="connsiteX5" fmla="*/ 4540 w 17237"/>
                  <a:gd name="connsiteY5" fmla="*/ 75 h 186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237" h="18666">
                    <a:moveTo>
                      <a:pt x="4540" y="75"/>
                    </a:moveTo>
                    <a:cubicBezTo>
                      <a:pt x="4540" y="75"/>
                      <a:pt x="17494" y="-1735"/>
                      <a:pt x="16637" y="12457"/>
                    </a:cubicBezTo>
                    <a:cubicBezTo>
                      <a:pt x="16637" y="12457"/>
                      <a:pt x="18161" y="18363"/>
                      <a:pt x="16351" y="18648"/>
                    </a:cubicBezTo>
                    <a:cubicBezTo>
                      <a:pt x="16351" y="18648"/>
                      <a:pt x="9398" y="19029"/>
                      <a:pt x="8446" y="16267"/>
                    </a:cubicBezTo>
                    <a:cubicBezTo>
                      <a:pt x="7588" y="13600"/>
                      <a:pt x="9970" y="8076"/>
                      <a:pt x="2826" y="8076"/>
                    </a:cubicBezTo>
                    <a:cubicBezTo>
                      <a:pt x="-4413" y="8076"/>
                      <a:pt x="4540" y="75"/>
                      <a:pt x="4540" y="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6" name="任意多边形: 形状 1075">
                <a:extLst>
                  <a:ext uri="{FF2B5EF4-FFF2-40B4-BE49-F238E27FC236}">
                    <a16:creationId xmlns:a16="http://schemas.microsoft.com/office/drawing/2014/main" id="{8F8FF05A-673C-4819-9EBB-CDE1A44C6064}"/>
                  </a:ext>
                </a:extLst>
              </p:cNvPr>
              <p:cNvSpPr/>
              <p:nvPr/>
            </p:nvSpPr>
            <p:spPr>
              <a:xfrm>
                <a:off x="2398364" y="4613615"/>
                <a:ext cx="19442" cy="15471"/>
              </a:xfrm>
              <a:custGeom>
                <a:avLst/>
                <a:gdLst>
                  <a:gd name="connsiteX0" fmla="*/ 0 w 19442"/>
                  <a:gd name="connsiteY0" fmla="*/ 104 h 15471"/>
                  <a:gd name="connsiteX1" fmla="*/ 13811 w 19442"/>
                  <a:gd name="connsiteY1" fmla="*/ 15440 h 15471"/>
                  <a:gd name="connsiteX2" fmla="*/ 16764 w 19442"/>
                  <a:gd name="connsiteY2" fmla="*/ 9153 h 15471"/>
                  <a:gd name="connsiteX3" fmla="*/ 0 w 19442"/>
                  <a:gd name="connsiteY3" fmla="*/ 104 h 15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442" h="15471">
                    <a:moveTo>
                      <a:pt x="0" y="104"/>
                    </a:moveTo>
                    <a:cubicBezTo>
                      <a:pt x="0" y="104"/>
                      <a:pt x="8477" y="15440"/>
                      <a:pt x="13811" y="15440"/>
                    </a:cubicBezTo>
                    <a:cubicBezTo>
                      <a:pt x="13811" y="15440"/>
                      <a:pt x="24193" y="16297"/>
                      <a:pt x="16764" y="9153"/>
                    </a:cubicBezTo>
                    <a:cubicBezTo>
                      <a:pt x="16859" y="9058"/>
                      <a:pt x="8096" y="-1134"/>
                      <a:pt x="0" y="10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7" name="任意多边形: 形状 1076">
                <a:extLst>
                  <a:ext uri="{FF2B5EF4-FFF2-40B4-BE49-F238E27FC236}">
                    <a16:creationId xmlns:a16="http://schemas.microsoft.com/office/drawing/2014/main" id="{9FEFB76C-8A68-46B5-9DD1-D8861C2DDE94}"/>
                  </a:ext>
                </a:extLst>
              </p:cNvPr>
              <p:cNvSpPr/>
              <p:nvPr/>
            </p:nvSpPr>
            <p:spPr>
              <a:xfrm>
                <a:off x="2436101" y="4644601"/>
                <a:ext cx="23186" cy="22748"/>
              </a:xfrm>
              <a:custGeom>
                <a:avLst/>
                <a:gdLst>
                  <a:gd name="connsiteX0" fmla="*/ 2935 w 23186"/>
                  <a:gd name="connsiteY0" fmla="*/ 1217 h 22747"/>
                  <a:gd name="connsiteX1" fmla="*/ 22176 w 23186"/>
                  <a:gd name="connsiteY1" fmla="*/ 6932 h 22747"/>
                  <a:gd name="connsiteX2" fmla="*/ 18271 w 23186"/>
                  <a:gd name="connsiteY2" fmla="*/ 10552 h 22747"/>
                  <a:gd name="connsiteX3" fmla="*/ 18080 w 23186"/>
                  <a:gd name="connsiteY3" fmla="*/ 19220 h 22747"/>
                  <a:gd name="connsiteX4" fmla="*/ 3031 w 23186"/>
                  <a:gd name="connsiteY4" fmla="*/ 16838 h 22747"/>
                  <a:gd name="connsiteX5" fmla="*/ 2935 w 23186"/>
                  <a:gd name="connsiteY5" fmla="*/ 1217 h 22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186" h="22747">
                    <a:moveTo>
                      <a:pt x="2935" y="1217"/>
                    </a:moveTo>
                    <a:cubicBezTo>
                      <a:pt x="2935" y="1217"/>
                      <a:pt x="18747" y="-3926"/>
                      <a:pt x="22176" y="6932"/>
                    </a:cubicBezTo>
                    <a:cubicBezTo>
                      <a:pt x="25414" y="17886"/>
                      <a:pt x="19985" y="8552"/>
                      <a:pt x="18271" y="10552"/>
                    </a:cubicBezTo>
                    <a:cubicBezTo>
                      <a:pt x="16461" y="12647"/>
                      <a:pt x="17604" y="17219"/>
                      <a:pt x="18080" y="19220"/>
                    </a:cubicBezTo>
                    <a:cubicBezTo>
                      <a:pt x="18271" y="21410"/>
                      <a:pt x="9603" y="27030"/>
                      <a:pt x="3031" y="16838"/>
                    </a:cubicBezTo>
                    <a:cubicBezTo>
                      <a:pt x="-3732" y="6742"/>
                      <a:pt x="2935" y="1217"/>
                      <a:pt x="2935" y="121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8" name="任意多边形: 形状 1077">
                <a:extLst>
                  <a:ext uri="{FF2B5EF4-FFF2-40B4-BE49-F238E27FC236}">
                    <a16:creationId xmlns:a16="http://schemas.microsoft.com/office/drawing/2014/main" id="{9A87A0FE-B852-4C13-B8A2-51138639129F}"/>
                  </a:ext>
                </a:extLst>
              </p:cNvPr>
              <p:cNvSpPr/>
              <p:nvPr/>
            </p:nvSpPr>
            <p:spPr>
              <a:xfrm>
                <a:off x="2578446" y="3906083"/>
                <a:ext cx="293879" cy="391114"/>
              </a:xfrm>
              <a:custGeom>
                <a:avLst/>
                <a:gdLst>
                  <a:gd name="connsiteX0" fmla="*/ 104905 w 293880"/>
                  <a:gd name="connsiteY0" fmla="*/ 352828 h 391115"/>
                  <a:gd name="connsiteX1" fmla="*/ 104524 w 293880"/>
                  <a:gd name="connsiteY1" fmla="*/ 389880 h 391115"/>
                  <a:gd name="connsiteX2" fmla="*/ 135480 w 293880"/>
                  <a:gd name="connsiteY2" fmla="*/ 375307 h 391115"/>
                  <a:gd name="connsiteX3" fmla="*/ 188725 w 293880"/>
                  <a:gd name="connsiteY3" fmla="*/ 329206 h 391115"/>
                  <a:gd name="connsiteX4" fmla="*/ 208632 w 293880"/>
                  <a:gd name="connsiteY4" fmla="*/ 300631 h 391115"/>
                  <a:gd name="connsiteX5" fmla="*/ 229777 w 293880"/>
                  <a:gd name="connsiteY5" fmla="*/ 304250 h 391115"/>
                  <a:gd name="connsiteX6" fmla="*/ 247303 w 293880"/>
                  <a:gd name="connsiteY6" fmla="*/ 298726 h 391115"/>
                  <a:gd name="connsiteX7" fmla="*/ 235778 w 293880"/>
                  <a:gd name="connsiteY7" fmla="*/ 282152 h 391115"/>
                  <a:gd name="connsiteX8" fmla="*/ 269306 w 293880"/>
                  <a:gd name="connsiteY8" fmla="*/ 258626 h 391115"/>
                  <a:gd name="connsiteX9" fmla="*/ 293881 w 293880"/>
                  <a:gd name="connsiteY9" fmla="*/ 212525 h 391115"/>
                  <a:gd name="connsiteX10" fmla="*/ 284356 w 293880"/>
                  <a:gd name="connsiteY10" fmla="*/ 213001 h 391115"/>
                  <a:gd name="connsiteX11" fmla="*/ 225682 w 293880"/>
                  <a:gd name="connsiteY11" fmla="*/ 265579 h 391115"/>
                  <a:gd name="connsiteX12" fmla="*/ 211585 w 293880"/>
                  <a:gd name="connsiteY12" fmla="*/ 238147 h 391115"/>
                  <a:gd name="connsiteX13" fmla="*/ 202060 w 293880"/>
                  <a:gd name="connsiteY13" fmla="*/ 174901 h 391115"/>
                  <a:gd name="connsiteX14" fmla="*/ 197107 w 293880"/>
                  <a:gd name="connsiteY14" fmla="*/ 171853 h 391115"/>
                  <a:gd name="connsiteX15" fmla="*/ 176056 w 293880"/>
                  <a:gd name="connsiteY15" fmla="*/ 163947 h 391115"/>
                  <a:gd name="connsiteX16" fmla="*/ 163579 w 293880"/>
                  <a:gd name="connsiteY16" fmla="*/ 162899 h 391115"/>
                  <a:gd name="connsiteX17" fmla="*/ 162626 w 293880"/>
                  <a:gd name="connsiteY17" fmla="*/ 148326 h 391115"/>
                  <a:gd name="connsiteX18" fmla="*/ 155482 w 293880"/>
                  <a:gd name="connsiteY18" fmla="*/ 127276 h 391115"/>
                  <a:gd name="connsiteX19" fmla="*/ 143481 w 293880"/>
                  <a:gd name="connsiteY19" fmla="*/ 117751 h 391115"/>
                  <a:gd name="connsiteX20" fmla="*/ 142528 w 293880"/>
                  <a:gd name="connsiteY20" fmla="*/ 66125 h 391115"/>
                  <a:gd name="connsiteX21" fmla="*/ 131098 w 293880"/>
                  <a:gd name="connsiteY21" fmla="*/ 56696 h 391115"/>
                  <a:gd name="connsiteX22" fmla="*/ 127574 w 293880"/>
                  <a:gd name="connsiteY22" fmla="*/ 43742 h 391115"/>
                  <a:gd name="connsiteX23" fmla="*/ 126050 w 293880"/>
                  <a:gd name="connsiteY23" fmla="*/ 25168 h 391115"/>
                  <a:gd name="connsiteX24" fmla="*/ 98523 w 293880"/>
                  <a:gd name="connsiteY24" fmla="*/ 593 h 391115"/>
                  <a:gd name="connsiteX25" fmla="*/ 84426 w 293880"/>
                  <a:gd name="connsiteY25" fmla="*/ 9166 h 391115"/>
                  <a:gd name="connsiteX26" fmla="*/ 61852 w 293880"/>
                  <a:gd name="connsiteY26" fmla="*/ 23263 h 391115"/>
                  <a:gd name="connsiteX27" fmla="*/ 40801 w 293880"/>
                  <a:gd name="connsiteY27" fmla="*/ 12690 h 391115"/>
                  <a:gd name="connsiteX28" fmla="*/ 28800 w 293880"/>
                  <a:gd name="connsiteY28" fmla="*/ 34121 h 391115"/>
                  <a:gd name="connsiteX29" fmla="*/ 33277 w 293880"/>
                  <a:gd name="connsiteY29" fmla="*/ 38693 h 391115"/>
                  <a:gd name="connsiteX30" fmla="*/ 64328 w 293880"/>
                  <a:gd name="connsiteY30" fmla="*/ 68221 h 391115"/>
                  <a:gd name="connsiteX31" fmla="*/ 48802 w 293880"/>
                  <a:gd name="connsiteY31" fmla="*/ 91748 h 391115"/>
                  <a:gd name="connsiteX32" fmla="*/ 59947 w 293880"/>
                  <a:gd name="connsiteY32" fmla="*/ 104225 h 391115"/>
                  <a:gd name="connsiteX33" fmla="*/ 79949 w 293880"/>
                  <a:gd name="connsiteY33" fmla="*/ 93748 h 391115"/>
                  <a:gd name="connsiteX34" fmla="*/ 107000 w 293880"/>
                  <a:gd name="connsiteY34" fmla="*/ 121751 h 391115"/>
                  <a:gd name="connsiteX35" fmla="*/ 92998 w 293880"/>
                  <a:gd name="connsiteY35" fmla="*/ 185950 h 391115"/>
                  <a:gd name="connsiteX36" fmla="*/ 59470 w 293880"/>
                  <a:gd name="connsiteY36" fmla="*/ 175949 h 391115"/>
                  <a:gd name="connsiteX37" fmla="*/ 10226 w 293880"/>
                  <a:gd name="connsiteY37" fmla="*/ 161852 h 391115"/>
                  <a:gd name="connsiteX38" fmla="*/ 225 w 293880"/>
                  <a:gd name="connsiteY38" fmla="*/ 179378 h 391115"/>
                  <a:gd name="connsiteX39" fmla="*/ 92522 w 293880"/>
                  <a:gd name="connsiteY39" fmla="*/ 244052 h 391115"/>
                  <a:gd name="connsiteX40" fmla="*/ 140528 w 293880"/>
                  <a:gd name="connsiteY40" fmla="*/ 269579 h 391115"/>
                  <a:gd name="connsiteX41" fmla="*/ 131479 w 293880"/>
                  <a:gd name="connsiteY41" fmla="*/ 283772 h 391115"/>
                  <a:gd name="connsiteX42" fmla="*/ 133480 w 293880"/>
                  <a:gd name="connsiteY42" fmla="*/ 299202 h 391115"/>
                  <a:gd name="connsiteX43" fmla="*/ 138528 w 293880"/>
                  <a:gd name="connsiteY43" fmla="*/ 296821 h 391115"/>
                  <a:gd name="connsiteX44" fmla="*/ 169960 w 293880"/>
                  <a:gd name="connsiteY44" fmla="*/ 294725 h 391115"/>
                  <a:gd name="connsiteX45" fmla="*/ 175485 w 293880"/>
                  <a:gd name="connsiteY45" fmla="*/ 287296 h 391115"/>
                  <a:gd name="connsiteX46" fmla="*/ 187963 w 293880"/>
                  <a:gd name="connsiteY46" fmla="*/ 299774 h 391115"/>
                  <a:gd name="connsiteX47" fmla="*/ 119859 w 293880"/>
                  <a:gd name="connsiteY47" fmla="*/ 357876 h 391115"/>
                  <a:gd name="connsiteX48" fmla="*/ 104905 w 293880"/>
                  <a:gd name="connsiteY48" fmla="*/ 352828 h 391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293880" h="391115">
                    <a:moveTo>
                      <a:pt x="104905" y="352828"/>
                    </a:moveTo>
                    <a:cubicBezTo>
                      <a:pt x="104905" y="352828"/>
                      <a:pt x="81949" y="376831"/>
                      <a:pt x="104524" y="389880"/>
                    </a:cubicBezTo>
                    <a:cubicBezTo>
                      <a:pt x="104524" y="389880"/>
                      <a:pt x="111001" y="397405"/>
                      <a:pt x="135480" y="375307"/>
                    </a:cubicBezTo>
                    <a:lnTo>
                      <a:pt x="188725" y="329206"/>
                    </a:lnTo>
                    <a:cubicBezTo>
                      <a:pt x="188725" y="329206"/>
                      <a:pt x="203298" y="300155"/>
                      <a:pt x="208632" y="300631"/>
                    </a:cubicBezTo>
                    <a:cubicBezTo>
                      <a:pt x="208632" y="300631"/>
                      <a:pt x="223205" y="297107"/>
                      <a:pt x="229777" y="304250"/>
                    </a:cubicBezTo>
                    <a:cubicBezTo>
                      <a:pt x="229777" y="304250"/>
                      <a:pt x="243779" y="305203"/>
                      <a:pt x="247303" y="298726"/>
                    </a:cubicBezTo>
                    <a:cubicBezTo>
                      <a:pt x="247303" y="298726"/>
                      <a:pt x="249208" y="290725"/>
                      <a:pt x="235778" y="282152"/>
                    </a:cubicBezTo>
                    <a:cubicBezTo>
                      <a:pt x="235778" y="282152"/>
                      <a:pt x="251780" y="259578"/>
                      <a:pt x="269306" y="258626"/>
                    </a:cubicBezTo>
                    <a:cubicBezTo>
                      <a:pt x="269306" y="258626"/>
                      <a:pt x="284356" y="246529"/>
                      <a:pt x="293881" y="212525"/>
                    </a:cubicBezTo>
                    <a:cubicBezTo>
                      <a:pt x="293881" y="212525"/>
                      <a:pt x="289880" y="206048"/>
                      <a:pt x="284356" y="213001"/>
                    </a:cubicBezTo>
                    <a:cubicBezTo>
                      <a:pt x="284356" y="213001"/>
                      <a:pt x="261305" y="252244"/>
                      <a:pt x="225682" y="265579"/>
                    </a:cubicBezTo>
                    <a:cubicBezTo>
                      <a:pt x="225682" y="265579"/>
                      <a:pt x="207203" y="271199"/>
                      <a:pt x="211585" y="238147"/>
                    </a:cubicBezTo>
                    <a:cubicBezTo>
                      <a:pt x="211585" y="238147"/>
                      <a:pt x="217014" y="200523"/>
                      <a:pt x="202060" y="174901"/>
                    </a:cubicBezTo>
                    <a:lnTo>
                      <a:pt x="197107" y="171853"/>
                    </a:lnTo>
                    <a:cubicBezTo>
                      <a:pt x="197107" y="171853"/>
                      <a:pt x="178533" y="168424"/>
                      <a:pt x="176056" y="163947"/>
                    </a:cubicBezTo>
                    <a:cubicBezTo>
                      <a:pt x="173580" y="159280"/>
                      <a:pt x="166055" y="161471"/>
                      <a:pt x="163579" y="162899"/>
                    </a:cubicBezTo>
                    <a:cubicBezTo>
                      <a:pt x="161102" y="164423"/>
                      <a:pt x="157578" y="161852"/>
                      <a:pt x="162626" y="148326"/>
                    </a:cubicBezTo>
                    <a:cubicBezTo>
                      <a:pt x="162626" y="148326"/>
                      <a:pt x="163579" y="130800"/>
                      <a:pt x="155482" y="127276"/>
                    </a:cubicBezTo>
                    <a:lnTo>
                      <a:pt x="143481" y="117751"/>
                    </a:lnTo>
                    <a:cubicBezTo>
                      <a:pt x="143481" y="117751"/>
                      <a:pt x="146053" y="76222"/>
                      <a:pt x="142528" y="66125"/>
                    </a:cubicBezTo>
                    <a:lnTo>
                      <a:pt x="131098" y="56696"/>
                    </a:lnTo>
                    <a:lnTo>
                      <a:pt x="127574" y="43742"/>
                    </a:lnTo>
                    <a:cubicBezTo>
                      <a:pt x="127574" y="43742"/>
                      <a:pt x="126050" y="27168"/>
                      <a:pt x="126050" y="25168"/>
                    </a:cubicBezTo>
                    <a:cubicBezTo>
                      <a:pt x="126050" y="23263"/>
                      <a:pt x="111001" y="-4360"/>
                      <a:pt x="98523" y="593"/>
                    </a:cubicBezTo>
                    <a:cubicBezTo>
                      <a:pt x="98523" y="593"/>
                      <a:pt x="86045" y="11642"/>
                      <a:pt x="84426" y="9166"/>
                    </a:cubicBezTo>
                    <a:cubicBezTo>
                      <a:pt x="82997" y="6594"/>
                      <a:pt x="77949" y="26692"/>
                      <a:pt x="61852" y="23263"/>
                    </a:cubicBezTo>
                    <a:cubicBezTo>
                      <a:pt x="61852" y="23263"/>
                      <a:pt x="48802" y="12690"/>
                      <a:pt x="40801" y="12690"/>
                    </a:cubicBezTo>
                    <a:cubicBezTo>
                      <a:pt x="40801" y="12690"/>
                      <a:pt x="22799" y="14690"/>
                      <a:pt x="28800" y="34121"/>
                    </a:cubicBezTo>
                    <a:cubicBezTo>
                      <a:pt x="28800" y="34121"/>
                      <a:pt x="31276" y="35741"/>
                      <a:pt x="33277" y="38693"/>
                    </a:cubicBezTo>
                    <a:cubicBezTo>
                      <a:pt x="35182" y="41741"/>
                      <a:pt x="52803" y="39170"/>
                      <a:pt x="64328" y="68221"/>
                    </a:cubicBezTo>
                    <a:cubicBezTo>
                      <a:pt x="64328" y="68221"/>
                      <a:pt x="62423" y="83747"/>
                      <a:pt x="48802" y="91748"/>
                    </a:cubicBezTo>
                    <a:cubicBezTo>
                      <a:pt x="48802" y="91748"/>
                      <a:pt x="41849" y="111845"/>
                      <a:pt x="59947" y="104225"/>
                    </a:cubicBezTo>
                    <a:lnTo>
                      <a:pt x="79949" y="93748"/>
                    </a:lnTo>
                    <a:cubicBezTo>
                      <a:pt x="79949" y="93748"/>
                      <a:pt x="98523" y="103368"/>
                      <a:pt x="107000" y="121751"/>
                    </a:cubicBezTo>
                    <a:cubicBezTo>
                      <a:pt x="107000" y="121751"/>
                      <a:pt x="108905" y="164042"/>
                      <a:pt x="92998" y="185950"/>
                    </a:cubicBezTo>
                    <a:cubicBezTo>
                      <a:pt x="92998" y="185950"/>
                      <a:pt x="84902" y="203476"/>
                      <a:pt x="59470" y="175949"/>
                    </a:cubicBezTo>
                    <a:cubicBezTo>
                      <a:pt x="59470" y="175949"/>
                      <a:pt x="37753" y="154994"/>
                      <a:pt x="10226" y="161852"/>
                    </a:cubicBezTo>
                    <a:cubicBezTo>
                      <a:pt x="10226" y="161852"/>
                      <a:pt x="-1775" y="173377"/>
                      <a:pt x="225" y="179378"/>
                    </a:cubicBezTo>
                    <a:cubicBezTo>
                      <a:pt x="225" y="179378"/>
                      <a:pt x="18799" y="212429"/>
                      <a:pt x="92522" y="244052"/>
                    </a:cubicBezTo>
                    <a:cubicBezTo>
                      <a:pt x="92522" y="244052"/>
                      <a:pt x="137575" y="258149"/>
                      <a:pt x="140528" y="269579"/>
                    </a:cubicBezTo>
                    <a:cubicBezTo>
                      <a:pt x="140528" y="269579"/>
                      <a:pt x="148434" y="280057"/>
                      <a:pt x="131479" y="283772"/>
                    </a:cubicBezTo>
                    <a:cubicBezTo>
                      <a:pt x="131479" y="283772"/>
                      <a:pt x="111858" y="306156"/>
                      <a:pt x="133480" y="299202"/>
                    </a:cubicBezTo>
                    <a:lnTo>
                      <a:pt x="138528" y="296821"/>
                    </a:lnTo>
                    <a:cubicBezTo>
                      <a:pt x="138528" y="296821"/>
                      <a:pt x="164531" y="293297"/>
                      <a:pt x="169960" y="294725"/>
                    </a:cubicBezTo>
                    <a:cubicBezTo>
                      <a:pt x="169960" y="294725"/>
                      <a:pt x="174532" y="292820"/>
                      <a:pt x="175485" y="287296"/>
                    </a:cubicBezTo>
                    <a:cubicBezTo>
                      <a:pt x="176628" y="281771"/>
                      <a:pt x="195106" y="286248"/>
                      <a:pt x="187963" y="299774"/>
                    </a:cubicBezTo>
                    <a:cubicBezTo>
                      <a:pt x="187963" y="299774"/>
                      <a:pt x="125955" y="357876"/>
                      <a:pt x="119859" y="357876"/>
                    </a:cubicBezTo>
                    <a:cubicBezTo>
                      <a:pt x="119954" y="357876"/>
                      <a:pt x="104905" y="357400"/>
                      <a:pt x="104905" y="352828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9" name="任意多边形: 形状 1078">
                <a:extLst>
                  <a:ext uri="{FF2B5EF4-FFF2-40B4-BE49-F238E27FC236}">
                    <a16:creationId xmlns:a16="http://schemas.microsoft.com/office/drawing/2014/main" id="{2BDF1CD4-4566-4CCF-89FC-43642D389D86}"/>
                  </a:ext>
                </a:extLst>
              </p:cNvPr>
              <p:cNvSpPr/>
              <p:nvPr/>
            </p:nvSpPr>
            <p:spPr>
              <a:xfrm>
                <a:off x="2676107" y="3924325"/>
                <a:ext cx="20198" cy="70488"/>
              </a:xfrm>
              <a:custGeom>
                <a:avLst/>
                <a:gdLst>
                  <a:gd name="connsiteX0" fmla="*/ 1340 w 20198"/>
                  <a:gd name="connsiteY0" fmla="*/ 1976 h 70487"/>
                  <a:gd name="connsiteX1" fmla="*/ 2959 w 20198"/>
                  <a:gd name="connsiteY1" fmla="*/ 37123 h 70487"/>
                  <a:gd name="connsiteX2" fmla="*/ 8960 w 20198"/>
                  <a:gd name="connsiteY2" fmla="*/ 66079 h 70487"/>
                  <a:gd name="connsiteX3" fmla="*/ 16865 w 20198"/>
                  <a:gd name="connsiteY3" fmla="*/ 70080 h 70487"/>
                  <a:gd name="connsiteX4" fmla="*/ 18009 w 20198"/>
                  <a:gd name="connsiteY4" fmla="*/ 15501 h 70487"/>
                  <a:gd name="connsiteX5" fmla="*/ 1340 w 20198"/>
                  <a:gd name="connsiteY5" fmla="*/ 1976 h 70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198" h="70487">
                    <a:moveTo>
                      <a:pt x="1340" y="1976"/>
                    </a:moveTo>
                    <a:cubicBezTo>
                      <a:pt x="1340" y="1976"/>
                      <a:pt x="-2566" y="25503"/>
                      <a:pt x="2959" y="37123"/>
                    </a:cubicBezTo>
                    <a:cubicBezTo>
                      <a:pt x="2959" y="37123"/>
                      <a:pt x="10293" y="61126"/>
                      <a:pt x="8960" y="66079"/>
                    </a:cubicBezTo>
                    <a:cubicBezTo>
                      <a:pt x="8960" y="66079"/>
                      <a:pt x="13913" y="72080"/>
                      <a:pt x="16865" y="70080"/>
                    </a:cubicBezTo>
                    <a:cubicBezTo>
                      <a:pt x="16865" y="70080"/>
                      <a:pt x="23533" y="30456"/>
                      <a:pt x="18009" y="15501"/>
                    </a:cubicBezTo>
                    <a:cubicBezTo>
                      <a:pt x="17913" y="15501"/>
                      <a:pt x="10865" y="-6597"/>
                      <a:pt x="1340" y="197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0" name="任意多边形: 形状 1079">
                <a:extLst>
                  <a:ext uri="{FF2B5EF4-FFF2-40B4-BE49-F238E27FC236}">
                    <a16:creationId xmlns:a16="http://schemas.microsoft.com/office/drawing/2014/main" id="{F7004D4C-090F-4FC5-9EA5-53201EA0B3A5}"/>
                  </a:ext>
                </a:extLst>
              </p:cNvPr>
              <p:cNvSpPr/>
              <p:nvPr/>
            </p:nvSpPr>
            <p:spPr>
              <a:xfrm>
                <a:off x="2688332" y="4060967"/>
                <a:ext cx="87792" cy="118718"/>
              </a:xfrm>
              <a:custGeom>
                <a:avLst/>
                <a:gdLst>
                  <a:gd name="connsiteX0" fmla="*/ 20830 w 87790"/>
                  <a:gd name="connsiteY0" fmla="*/ 16 h 118719"/>
                  <a:gd name="connsiteX1" fmla="*/ 12162 w 87790"/>
                  <a:gd name="connsiteY1" fmla="*/ 14209 h 118719"/>
                  <a:gd name="connsiteX2" fmla="*/ 8448 w 87790"/>
                  <a:gd name="connsiteY2" fmla="*/ 15733 h 118719"/>
                  <a:gd name="connsiteX3" fmla="*/ 542 w 87790"/>
                  <a:gd name="connsiteY3" fmla="*/ 47356 h 118719"/>
                  <a:gd name="connsiteX4" fmla="*/ 1971 w 87790"/>
                  <a:gd name="connsiteY4" fmla="*/ 52595 h 118719"/>
                  <a:gd name="connsiteX5" fmla="*/ 43785 w 87790"/>
                  <a:gd name="connsiteY5" fmla="*/ 99934 h 118719"/>
                  <a:gd name="connsiteX6" fmla="*/ 64836 w 87790"/>
                  <a:gd name="connsiteY6" fmla="*/ 106316 h 118719"/>
                  <a:gd name="connsiteX7" fmla="*/ 77218 w 87790"/>
                  <a:gd name="connsiteY7" fmla="*/ 112793 h 118719"/>
                  <a:gd name="connsiteX8" fmla="*/ 80171 w 87790"/>
                  <a:gd name="connsiteY8" fmla="*/ 117650 h 118719"/>
                  <a:gd name="connsiteX9" fmla="*/ 87791 w 87790"/>
                  <a:gd name="connsiteY9" fmla="*/ 114697 h 118719"/>
                  <a:gd name="connsiteX10" fmla="*/ 75694 w 87790"/>
                  <a:gd name="connsiteY10" fmla="*/ 104506 h 118719"/>
                  <a:gd name="connsiteX11" fmla="*/ 64074 w 87790"/>
                  <a:gd name="connsiteY11" fmla="*/ 89552 h 118719"/>
                  <a:gd name="connsiteX12" fmla="*/ 62835 w 87790"/>
                  <a:gd name="connsiteY12" fmla="*/ 66977 h 118719"/>
                  <a:gd name="connsiteX13" fmla="*/ 38451 w 87790"/>
                  <a:gd name="connsiteY13" fmla="*/ 47070 h 118719"/>
                  <a:gd name="connsiteX14" fmla="*/ 37689 w 87790"/>
                  <a:gd name="connsiteY14" fmla="*/ 33164 h 118719"/>
                  <a:gd name="connsiteX15" fmla="*/ 25593 w 87790"/>
                  <a:gd name="connsiteY15" fmla="*/ 32116 h 118719"/>
                  <a:gd name="connsiteX16" fmla="*/ 20830 w 87790"/>
                  <a:gd name="connsiteY16" fmla="*/ 16 h 118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87790" h="118719">
                    <a:moveTo>
                      <a:pt x="20830" y="16"/>
                    </a:moveTo>
                    <a:cubicBezTo>
                      <a:pt x="20830" y="16"/>
                      <a:pt x="12639" y="2207"/>
                      <a:pt x="12162" y="14209"/>
                    </a:cubicBezTo>
                    <a:lnTo>
                      <a:pt x="8448" y="15733"/>
                    </a:lnTo>
                    <a:lnTo>
                      <a:pt x="542" y="47356"/>
                    </a:lnTo>
                    <a:cubicBezTo>
                      <a:pt x="542" y="47356"/>
                      <a:pt x="-1363" y="51070"/>
                      <a:pt x="1971" y="52595"/>
                    </a:cubicBezTo>
                    <a:cubicBezTo>
                      <a:pt x="5495" y="54023"/>
                      <a:pt x="35784" y="93457"/>
                      <a:pt x="43785" y="99934"/>
                    </a:cubicBezTo>
                    <a:cubicBezTo>
                      <a:pt x="43785" y="99934"/>
                      <a:pt x="54549" y="109649"/>
                      <a:pt x="64836" y="106316"/>
                    </a:cubicBezTo>
                    <a:cubicBezTo>
                      <a:pt x="64836" y="106316"/>
                      <a:pt x="70074" y="113840"/>
                      <a:pt x="77218" y="112793"/>
                    </a:cubicBezTo>
                    <a:lnTo>
                      <a:pt x="80171" y="117650"/>
                    </a:lnTo>
                    <a:cubicBezTo>
                      <a:pt x="80171" y="117650"/>
                      <a:pt x="86553" y="121460"/>
                      <a:pt x="87791" y="114697"/>
                    </a:cubicBezTo>
                    <a:cubicBezTo>
                      <a:pt x="84267" y="113554"/>
                      <a:pt x="83219" y="108697"/>
                      <a:pt x="75694" y="104506"/>
                    </a:cubicBezTo>
                    <a:cubicBezTo>
                      <a:pt x="68074" y="100410"/>
                      <a:pt x="64074" y="96600"/>
                      <a:pt x="64074" y="89552"/>
                    </a:cubicBezTo>
                    <a:lnTo>
                      <a:pt x="62835" y="66977"/>
                    </a:lnTo>
                    <a:cubicBezTo>
                      <a:pt x="62835" y="66977"/>
                      <a:pt x="58644" y="53452"/>
                      <a:pt x="38451" y="47070"/>
                    </a:cubicBezTo>
                    <a:lnTo>
                      <a:pt x="37689" y="33164"/>
                    </a:lnTo>
                    <a:lnTo>
                      <a:pt x="25593" y="32116"/>
                    </a:lnTo>
                    <a:cubicBezTo>
                      <a:pt x="25688" y="32020"/>
                      <a:pt x="29498" y="-841"/>
                      <a:pt x="20830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1" name="任意多边形: 形状 1080">
                <a:extLst>
                  <a:ext uri="{FF2B5EF4-FFF2-40B4-BE49-F238E27FC236}">
                    <a16:creationId xmlns:a16="http://schemas.microsoft.com/office/drawing/2014/main" id="{431BFBD6-6B0D-4F35-94C0-FA80ADED8793}"/>
                  </a:ext>
                </a:extLst>
              </p:cNvPr>
              <p:cNvSpPr/>
              <p:nvPr/>
            </p:nvSpPr>
            <p:spPr>
              <a:xfrm>
                <a:off x="2608734" y="4092111"/>
                <a:ext cx="66902" cy="44550"/>
              </a:xfrm>
              <a:custGeom>
                <a:avLst/>
                <a:gdLst>
                  <a:gd name="connsiteX0" fmla="*/ 12420 w 66902"/>
                  <a:gd name="connsiteY0" fmla="*/ 304 h 44549"/>
                  <a:gd name="connsiteX1" fmla="*/ 38 w 66902"/>
                  <a:gd name="connsiteY1" fmla="*/ 2209 h 44549"/>
                  <a:gd name="connsiteX2" fmla="*/ 43567 w 66902"/>
                  <a:gd name="connsiteY2" fmla="*/ 36118 h 44549"/>
                  <a:gd name="connsiteX3" fmla="*/ 66903 w 66902"/>
                  <a:gd name="connsiteY3" fmla="*/ 44310 h 44549"/>
                  <a:gd name="connsiteX4" fmla="*/ 33565 w 66902"/>
                  <a:gd name="connsiteY4" fmla="*/ 19926 h 44549"/>
                  <a:gd name="connsiteX5" fmla="*/ 12420 w 66902"/>
                  <a:gd name="connsiteY5" fmla="*/ 304 h 44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902" h="44549">
                    <a:moveTo>
                      <a:pt x="12420" y="304"/>
                    </a:moveTo>
                    <a:cubicBezTo>
                      <a:pt x="12420" y="304"/>
                      <a:pt x="3752" y="-1124"/>
                      <a:pt x="38" y="2209"/>
                    </a:cubicBezTo>
                    <a:cubicBezTo>
                      <a:pt x="38" y="2209"/>
                      <a:pt x="-2915" y="19069"/>
                      <a:pt x="43567" y="36118"/>
                    </a:cubicBezTo>
                    <a:cubicBezTo>
                      <a:pt x="43567" y="36118"/>
                      <a:pt x="61664" y="46215"/>
                      <a:pt x="66903" y="44310"/>
                    </a:cubicBezTo>
                    <a:cubicBezTo>
                      <a:pt x="66903" y="44310"/>
                      <a:pt x="53473" y="31927"/>
                      <a:pt x="33565" y="19926"/>
                    </a:cubicBezTo>
                    <a:cubicBezTo>
                      <a:pt x="33565" y="19926"/>
                      <a:pt x="13182" y="3638"/>
                      <a:pt x="12420" y="30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2" name="任意多边形: 形状 1081">
                <a:extLst>
                  <a:ext uri="{FF2B5EF4-FFF2-40B4-BE49-F238E27FC236}">
                    <a16:creationId xmlns:a16="http://schemas.microsoft.com/office/drawing/2014/main" id="{C43CF18F-43F1-464B-85D1-3C82DE210872}"/>
                  </a:ext>
                </a:extLst>
              </p:cNvPr>
              <p:cNvSpPr/>
              <p:nvPr/>
            </p:nvSpPr>
            <p:spPr>
              <a:xfrm>
                <a:off x="2761475" y="4090959"/>
                <a:ext cx="13410" cy="39079"/>
              </a:xfrm>
              <a:custGeom>
                <a:avLst/>
                <a:gdLst>
                  <a:gd name="connsiteX0" fmla="*/ 3313 w 13409"/>
                  <a:gd name="connsiteY0" fmla="*/ 1457 h 39080"/>
                  <a:gd name="connsiteX1" fmla="*/ 646 w 13409"/>
                  <a:gd name="connsiteY1" fmla="*/ 12316 h 39080"/>
                  <a:gd name="connsiteX2" fmla="*/ 7314 w 13409"/>
                  <a:gd name="connsiteY2" fmla="*/ 39081 h 39080"/>
                  <a:gd name="connsiteX3" fmla="*/ 13410 w 13409"/>
                  <a:gd name="connsiteY3" fmla="*/ 20602 h 39080"/>
                  <a:gd name="connsiteX4" fmla="*/ 12267 w 13409"/>
                  <a:gd name="connsiteY4" fmla="*/ 2219 h 39080"/>
                  <a:gd name="connsiteX5" fmla="*/ 3313 w 13409"/>
                  <a:gd name="connsiteY5" fmla="*/ 1457 h 39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409" h="39080">
                    <a:moveTo>
                      <a:pt x="3313" y="1457"/>
                    </a:moveTo>
                    <a:cubicBezTo>
                      <a:pt x="3313" y="1457"/>
                      <a:pt x="4075" y="9077"/>
                      <a:pt x="646" y="12316"/>
                    </a:cubicBezTo>
                    <a:cubicBezTo>
                      <a:pt x="646" y="12316"/>
                      <a:pt x="-3068" y="33461"/>
                      <a:pt x="7314" y="39081"/>
                    </a:cubicBezTo>
                    <a:cubicBezTo>
                      <a:pt x="7314" y="39081"/>
                      <a:pt x="9981" y="22888"/>
                      <a:pt x="13410" y="20602"/>
                    </a:cubicBezTo>
                    <a:lnTo>
                      <a:pt x="12267" y="2219"/>
                    </a:lnTo>
                    <a:cubicBezTo>
                      <a:pt x="12267" y="2314"/>
                      <a:pt x="9314" y="-2258"/>
                      <a:pt x="3313" y="145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3" name="任意多边形: 形状 1082">
                <a:extLst>
                  <a:ext uri="{FF2B5EF4-FFF2-40B4-BE49-F238E27FC236}">
                    <a16:creationId xmlns:a16="http://schemas.microsoft.com/office/drawing/2014/main" id="{A0700404-5107-49C7-85F4-DD9FEC6C1B5E}"/>
                  </a:ext>
                </a:extLst>
              </p:cNvPr>
              <p:cNvSpPr/>
              <p:nvPr/>
            </p:nvSpPr>
            <p:spPr>
              <a:xfrm>
                <a:off x="3148075" y="3720702"/>
                <a:ext cx="36203" cy="47673"/>
              </a:xfrm>
              <a:custGeom>
                <a:avLst/>
                <a:gdLst>
                  <a:gd name="connsiteX0" fmla="*/ 1 w 36205"/>
                  <a:gd name="connsiteY0" fmla="*/ 144 h 47673"/>
                  <a:gd name="connsiteX1" fmla="*/ 31433 w 36205"/>
                  <a:gd name="connsiteY1" fmla="*/ 47674 h 47673"/>
                  <a:gd name="connsiteX2" fmla="*/ 22003 w 36205"/>
                  <a:gd name="connsiteY2" fmla="*/ 17575 h 47673"/>
                  <a:gd name="connsiteX3" fmla="*/ 1 w 36205"/>
                  <a:gd name="connsiteY3" fmla="*/ 144 h 47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205" h="47673">
                    <a:moveTo>
                      <a:pt x="1" y="144"/>
                    </a:moveTo>
                    <a:cubicBezTo>
                      <a:pt x="1" y="144"/>
                      <a:pt x="-571" y="45578"/>
                      <a:pt x="31433" y="47674"/>
                    </a:cubicBezTo>
                    <a:cubicBezTo>
                      <a:pt x="31433" y="47674"/>
                      <a:pt x="46959" y="36148"/>
                      <a:pt x="22003" y="17575"/>
                    </a:cubicBezTo>
                    <a:cubicBezTo>
                      <a:pt x="22003" y="17670"/>
                      <a:pt x="14955" y="-1856"/>
                      <a:pt x="1" y="144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4" name="任意多边形: 形状 1083">
                <a:extLst>
                  <a:ext uri="{FF2B5EF4-FFF2-40B4-BE49-F238E27FC236}">
                    <a16:creationId xmlns:a16="http://schemas.microsoft.com/office/drawing/2014/main" id="{B9CDEAD4-CB65-4534-8050-90A74383CF16}"/>
                  </a:ext>
                </a:extLst>
              </p:cNvPr>
              <p:cNvSpPr/>
              <p:nvPr/>
            </p:nvSpPr>
            <p:spPr>
              <a:xfrm>
                <a:off x="3160431" y="3566423"/>
                <a:ext cx="216790" cy="426262"/>
              </a:xfrm>
              <a:custGeom>
                <a:avLst/>
                <a:gdLst>
                  <a:gd name="connsiteX0" fmla="*/ 67655 w 216791"/>
                  <a:gd name="connsiteY0" fmla="*/ 1069 h 426264"/>
                  <a:gd name="connsiteX1" fmla="*/ 74227 w 216791"/>
                  <a:gd name="connsiteY1" fmla="*/ 46694 h 426264"/>
                  <a:gd name="connsiteX2" fmla="*/ 70703 w 216791"/>
                  <a:gd name="connsiteY2" fmla="*/ 82222 h 426264"/>
                  <a:gd name="connsiteX3" fmla="*/ 26983 w 216791"/>
                  <a:gd name="connsiteY3" fmla="*/ 111083 h 426264"/>
                  <a:gd name="connsiteX4" fmla="*/ 14410 w 216791"/>
                  <a:gd name="connsiteY4" fmla="*/ 98605 h 426264"/>
                  <a:gd name="connsiteX5" fmla="*/ 14791 w 216791"/>
                  <a:gd name="connsiteY5" fmla="*/ 124894 h 426264"/>
                  <a:gd name="connsiteX6" fmla="*/ 27 w 216791"/>
                  <a:gd name="connsiteY6" fmla="*/ 142610 h 426264"/>
                  <a:gd name="connsiteX7" fmla="*/ 13743 w 216791"/>
                  <a:gd name="connsiteY7" fmla="*/ 149183 h 426264"/>
                  <a:gd name="connsiteX8" fmla="*/ 23840 w 216791"/>
                  <a:gd name="connsiteY8" fmla="*/ 160898 h 426264"/>
                  <a:gd name="connsiteX9" fmla="*/ 41270 w 216791"/>
                  <a:gd name="connsiteY9" fmla="*/ 146135 h 426264"/>
                  <a:gd name="connsiteX10" fmla="*/ 67178 w 216791"/>
                  <a:gd name="connsiteY10" fmla="*/ 112702 h 426264"/>
                  <a:gd name="connsiteX11" fmla="*/ 69083 w 216791"/>
                  <a:gd name="connsiteY11" fmla="*/ 121084 h 426264"/>
                  <a:gd name="connsiteX12" fmla="*/ 56987 w 216791"/>
                  <a:gd name="connsiteY12" fmla="*/ 140039 h 426264"/>
                  <a:gd name="connsiteX13" fmla="*/ 56987 w 216791"/>
                  <a:gd name="connsiteY13" fmla="*/ 150707 h 426264"/>
                  <a:gd name="connsiteX14" fmla="*/ 60320 w 216791"/>
                  <a:gd name="connsiteY14" fmla="*/ 152993 h 426264"/>
                  <a:gd name="connsiteX15" fmla="*/ 62987 w 216791"/>
                  <a:gd name="connsiteY15" fmla="*/ 174233 h 426264"/>
                  <a:gd name="connsiteX16" fmla="*/ 61082 w 216791"/>
                  <a:gd name="connsiteY16" fmla="*/ 191093 h 426264"/>
                  <a:gd name="connsiteX17" fmla="*/ 52700 w 216791"/>
                  <a:gd name="connsiteY17" fmla="*/ 219572 h 426264"/>
                  <a:gd name="connsiteX18" fmla="*/ 53081 w 216791"/>
                  <a:gd name="connsiteY18" fmla="*/ 221668 h 426264"/>
                  <a:gd name="connsiteX19" fmla="*/ 64511 w 216791"/>
                  <a:gd name="connsiteY19" fmla="*/ 219858 h 426264"/>
                  <a:gd name="connsiteX20" fmla="*/ 75275 w 216791"/>
                  <a:gd name="connsiteY20" fmla="*/ 210809 h 426264"/>
                  <a:gd name="connsiteX21" fmla="*/ 85085 w 216791"/>
                  <a:gd name="connsiteY21" fmla="*/ 204618 h 426264"/>
                  <a:gd name="connsiteX22" fmla="*/ 105659 w 216791"/>
                  <a:gd name="connsiteY22" fmla="*/ 203189 h 426264"/>
                  <a:gd name="connsiteX23" fmla="*/ 98325 w 216791"/>
                  <a:gd name="connsiteY23" fmla="*/ 224811 h 426264"/>
                  <a:gd name="connsiteX24" fmla="*/ 55463 w 216791"/>
                  <a:gd name="connsiteY24" fmla="*/ 301392 h 426264"/>
                  <a:gd name="connsiteX25" fmla="*/ 31555 w 216791"/>
                  <a:gd name="connsiteY25" fmla="*/ 375782 h 426264"/>
                  <a:gd name="connsiteX26" fmla="*/ 29364 w 216791"/>
                  <a:gd name="connsiteY26" fmla="*/ 409977 h 426264"/>
                  <a:gd name="connsiteX27" fmla="*/ 32888 w 216791"/>
                  <a:gd name="connsiteY27" fmla="*/ 426265 h 426264"/>
                  <a:gd name="connsiteX28" fmla="*/ 46033 w 216791"/>
                  <a:gd name="connsiteY28" fmla="*/ 412168 h 426264"/>
                  <a:gd name="connsiteX29" fmla="*/ 87848 w 216791"/>
                  <a:gd name="connsiteY29" fmla="*/ 291486 h 426264"/>
                  <a:gd name="connsiteX30" fmla="*/ 96611 w 216791"/>
                  <a:gd name="connsiteY30" fmla="*/ 279770 h 426264"/>
                  <a:gd name="connsiteX31" fmla="*/ 96134 w 216791"/>
                  <a:gd name="connsiteY31" fmla="*/ 266435 h 426264"/>
                  <a:gd name="connsiteX32" fmla="*/ 111755 w 216791"/>
                  <a:gd name="connsiteY32" fmla="*/ 243766 h 426264"/>
                  <a:gd name="connsiteX33" fmla="*/ 150046 w 216791"/>
                  <a:gd name="connsiteY33" fmla="*/ 230812 h 426264"/>
                  <a:gd name="connsiteX34" fmla="*/ 138711 w 216791"/>
                  <a:gd name="connsiteY34" fmla="*/ 249290 h 426264"/>
                  <a:gd name="connsiteX35" fmla="*/ 138330 w 216791"/>
                  <a:gd name="connsiteY35" fmla="*/ 263006 h 426264"/>
                  <a:gd name="connsiteX36" fmla="*/ 131186 w 216791"/>
                  <a:gd name="connsiteY36" fmla="*/ 266912 h 426264"/>
                  <a:gd name="connsiteX37" fmla="*/ 103373 w 216791"/>
                  <a:gd name="connsiteY37" fmla="*/ 278246 h 426264"/>
                  <a:gd name="connsiteX38" fmla="*/ 102326 w 216791"/>
                  <a:gd name="connsiteY38" fmla="*/ 366734 h 426264"/>
                  <a:gd name="connsiteX39" fmla="*/ 98039 w 216791"/>
                  <a:gd name="connsiteY39" fmla="*/ 380640 h 426264"/>
                  <a:gd name="connsiteX40" fmla="*/ 99278 w 216791"/>
                  <a:gd name="connsiteY40" fmla="*/ 419502 h 426264"/>
                  <a:gd name="connsiteX41" fmla="*/ 128043 w 216791"/>
                  <a:gd name="connsiteY41" fmla="*/ 401214 h 426264"/>
                  <a:gd name="connsiteX42" fmla="*/ 156809 w 216791"/>
                  <a:gd name="connsiteY42" fmla="*/ 350732 h 426264"/>
                  <a:gd name="connsiteX43" fmla="*/ 181097 w 216791"/>
                  <a:gd name="connsiteY43" fmla="*/ 363876 h 426264"/>
                  <a:gd name="connsiteX44" fmla="*/ 216721 w 216791"/>
                  <a:gd name="connsiteY44" fmla="*/ 346064 h 426264"/>
                  <a:gd name="connsiteX45" fmla="*/ 198147 w 216791"/>
                  <a:gd name="connsiteY45" fmla="*/ 331396 h 426264"/>
                  <a:gd name="connsiteX46" fmla="*/ 191003 w 216791"/>
                  <a:gd name="connsiteY46" fmla="*/ 331396 h 426264"/>
                  <a:gd name="connsiteX47" fmla="*/ 181193 w 216791"/>
                  <a:gd name="connsiteY47" fmla="*/ 319966 h 426264"/>
                  <a:gd name="connsiteX48" fmla="*/ 196337 w 216791"/>
                  <a:gd name="connsiteY48" fmla="*/ 305869 h 426264"/>
                  <a:gd name="connsiteX49" fmla="*/ 198528 w 216791"/>
                  <a:gd name="connsiteY49" fmla="*/ 278913 h 426264"/>
                  <a:gd name="connsiteX50" fmla="*/ 176621 w 216791"/>
                  <a:gd name="connsiteY50" fmla="*/ 274722 h 426264"/>
                  <a:gd name="connsiteX51" fmla="*/ 154332 w 216791"/>
                  <a:gd name="connsiteY51" fmla="*/ 282342 h 426264"/>
                  <a:gd name="connsiteX52" fmla="*/ 156237 w 216791"/>
                  <a:gd name="connsiteY52" fmla="*/ 270912 h 426264"/>
                  <a:gd name="connsiteX53" fmla="*/ 157761 w 216791"/>
                  <a:gd name="connsiteY53" fmla="*/ 263768 h 426264"/>
                  <a:gd name="connsiteX54" fmla="*/ 161285 w 216791"/>
                  <a:gd name="connsiteY54" fmla="*/ 251195 h 426264"/>
                  <a:gd name="connsiteX55" fmla="*/ 172239 w 216791"/>
                  <a:gd name="connsiteY55" fmla="*/ 213572 h 426264"/>
                  <a:gd name="connsiteX56" fmla="*/ 147950 w 216791"/>
                  <a:gd name="connsiteY56" fmla="*/ 204142 h 426264"/>
                  <a:gd name="connsiteX57" fmla="*/ 141473 w 216791"/>
                  <a:gd name="connsiteY57" fmla="*/ 209381 h 426264"/>
                  <a:gd name="connsiteX58" fmla="*/ 131567 w 216791"/>
                  <a:gd name="connsiteY58" fmla="*/ 209381 h 426264"/>
                  <a:gd name="connsiteX59" fmla="*/ 128615 w 216791"/>
                  <a:gd name="connsiteY59" fmla="*/ 214715 h 426264"/>
                  <a:gd name="connsiteX60" fmla="*/ 121280 w 216791"/>
                  <a:gd name="connsiteY60" fmla="*/ 205571 h 426264"/>
                  <a:gd name="connsiteX61" fmla="*/ 130520 w 216791"/>
                  <a:gd name="connsiteY61" fmla="*/ 174519 h 426264"/>
                  <a:gd name="connsiteX62" fmla="*/ 112232 w 216791"/>
                  <a:gd name="connsiteY62" fmla="*/ 172995 h 426264"/>
                  <a:gd name="connsiteX63" fmla="*/ 98135 w 216791"/>
                  <a:gd name="connsiteY63" fmla="*/ 182425 h 426264"/>
                  <a:gd name="connsiteX64" fmla="*/ 87943 w 216791"/>
                  <a:gd name="connsiteY64" fmla="*/ 189283 h 426264"/>
                  <a:gd name="connsiteX65" fmla="*/ 76894 w 216791"/>
                  <a:gd name="connsiteY65" fmla="*/ 188902 h 426264"/>
                  <a:gd name="connsiteX66" fmla="*/ 83752 w 216791"/>
                  <a:gd name="connsiteY66" fmla="*/ 177091 h 426264"/>
                  <a:gd name="connsiteX67" fmla="*/ 117851 w 216791"/>
                  <a:gd name="connsiteY67" fmla="*/ 157850 h 426264"/>
                  <a:gd name="connsiteX68" fmla="*/ 147188 w 216791"/>
                  <a:gd name="connsiteY68" fmla="*/ 110797 h 426264"/>
                  <a:gd name="connsiteX69" fmla="*/ 151760 w 216791"/>
                  <a:gd name="connsiteY69" fmla="*/ 37073 h 426264"/>
                  <a:gd name="connsiteX70" fmla="*/ 110041 w 216791"/>
                  <a:gd name="connsiteY70" fmla="*/ 60314 h 426264"/>
                  <a:gd name="connsiteX71" fmla="*/ 95277 w 216791"/>
                  <a:gd name="connsiteY71" fmla="*/ 62886 h 426264"/>
                  <a:gd name="connsiteX72" fmla="*/ 97182 w 216791"/>
                  <a:gd name="connsiteY72" fmla="*/ 47741 h 426264"/>
                  <a:gd name="connsiteX73" fmla="*/ 95944 w 216791"/>
                  <a:gd name="connsiteY73" fmla="*/ 22691 h 426264"/>
                  <a:gd name="connsiteX74" fmla="*/ 67655 w 216791"/>
                  <a:gd name="connsiteY74" fmla="*/ 1069 h 4262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216791" h="426264">
                    <a:moveTo>
                      <a:pt x="67655" y="1069"/>
                    </a:moveTo>
                    <a:cubicBezTo>
                      <a:pt x="67655" y="1069"/>
                      <a:pt x="74608" y="35168"/>
                      <a:pt x="74227" y="46694"/>
                    </a:cubicBezTo>
                    <a:cubicBezTo>
                      <a:pt x="74227" y="46694"/>
                      <a:pt x="79751" y="67744"/>
                      <a:pt x="70703" y="82222"/>
                    </a:cubicBezTo>
                    <a:cubicBezTo>
                      <a:pt x="70703" y="82222"/>
                      <a:pt x="40604" y="117274"/>
                      <a:pt x="26983" y="111083"/>
                    </a:cubicBezTo>
                    <a:cubicBezTo>
                      <a:pt x="26983" y="111083"/>
                      <a:pt x="20887" y="94795"/>
                      <a:pt x="14410" y="98605"/>
                    </a:cubicBezTo>
                    <a:cubicBezTo>
                      <a:pt x="14410" y="98605"/>
                      <a:pt x="8409" y="96700"/>
                      <a:pt x="14791" y="124894"/>
                    </a:cubicBezTo>
                    <a:cubicBezTo>
                      <a:pt x="14791" y="124894"/>
                      <a:pt x="-735" y="136991"/>
                      <a:pt x="27" y="142610"/>
                    </a:cubicBezTo>
                    <a:cubicBezTo>
                      <a:pt x="1932" y="143849"/>
                      <a:pt x="-4259" y="151754"/>
                      <a:pt x="13743" y="149183"/>
                    </a:cubicBezTo>
                    <a:cubicBezTo>
                      <a:pt x="13743" y="149183"/>
                      <a:pt x="18601" y="147278"/>
                      <a:pt x="23840" y="160898"/>
                    </a:cubicBezTo>
                    <a:cubicBezTo>
                      <a:pt x="23840" y="160898"/>
                      <a:pt x="38699" y="169947"/>
                      <a:pt x="41270" y="146135"/>
                    </a:cubicBezTo>
                    <a:cubicBezTo>
                      <a:pt x="41270" y="146135"/>
                      <a:pt x="37651" y="120608"/>
                      <a:pt x="67178" y="112702"/>
                    </a:cubicBezTo>
                    <a:cubicBezTo>
                      <a:pt x="67178" y="112702"/>
                      <a:pt x="76989" y="114131"/>
                      <a:pt x="69083" y="121084"/>
                    </a:cubicBezTo>
                    <a:cubicBezTo>
                      <a:pt x="69083" y="121084"/>
                      <a:pt x="68036" y="137753"/>
                      <a:pt x="56987" y="140039"/>
                    </a:cubicBezTo>
                    <a:cubicBezTo>
                      <a:pt x="56987" y="140039"/>
                      <a:pt x="56225" y="147944"/>
                      <a:pt x="56987" y="150707"/>
                    </a:cubicBezTo>
                    <a:cubicBezTo>
                      <a:pt x="57749" y="153374"/>
                      <a:pt x="60320" y="152993"/>
                      <a:pt x="60320" y="152993"/>
                    </a:cubicBezTo>
                    <a:cubicBezTo>
                      <a:pt x="60320" y="152993"/>
                      <a:pt x="66131" y="161279"/>
                      <a:pt x="62987" y="174233"/>
                    </a:cubicBezTo>
                    <a:cubicBezTo>
                      <a:pt x="62987" y="174233"/>
                      <a:pt x="58892" y="187187"/>
                      <a:pt x="61082" y="191093"/>
                    </a:cubicBezTo>
                    <a:cubicBezTo>
                      <a:pt x="61082" y="191093"/>
                      <a:pt x="50700" y="204713"/>
                      <a:pt x="52700" y="219572"/>
                    </a:cubicBezTo>
                    <a:cubicBezTo>
                      <a:pt x="52891" y="220334"/>
                      <a:pt x="52986" y="220906"/>
                      <a:pt x="53081" y="221668"/>
                    </a:cubicBezTo>
                    <a:cubicBezTo>
                      <a:pt x="56606" y="237194"/>
                      <a:pt x="62987" y="223192"/>
                      <a:pt x="64511" y="219858"/>
                    </a:cubicBezTo>
                    <a:cubicBezTo>
                      <a:pt x="64511" y="219858"/>
                      <a:pt x="74036" y="209095"/>
                      <a:pt x="75275" y="210809"/>
                    </a:cubicBezTo>
                    <a:cubicBezTo>
                      <a:pt x="76322" y="212333"/>
                      <a:pt x="82895" y="211476"/>
                      <a:pt x="85085" y="204618"/>
                    </a:cubicBezTo>
                    <a:lnTo>
                      <a:pt x="105659" y="203189"/>
                    </a:lnTo>
                    <a:cubicBezTo>
                      <a:pt x="105659" y="203189"/>
                      <a:pt x="106898" y="211476"/>
                      <a:pt x="98325" y="224811"/>
                    </a:cubicBezTo>
                    <a:cubicBezTo>
                      <a:pt x="98325" y="224811"/>
                      <a:pt x="81275" y="266150"/>
                      <a:pt x="55463" y="301392"/>
                    </a:cubicBezTo>
                    <a:cubicBezTo>
                      <a:pt x="55463" y="301392"/>
                      <a:pt x="33460" y="340921"/>
                      <a:pt x="31555" y="375782"/>
                    </a:cubicBezTo>
                    <a:lnTo>
                      <a:pt x="29364" y="409977"/>
                    </a:lnTo>
                    <a:cubicBezTo>
                      <a:pt x="29364" y="409977"/>
                      <a:pt x="13934" y="425789"/>
                      <a:pt x="32888" y="426265"/>
                    </a:cubicBezTo>
                    <a:cubicBezTo>
                      <a:pt x="32888" y="426265"/>
                      <a:pt x="40413" y="423693"/>
                      <a:pt x="46033" y="412168"/>
                    </a:cubicBezTo>
                    <a:lnTo>
                      <a:pt x="87848" y="291486"/>
                    </a:lnTo>
                    <a:lnTo>
                      <a:pt x="96611" y="279770"/>
                    </a:lnTo>
                    <a:lnTo>
                      <a:pt x="96134" y="266435"/>
                    </a:lnTo>
                    <a:cubicBezTo>
                      <a:pt x="96134" y="266435"/>
                      <a:pt x="105659" y="252338"/>
                      <a:pt x="111755" y="243766"/>
                    </a:cubicBezTo>
                    <a:cubicBezTo>
                      <a:pt x="111755" y="243766"/>
                      <a:pt x="142521" y="223954"/>
                      <a:pt x="150046" y="230812"/>
                    </a:cubicBezTo>
                    <a:cubicBezTo>
                      <a:pt x="150046" y="230812"/>
                      <a:pt x="138997" y="247957"/>
                      <a:pt x="138711" y="249290"/>
                    </a:cubicBezTo>
                    <a:cubicBezTo>
                      <a:pt x="138330" y="250814"/>
                      <a:pt x="138330" y="263006"/>
                      <a:pt x="138330" y="263006"/>
                    </a:cubicBezTo>
                    <a:cubicBezTo>
                      <a:pt x="138330" y="263006"/>
                      <a:pt x="139092" y="266435"/>
                      <a:pt x="131186" y="266912"/>
                    </a:cubicBezTo>
                    <a:cubicBezTo>
                      <a:pt x="131186" y="266912"/>
                      <a:pt x="107564" y="273293"/>
                      <a:pt x="103373" y="278246"/>
                    </a:cubicBezTo>
                    <a:lnTo>
                      <a:pt x="102326" y="366734"/>
                    </a:lnTo>
                    <a:lnTo>
                      <a:pt x="98039" y="380640"/>
                    </a:lnTo>
                    <a:lnTo>
                      <a:pt x="99278" y="419502"/>
                    </a:lnTo>
                    <a:cubicBezTo>
                      <a:pt x="99278" y="419502"/>
                      <a:pt x="119661" y="419121"/>
                      <a:pt x="128043" y="401214"/>
                    </a:cubicBezTo>
                    <a:cubicBezTo>
                      <a:pt x="128043" y="401214"/>
                      <a:pt x="141759" y="359590"/>
                      <a:pt x="156809" y="350732"/>
                    </a:cubicBezTo>
                    <a:cubicBezTo>
                      <a:pt x="156809" y="350732"/>
                      <a:pt x="178430" y="355018"/>
                      <a:pt x="181097" y="363876"/>
                    </a:cubicBezTo>
                    <a:cubicBezTo>
                      <a:pt x="181097" y="363876"/>
                      <a:pt x="218626" y="359876"/>
                      <a:pt x="216721" y="346064"/>
                    </a:cubicBezTo>
                    <a:cubicBezTo>
                      <a:pt x="216721" y="346064"/>
                      <a:pt x="214149" y="337397"/>
                      <a:pt x="198147" y="331396"/>
                    </a:cubicBezTo>
                    <a:lnTo>
                      <a:pt x="191003" y="331396"/>
                    </a:lnTo>
                    <a:lnTo>
                      <a:pt x="181193" y="319966"/>
                    </a:lnTo>
                    <a:cubicBezTo>
                      <a:pt x="181193" y="319966"/>
                      <a:pt x="190622" y="307869"/>
                      <a:pt x="196337" y="305869"/>
                    </a:cubicBezTo>
                    <a:cubicBezTo>
                      <a:pt x="196337" y="305869"/>
                      <a:pt x="209577" y="291772"/>
                      <a:pt x="198528" y="278913"/>
                    </a:cubicBezTo>
                    <a:cubicBezTo>
                      <a:pt x="198528" y="278913"/>
                      <a:pt x="206148" y="272436"/>
                      <a:pt x="176621" y="274722"/>
                    </a:cubicBezTo>
                    <a:cubicBezTo>
                      <a:pt x="176621" y="274722"/>
                      <a:pt x="169763" y="285295"/>
                      <a:pt x="154332" y="282342"/>
                    </a:cubicBezTo>
                    <a:cubicBezTo>
                      <a:pt x="154332" y="282342"/>
                      <a:pt x="150046" y="280437"/>
                      <a:pt x="156237" y="270912"/>
                    </a:cubicBezTo>
                    <a:lnTo>
                      <a:pt x="157761" y="263768"/>
                    </a:lnTo>
                    <a:cubicBezTo>
                      <a:pt x="157761" y="263768"/>
                      <a:pt x="163571" y="263292"/>
                      <a:pt x="161285" y="251195"/>
                    </a:cubicBezTo>
                    <a:cubicBezTo>
                      <a:pt x="161285" y="251195"/>
                      <a:pt x="175668" y="245576"/>
                      <a:pt x="172239" y="213572"/>
                    </a:cubicBezTo>
                    <a:cubicBezTo>
                      <a:pt x="172239" y="213572"/>
                      <a:pt x="168810" y="202142"/>
                      <a:pt x="147950" y="204142"/>
                    </a:cubicBezTo>
                    <a:lnTo>
                      <a:pt x="141473" y="209381"/>
                    </a:lnTo>
                    <a:lnTo>
                      <a:pt x="131567" y="209381"/>
                    </a:lnTo>
                    <a:cubicBezTo>
                      <a:pt x="129377" y="209381"/>
                      <a:pt x="130139" y="214715"/>
                      <a:pt x="128615" y="214715"/>
                    </a:cubicBezTo>
                    <a:cubicBezTo>
                      <a:pt x="126995" y="214715"/>
                      <a:pt x="113851" y="223478"/>
                      <a:pt x="121280" y="205571"/>
                    </a:cubicBezTo>
                    <a:cubicBezTo>
                      <a:pt x="121280" y="205571"/>
                      <a:pt x="131948" y="192236"/>
                      <a:pt x="130520" y="174519"/>
                    </a:cubicBezTo>
                    <a:cubicBezTo>
                      <a:pt x="130520" y="174519"/>
                      <a:pt x="123281" y="170614"/>
                      <a:pt x="112232" y="172995"/>
                    </a:cubicBezTo>
                    <a:cubicBezTo>
                      <a:pt x="112232" y="172995"/>
                      <a:pt x="104707" y="181663"/>
                      <a:pt x="98135" y="182425"/>
                    </a:cubicBezTo>
                    <a:cubicBezTo>
                      <a:pt x="91658" y="183092"/>
                      <a:pt x="87943" y="189283"/>
                      <a:pt x="87943" y="189283"/>
                    </a:cubicBezTo>
                    <a:cubicBezTo>
                      <a:pt x="87943" y="189283"/>
                      <a:pt x="79180" y="190902"/>
                      <a:pt x="76894" y="188902"/>
                    </a:cubicBezTo>
                    <a:cubicBezTo>
                      <a:pt x="74608" y="187092"/>
                      <a:pt x="71941" y="177948"/>
                      <a:pt x="83752" y="177091"/>
                    </a:cubicBezTo>
                    <a:cubicBezTo>
                      <a:pt x="83752" y="177091"/>
                      <a:pt x="112517" y="167280"/>
                      <a:pt x="117851" y="157850"/>
                    </a:cubicBezTo>
                    <a:cubicBezTo>
                      <a:pt x="117851" y="157850"/>
                      <a:pt x="145950" y="121370"/>
                      <a:pt x="147188" y="110797"/>
                    </a:cubicBezTo>
                    <a:cubicBezTo>
                      <a:pt x="147188" y="110797"/>
                      <a:pt x="161285" y="46979"/>
                      <a:pt x="151760" y="37073"/>
                    </a:cubicBezTo>
                    <a:cubicBezTo>
                      <a:pt x="151760" y="37073"/>
                      <a:pt x="141473" y="23453"/>
                      <a:pt x="110041" y="60314"/>
                    </a:cubicBezTo>
                    <a:cubicBezTo>
                      <a:pt x="110041" y="60314"/>
                      <a:pt x="108136" y="69839"/>
                      <a:pt x="95277" y="62886"/>
                    </a:cubicBezTo>
                    <a:cubicBezTo>
                      <a:pt x="95277" y="62886"/>
                      <a:pt x="95944" y="49646"/>
                      <a:pt x="97182" y="47741"/>
                    </a:cubicBezTo>
                    <a:cubicBezTo>
                      <a:pt x="98230" y="45932"/>
                      <a:pt x="103183" y="33263"/>
                      <a:pt x="95944" y="22691"/>
                    </a:cubicBezTo>
                    <a:cubicBezTo>
                      <a:pt x="95658" y="22595"/>
                      <a:pt x="73751" y="-5789"/>
                      <a:pt x="67655" y="1069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5" name="任意多边形: 形状 1084">
                <a:extLst>
                  <a:ext uri="{FF2B5EF4-FFF2-40B4-BE49-F238E27FC236}">
                    <a16:creationId xmlns:a16="http://schemas.microsoft.com/office/drawing/2014/main" id="{CF64444B-8160-412D-9A2C-C20D5E251F47}"/>
                  </a:ext>
                </a:extLst>
              </p:cNvPr>
              <p:cNvSpPr/>
              <p:nvPr/>
            </p:nvSpPr>
            <p:spPr>
              <a:xfrm>
                <a:off x="3191818" y="3730923"/>
                <a:ext cx="14072" cy="14233"/>
              </a:xfrm>
              <a:custGeom>
                <a:avLst/>
                <a:gdLst>
                  <a:gd name="connsiteX0" fmla="*/ 3215 w 14073"/>
                  <a:gd name="connsiteY0" fmla="*/ 1161 h 14233"/>
                  <a:gd name="connsiteX1" fmla="*/ 14073 w 14073"/>
                  <a:gd name="connsiteY1" fmla="*/ 8686 h 14233"/>
                  <a:gd name="connsiteX2" fmla="*/ 643 w 14073"/>
                  <a:gd name="connsiteY2" fmla="*/ 11734 h 14233"/>
                  <a:gd name="connsiteX3" fmla="*/ 3215 w 14073"/>
                  <a:gd name="connsiteY3" fmla="*/ 1161 h 14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73" h="14233">
                    <a:moveTo>
                      <a:pt x="3215" y="1161"/>
                    </a:moveTo>
                    <a:cubicBezTo>
                      <a:pt x="3215" y="1161"/>
                      <a:pt x="13787" y="-4363"/>
                      <a:pt x="14073" y="8686"/>
                    </a:cubicBezTo>
                    <a:cubicBezTo>
                      <a:pt x="14073" y="8686"/>
                      <a:pt x="10358" y="18783"/>
                      <a:pt x="643" y="11734"/>
                    </a:cubicBezTo>
                    <a:cubicBezTo>
                      <a:pt x="643" y="11639"/>
                      <a:pt x="-1929" y="780"/>
                      <a:pt x="3215" y="1161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6" name="任意多边形: 形状 1085">
                <a:extLst>
                  <a:ext uri="{FF2B5EF4-FFF2-40B4-BE49-F238E27FC236}">
                    <a16:creationId xmlns:a16="http://schemas.microsoft.com/office/drawing/2014/main" id="{DE65A662-139C-485C-8D9E-FD4929E9C08C}"/>
                  </a:ext>
                </a:extLst>
              </p:cNvPr>
              <p:cNvSpPr/>
              <p:nvPr/>
            </p:nvSpPr>
            <p:spPr>
              <a:xfrm>
                <a:off x="3236446" y="3635416"/>
                <a:ext cx="54576" cy="90765"/>
              </a:xfrm>
              <a:custGeom>
                <a:avLst/>
                <a:gdLst>
                  <a:gd name="connsiteX0" fmla="*/ 15356 w 54575"/>
                  <a:gd name="connsiteY0" fmla="*/ 25233 h 90765"/>
                  <a:gd name="connsiteX1" fmla="*/ 53742 w 54575"/>
                  <a:gd name="connsiteY1" fmla="*/ 87 h 90765"/>
                  <a:gd name="connsiteX2" fmla="*/ 50694 w 54575"/>
                  <a:gd name="connsiteY2" fmla="*/ 7707 h 90765"/>
                  <a:gd name="connsiteX3" fmla="*/ 31930 w 54575"/>
                  <a:gd name="connsiteY3" fmla="*/ 63333 h 90765"/>
                  <a:gd name="connsiteX4" fmla="*/ 4783 w 54575"/>
                  <a:gd name="connsiteY4" fmla="*/ 90765 h 90765"/>
                  <a:gd name="connsiteX5" fmla="*/ 2974 w 54575"/>
                  <a:gd name="connsiteY5" fmla="*/ 82193 h 90765"/>
                  <a:gd name="connsiteX6" fmla="*/ 13832 w 54575"/>
                  <a:gd name="connsiteY6" fmla="*/ 64095 h 90765"/>
                  <a:gd name="connsiteX7" fmla="*/ 15356 w 54575"/>
                  <a:gd name="connsiteY7" fmla="*/ 25233 h 90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575" h="90765">
                    <a:moveTo>
                      <a:pt x="15356" y="25233"/>
                    </a:moveTo>
                    <a:cubicBezTo>
                      <a:pt x="15356" y="25233"/>
                      <a:pt x="42502" y="-1723"/>
                      <a:pt x="53742" y="87"/>
                    </a:cubicBezTo>
                    <a:cubicBezTo>
                      <a:pt x="53742" y="87"/>
                      <a:pt x="56981" y="6659"/>
                      <a:pt x="50694" y="7707"/>
                    </a:cubicBezTo>
                    <a:cubicBezTo>
                      <a:pt x="50694" y="7707"/>
                      <a:pt x="54504" y="25233"/>
                      <a:pt x="31930" y="63333"/>
                    </a:cubicBezTo>
                    <a:cubicBezTo>
                      <a:pt x="31930" y="63333"/>
                      <a:pt x="19452" y="86003"/>
                      <a:pt x="4783" y="90765"/>
                    </a:cubicBezTo>
                    <a:cubicBezTo>
                      <a:pt x="4783" y="90765"/>
                      <a:pt x="-4646" y="90098"/>
                      <a:pt x="2974" y="82193"/>
                    </a:cubicBezTo>
                    <a:cubicBezTo>
                      <a:pt x="2974" y="82193"/>
                      <a:pt x="16118" y="72763"/>
                      <a:pt x="13832" y="64095"/>
                    </a:cubicBezTo>
                    <a:cubicBezTo>
                      <a:pt x="13832" y="64000"/>
                      <a:pt x="5641" y="42854"/>
                      <a:pt x="15356" y="2523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7" name="任意多边形: 形状 1086">
                <a:extLst>
                  <a:ext uri="{FF2B5EF4-FFF2-40B4-BE49-F238E27FC236}">
                    <a16:creationId xmlns:a16="http://schemas.microsoft.com/office/drawing/2014/main" id="{430C1025-44E2-47CE-9857-D0870C8550FD}"/>
                  </a:ext>
                </a:extLst>
              </p:cNvPr>
              <p:cNvSpPr/>
              <p:nvPr/>
            </p:nvSpPr>
            <p:spPr>
              <a:xfrm>
                <a:off x="3202823" y="3889771"/>
                <a:ext cx="19065" cy="45612"/>
              </a:xfrm>
              <a:custGeom>
                <a:avLst/>
                <a:gdLst>
                  <a:gd name="connsiteX0" fmla="*/ 12975 w 19066"/>
                  <a:gd name="connsiteY0" fmla="*/ 143 h 45613"/>
                  <a:gd name="connsiteX1" fmla="*/ 2402 w 19066"/>
                  <a:gd name="connsiteY1" fmla="*/ 22336 h 45613"/>
                  <a:gd name="connsiteX2" fmla="*/ 497 w 19066"/>
                  <a:gd name="connsiteY2" fmla="*/ 44053 h 45613"/>
                  <a:gd name="connsiteX3" fmla="*/ 7355 w 19066"/>
                  <a:gd name="connsiteY3" fmla="*/ 37386 h 45613"/>
                  <a:gd name="connsiteX4" fmla="*/ 14499 w 19066"/>
                  <a:gd name="connsiteY4" fmla="*/ 23384 h 45613"/>
                  <a:gd name="connsiteX5" fmla="*/ 16689 w 19066"/>
                  <a:gd name="connsiteY5" fmla="*/ 9192 h 45613"/>
                  <a:gd name="connsiteX6" fmla="*/ 12975 w 19066"/>
                  <a:gd name="connsiteY6" fmla="*/ 143 h 45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066" h="45613">
                    <a:moveTo>
                      <a:pt x="12975" y="143"/>
                    </a:moveTo>
                    <a:cubicBezTo>
                      <a:pt x="12975" y="143"/>
                      <a:pt x="2878" y="19669"/>
                      <a:pt x="2402" y="22336"/>
                    </a:cubicBezTo>
                    <a:cubicBezTo>
                      <a:pt x="2402" y="22336"/>
                      <a:pt x="-1313" y="30623"/>
                      <a:pt x="497" y="44053"/>
                    </a:cubicBezTo>
                    <a:cubicBezTo>
                      <a:pt x="497" y="44053"/>
                      <a:pt x="6498" y="50435"/>
                      <a:pt x="7355" y="37386"/>
                    </a:cubicBezTo>
                    <a:cubicBezTo>
                      <a:pt x="7355" y="37386"/>
                      <a:pt x="11070" y="22336"/>
                      <a:pt x="14499" y="23384"/>
                    </a:cubicBezTo>
                    <a:cubicBezTo>
                      <a:pt x="14499" y="23384"/>
                      <a:pt x="14023" y="9954"/>
                      <a:pt x="16689" y="9192"/>
                    </a:cubicBezTo>
                    <a:cubicBezTo>
                      <a:pt x="19356" y="8430"/>
                      <a:pt x="21547" y="-1286"/>
                      <a:pt x="12975" y="14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8" name="任意多边形: 形状 1087">
                <a:extLst>
                  <a:ext uri="{FF2B5EF4-FFF2-40B4-BE49-F238E27FC236}">
                    <a16:creationId xmlns:a16="http://schemas.microsoft.com/office/drawing/2014/main" id="{A2902044-D460-4C20-9592-8C8FB84B241E}"/>
                  </a:ext>
                </a:extLst>
              </p:cNvPr>
              <p:cNvSpPr/>
              <p:nvPr/>
            </p:nvSpPr>
            <p:spPr>
              <a:xfrm>
                <a:off x="3275395" y="3852528"/>
                <a:ext cx="30456" cy="73607"/>
              </a:xfrm>
              <a:custGeom>
                <a:avLst/>
                <a:gdLst>
                  <a:gd name="connsiteX0" fmla="*/ 3842 w 30454"/>
                  <a:gd name="connsiteY0" fmla="*/ 240 h 73609"/>
                  <a:gd name="connsiteX1" fmla="*/ 508 w 30454"/>
                  <a:gd name="connsiteY1" fmla="*/ 9289 h 73609"/>
                  <a:gd name="connsiteX2" fmla="*/ 508 w 30454"/>
                  <a:gd name="connsiteY2" fmla="*/ 24624 h 73609"/>
                  <a:gd name="connsiteX3" fmla="*/ 3080 w 30454"/>
                  <a:gd name="connsiteY3" fmla="*/ 64534 h 73609"/>
                  <a:gd name="connsiteX4" fmla="*/ 21558 w 30454"/>
                  <a:gd name="connsiteY4" fmla="*/ 65963 h 73609"/>
                  <a:gd name="connsiteX5" fmla="*/ 27559 w 30454"/>
                  <a:gd name="connsiteY5" fmla="*/ 44627 h 73609"/>
                  <a:gd name="connsiteX6" fmla="*/ 15843 w 30454"/>
                  <a:gd name="connsiteY6" fmla="*/ 30339 h 73609"/>
                  <a:gd name="connsiteX7" fmla="*/ 23463 w 30454"/>
                  <a:gd name="connsiteY7" fmla="*/ 5860 h 73609"/>
                  <a:gd name="connsiteX8" fmla="*/ 14795 w 30454"/>
                  <a:gd name="connsiteY8" fmla="*/ 2145 h 73609"/>
                  <a:gd name="connsiteX9" fmla="*/ 3842 w 30454"/>
                  <a:gd name="connsiteY9" fmla="*/ 240 h 73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454" h="73609">
                    <a:moveTo>
                      <a:pt x="3842" y="240"/>
                    </a:moveTo>
                    <a:lnTo>
                      <a:pt x="508" y="9289"/>
                    </a:lnTo>
                    <a:cubicBezTo>
                      <a:pt x="508" y="9289"/>
                      <a:pt x="-635" y="14433"/>
                      <a:pt x="508" y="24624"/>
                    </a:cubicBezTo>
                    <a:cubicBezTo>
                      <a:pt x="1746" y="34721"/>
                      <a:pt x="3080" y="64534"/>
                      <a:pt x="3080" y="64534"/>
                    </a:cubicBezTo>
                    <a:cubicBezTo>
                      <a:pt x="3080" y="64534"/>
                      <a:pt x="8414" y="83965"/>
                      <a:pt x="21558" y="65963"/>
                    </a:cubicBezTo>
                    <a:cubicBezTo>
                      <a:pt x="21558" y="65963"/>
                      <a:pt x="36608" y="58914"/>
                      <a:pt x="27559" y="44627"/>
                    </a:cubicBezTo>
                    <a:lnTo>
                      <a:pt x="15843" y="30339"/>
                    </a:lnTo>
                    <a:lnTo>
                      <a:pt x="23463" y="5860"/>
                    </a:lnTo>
                    <a:cubicBezTo>
                      <a:pt x="23463" y="5860"/>
                      <a:pt x="15081" y="5098"/>
                      <a:pt x="14795" y="2145"/>
                    </a:cubicBezTo>
                    <a:cubicBezTo>
                      <a:pt x="14415" y="-998"/>
                      <a:pt x="3842" y="240"/>
                      <a:pt x="3842" y="24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9" name="任意多边形: 形状 1088">
                <a:extLst>
                  <a:ext uri="{FF2B5EF4-FFF2-40B4-BE49-F238E27FC236}">
                    <a16:creationId xmlns:a16="http://schemas.microsoft.com/office/drawing/2014/main" id="{0CB6F793-29AD-4E1D-B452-F3C51F10DC4D}"/>
                  </a:ext>
                </a:extLst>
              </p:cNvPr>
              <p:cNvSpPr/>
              <p:nvPr/>
            </p:nvSpPr>
            <p:spPr>
              <a:xfrm>
                <a:off x="3314713" y="3864711"/>
                <a:ext cx="22053" cy="16533"/>
              </a:xfrm>
              <a:custGeom>
                <a:avLst/>
                <a:gdLst>
                  <a:gd name="connsiteX0" fmla="*/ 5479 w 22052"/>
                  <a:gd name="connsiteY0" fmla="*/ 1198 h 16532"/>
                  <a:gd name="connsiteX1" fmla="*/ 22052 w 22052"/>
                  <a:gd name="connsiteY1" fmla="*/ 4056 h 16532"/>
                  <a:gd name="connsiteX2" fmla="*/ 4336 w 22052"/>
                  <a:gd name="connsiteY2" fmla="*/ 15390 h 16532"/>
                  <a:gd name="connsiteX3" fmla="*/ 5479 w 22052"/>
                  <a:gd name="connsiteY3" fmla="*/ 1198 h 16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052" h="16532">
                    <a:moveTo>
                      <a:pt x="5479" y="1198"/>
                    </a:moveTo>
                    <a:cubicBezTo>
                      <a:pt x="5479" y="1198"/>
                      <a:pt x="21004" y="-2898"/>
                      <a:pt x="22052" y="4056"/>
                    </a:cubicBezTo>
                    <a:cubicBezTo>
                      <a:pt x="22052" y="4056"/>
                      <a:pt x="14432" y="21010"/>
                      <a:pt x="4336" y="15390"/>
                    </a:cubicBezTo>
                    <a:cubicBezTo>
                      <a:pt x="4336" y="15486"/>
                      <a:pt x="-6142" y="6818"/>
                      <a:pt x="5479" y="119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0" name="任意多边形: 形状 1089">
                <a:extLst>
                  <a:ext uri="{FF2B5EF4-FFF2-40B4-BE49-F238E27FC236}">
                    <a16:creationId xmlns:a16="http://schemas.microsoft.com/office/drawing/2014/main" id="{D084D5CF-CD18-4B73-8EEB-8D8598994B0B}"/>
                  </a:ext>
                </a:extLst>
              </p:cNvPr>
              <p:cNvSpPr/>
              <p:nvPr/>
            </p:nvSpPr>
            <p:spPr>
              <a:xfrm>
                <a:off x="3743578" y="3654428"/>
                <a:ext cx="265615" cy="342685"/>
              </a:xfrm>
              <a:custGeom>
                <a:avLst/>
                <a:gdLst>
                  <a:gd name="connsiteX0" fmla="*/ 159734 w 265616"/>
                  <a:gd name="connsiteY0" fmla="*/ 22508 h 342687"/>
                  <a:gd name="connsiteX1" fmla="*/ 135636 w 265616"/>
                  <a:gd name="connsiteY1" fmla="*/ 70229 h 342687"/>
                  <a:gd name="connsiteX2" fmla="*/ 126587 w 265616"/>
                  <a:gd name="connsiteY2" fmla="*/ 79563 h 342687"/>
                  <a:gd name="connsiteX3" fmla="*/ 115633 w 265616"/>
                  <a:gd name="connsiteY3" fmla="*/ 87183 h 342687"/>
                  <a:gd name="connsiteX4" fmla="*/ 74009 w 265616"/>
                  <a:gd name="connsiteY4" fmla="*/ 84230 h 342687"/>
                  <a:gd name="connsiteX5" fmla="*/ 71723 w 265616"/>
                  <a:gd name="connsiteY5" fmla="*/ 95946 h 342687"/>
                  <a:gd name="connsiteX6" fmla="*/ 102965 w 265616"/>
                  <a:gd name="connsiteY6" fmla="*/ 131570 h 342687"/>
                  <a:gd name="connsiteX7" fmla="*/ 7810 w 265616"/>
                  <a:gd name="connsiteY7" fmla="*/ 217961 h 342687"/>
                  <a:gd name="connsiteX8" fmla="*/ 0 w 265616"/>
                  <a:gd name="connsiteY8" fmla="*/ 259300 h 342687"/>
                  <a:gd name="connsiteX9" fmla="*/ 12097 w 265616"/>
                  <a:gd name="connsiteY9" fmla="*/ 260538 h 342687"/>
                  <a:gd name="connsiteX10" fmla="*/ 47339 w 265616"/>
                  <a:gd name="connsiteY10" fmla="*/ 229296 h 342687"/>
                  <a:gd name="connsiteX11" fmla="*/ 67628 w 265616"/>
                  <a:gd name="connsiteY11" fmla="*/ 241012 h 342687"/>
                  <a:gd name="connsiteX12" fmla="*/ 64008 w 265616"/>
                  <a:gd name="connsiteY12" fmla="*/ 292637 h 342687"/>
                  <a:gd name="connsiteX13" fmla="*/ 73057 w 265616"/>
                  <a:gd name="connsiteY13" fmla="*/ 292637 h 342687"/>
                  <a:gd name="connsiteX14" fmla="*/ 75152 w 265616"/>
                  <a:gd name="connsiteY14" fmla="*/ 283589 h 342687"/>
                  <a:gd name="connsiteX15" fmla="*/ 92583 w 265616"/>
                  <a:gd name="connsiteY15" fmla="*/ 236059 h 342687"/>
                  <a:gd name="connsiteX16" fmla="*/ 120682 w 265616"/>
                  <a:gd name="connsiteY16" fmla="*/ 233963 h 342687"/>
                  <a:gd name="connsiteX17" fmla="*/ 152400 w 265616"/>
                  <a:gd name="connsiteY17" fmla="*/ 210246 h 342687"/>
                  <a:gd name="connsiteX18" fmla="*/ 150495 w 265616"/>
                  <a:gd name="connsiteY18" fmla="*/ 241107 h 342687"/>
                  <a:gd name="connsiteX19" fmla="*/ 133064 w 265616"/>
                  <a:gd name="connsiteY19" fmla="*/ 299781 h 342687"/>
                  <a:gd name="connsiteX20" fmla="*/ 134684 w 265616"/>
                  <a:gd name="connsiteY20" fmla="*/ 339119 h 342687"/>
                  <a:gd name="connsiteX21" fmla="*/ 146018 w 265616"/>
                  <a:gd name="connsiteY21" fmla="*/ 334643 h 342687"/>
                  <a:gd name="connsiteX22" fmla="*/ 145161 w 265616"/>
                  <a:gd name="connsiteY22" fmla="*/ 326737 h 342687"/>
                  <a:gd name="connsiteX23" fmla="*/ 181261 w 265616"/>
                  <a:gd name="connsiteY23" fmla="*/ 196721 h 342687"/>
                  <a:gd name="connsiteX24" fmla="*/ 197358 w 265616"/>
                  <a:gd name="connsiteY24" fmla="*/ 143476 h 342687"/>
                  <a:gd name="connsiteX25" fmla="*/ 209836 w 265616"/>
                  <a:gd name="connsiteY25" fmla="*/ 133094 h 342687"/>
                  <a:gd name="connsiteX26" fmla="*/ 210979 w 265616"/>
                  <a:gd name="connsiteY26" fmla="*/ 132903 h 342687"/>
                  <a:gd name="connsiteX27" fmla="*/ 224409 w 265616"/>
                  <a:gd name="connsiteY27" fmla="*/ 130236 h 342687"/>
                  <a:gd name="connsiteX28" fmla="*/ 226314 w 265616"/>
                  <a:gd name="connsiteY28" fmla="*/ 125378 h 342687"/>
                  <a:gd name="connsiteX29" fmla="*/ 264605 w 265616"/>
                  <a:gd name="connsiteY29" fmla="*/ 121949 h 342687"/>
                  <a:gd name="connsiteX30" fmla="*/ 258889 w 265616"/>
                  <a:gd name="connsiteY30" fmla="*/ 56608 h 342687"/>
                  <a:gd name="connsiteX31" fmla="*/ 253651 w 265616"/>
                  <a:gd name="connsiteY31" fmla="*/ 62894 h 342687"/>
                  <a:gd name="connsiteX32" fmla="*/ 250698 w 265616"/>
                  <a:gd name="connsiteY32" fmla="*/ 94422 h 342687"/>
                  <a:gd name="connsiteX33" fmla="*/ 222885 w 265616"/>
                  <a:gd name="connsiteY33" fmla="*/ 98994 h 342687"/>
                  <a:gd name="connsiteX34" fmla="*/ 217932 w 265616"/>
                  <a:gd name="connsiteY34" fmla="*/ 95184 h 342687"/>
                  <a:gd name="connsiteX35" fmla="*/ 231838 w 265616"/>
                  <a:gd name="connsiteY35" fmla="*/ 65752 h 342687"/>
                  <a:gd name="connsiteX36" fmla="*/ 249555 w 265616"/>
                  <a:gd name="connsiteY36" fmla="*/ 791 h 342687"/>
                  <a:gd name="connsiteX37" fmla="*/ 241268 w 265616"/>
                  <a:gd name="connsiteY37" fmla="*/ 5744 h 342687"/>
                  <a:gd name="connsiteX38" fmla="*/ 216122 w 265616"/>
                  <a:gd name="connsiteY38" fmla="*/ 60989 h 342687"/>
                  <a:gd name="connsiteX39" fmla="*/ 207835 w 265616"/>
                  <a:gd name="connsiteY39" fmla="*/ 71086 h 342687"/>
                  <a:gd name="connsiteX40" fmla="*/ 194215 w 265616"/>
                  <a:gd name="connsiteY40" fmla="*/ 110615 h 342687"/>
                  <a:gd name="connsiteX41" fmla="*/ 185928 w 265616"/>
                  <a:gd name="connsiteY41" fmla="*/ 117187 h 342687"/>
                  <a:gd name="connsiteX42" fmla="*/ 169450 w 265616"/>
                  <a:gd name="connsiteY42" fmla="*/ 122140 h 342687"/>
                  <a:gd name="connsiteX43" fmla="*/ 165545 w 265616"/>
                  <a:gd name="connsiteY43" fmla="*/ 128903 h 342687"/>
                  <a:gd name="connsiteX44" fmla="*/ 135160 w 265616"/>
                  <a:gd name="connsiteY44" fmla="*/ 129188 h 342687"/>
                  <a:gd name="connsiteX45" fmla="*/ 145733 w 265616"/>
                  <a:gd name="connsiteY45" fmla="*/ 113472 h 342687"/>
                  <a:gd name="connsiteX46" fmla="*/ 164116 w 265616"/>
                  <a:gd name="connsiteY46" fmla="*/ 105471 h 342687"/>
                  <a:gd name="connsiteX47" fmla="*/ 162592 w 265616"/>
                  <a:gd name="connsiteY47" fmla="*/ 86231 h 342687"/>
                  <a:gd name="connsiteX48" fmla="*/ 157353 w 265616"/>
                  <a:gd name="connsiteY48" fmla="*/ 66419 h 342687"/>
                  <a:gd name="connsiteX49" fmla="*/ 165163 w 265616"/>
                  <a:gd name="connsiteY49" fmla="*/ 40796 h 342687"/>
                  <a:gd name="connsiteX50" fmla="*/ 159734 w 265616"/>
                  <a:gd name="connsiteY50" fmla="*/ 22508 h 342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265616" h="342687">
                    <a:moveTo>
                      <a:pt x="159734" y="22508"/>
                    </a:moveTo>
                    <a:cubicBezTo>
                      <a:pt x="159734" y="22508"/>
                      <a:pt x="144304" y="60799"/>
                      <a:pt x="135636" y="70229"/>
                    </a:cubicBezTo>
                    <a:cubicBezTo>
                      <a:pt x="135636" y="70229"/>
                      <a:pt x="134874" y="79563"/>
                      <a:pt x="126587" y="79563"/>
                    </a:cubicBezTo>
                    <a:cubicBezTo>
                      <a:pt x="118300" y="79563"/>
                      <a:pt x="116110" y="85564"/>
                      <a:pt x="115633" y="87183"/>
                    </a:cubicBezTo>
                    <a:cubicBezTo>
                      <a:pt x="115348" y="88707"/>
                      <a:pt x="88297" y="94232"/>
                      <a:pt x="74009" y="84230"/>
                    </a:cubicBezTo>
                    <a:cubicBezTo>
                      <a:pt x="74009" y="84230"/>
                      <a:pt x="64008" y="86802"/>
                      <a:pt x="71723" y="95946"/>
                    </a:cubicBezTo>
                    <a:lnTo>
                      <a:pt x="102965" y="131570"/>
                    </a:lnTo>
                    <a:cubicBezTo>
                      <a:pt x="102965" y="131570"/>
                      <a:pt x="108585" y="155954"/>
                      <a:pt x="7810" y="217961"/>
                    </a:cubicBezTo>
                    <a:lnTo>
                      <a:pt x="0" y="259300"/>
                    </a:lnTo>
                    <a:lnTo>
                      <a:pt x="12097" y="260538"/>
                    </a:lnTo>
                    <a:lnTo>
                      <a:pt x="47339" y="229296"/>
                    </a:lnTo>
                    <a:cubicBezTo>
                      <a:pt x="47339" y="229296"/>
                      <a:pt x="75057" y="218438"/>
                      <a:pt x="67628" y="241012"/>
                    </a:cubicBezTo>
                    <a:cubicBezTo>
                      <a:pt x="67628" y="241012"/>
                      <a:pt x="57531" y="283017"/>
                      <a:pt x="64008" y="292637"/>
                    </a:cubicBezTo>
                    <a:lnTo>
                      <a:pt x="73057" y="292637"/>
                    </a:lnTo>
                    <a:cubicBezTo>
                      <a:pt x="73057" y="292637"/>
                      <a:pt x="73819" y="291399"/>
                      <a:pt x="75152" y="283589"/>
                    </a:cubicBezTo>
                    <a:cubicBezTo>
                      <a:pt x="75152" y="283589"/>
                      <a:pt x="85058" y="234344"/>
                      <a:pt x="92583" y="236059"/>
                    </a:cubicBezTo>
                    <a:cubicBezTo>
                      <a:pt x="92583" y="236059"/>
                      <a:pt x="116681" y="241393"/>
                      <a:pt x="120682" y="233963"/>
                    </a:cubicBezTo>
                    <a:cubicBezTo>
                      <a:pt x="120682" y="233963"/>
                      <a:pt x="139446" y="198626"/>
                      <a:pt x="152400" y="210246"/>
                    </a:cubicBezTo>
                    <a:cubicBezTo>
                      <a:pt x="152400" y="210246"/>
                      <a:pt x="161734" y="209484"/>
                      <a:pt x="150495" y="241107"/>
                    </a:cubicBezTo>
                    <a:cubicBezTo>
                      <a:pt x="150495" y="241107"/>
                      <a:pt x="139160" y="293018"/>
                      <a:pt x="133064" y="299781"/>
                    </a:cubicBezTo>
                    <a:lnTo>
                      <a:pt x="134684" y="339119"/>
                    </a:lnTo>
                    <a:cubicBezTo>
                      <a:pt x="134684" y="339119"/>
                      <a:pt x="142113" y="349597"/>
                      <a:pt x="146018" y="334643"/>
                    </a:cubicBezTo>
                    <a:lnTo>
                      <a:pt x="145161" y="326737"/>
                    </a:lnTo>
                    <a:lnTo>
                      <a:pt x="181261" y="196721"/>
                    </a:lnTo>
                    <a:cubicBezTo>
                      <a:pt x="181261" y="196721"/>
                      <a:pt x="189833" y="145571"/>
                      <a:pt x="197358" y="143476"/>
                    </a:cubicBezTo>
                    <a:cubicBezTo>
                      <a:pt x="197358" y="143476"/>
                      <a:pt x="201644" y="135380"/>
                      <a:pt x="209836" y="133094"/>
                    </a:cubicBezTo>
                    <a:cubicBezTo>
                      <a:pt x="211455" y="133094"/>
                      <a:pt x="210598" y="133094"/>
                      <a:pt x="210979" y="132903"/>
                    </a:cubicBezTo>
                    <a:cubicBezTo>
                      <a:pt x="220028" y="131093"/>
                      <a:pt x="224409" y="130236"/>
                      <a:pt x="224409" y="130236"/>
                    </a:cubicBezTo>
                    <a:lnTo>
                      <a:pt x="226314" y="125378"/>
                    </a:lnTo>
                    <a:cubicBezTo>
                      <a:pt x="226314" y="125378"/>
                      <a:pt x="262700" y="126521"/>
                      <a:pt x="264605" y="121949"/>
                    </a:cubicBezTo>
                    <a:cubicBezTo>
                      <a:pt x="264605" y="121949"/>
                      <a:pt x="269176" y="52417"/>
                      <a:pt x="258889" y="56608"/>
                    </a:cubicBezTo>
                    <a:cubicBezTo>
                      <a:pt x="258889" y="56608"/>
                      <a:pt x="249555" y="58132"/>
                      <a:pt x="253651" y="62894"/>
                    </a:cubicBezTo>
                    <a:cubicBezTo>
                      <a:pt x="253651" y="62894"/>
                      <a:pt x="257842" y="85469"/>
                      <a:pt x="250698" y="94422"/>
                    </a:cubicBezTo>
                    <a:cubicBezTo>
                      <a:pt x="250698" y="94422"/>
                      <a:pt x="243173" y="107186"/>
                      <a:pt x="222885" y="98994"/>
                    </a:cubicBezTo>
                    <a:lnTo>
                      <a:pt x="217932" y="95184"/>
                    </a:lnTo>
                    <a:cubicBezTo>
                      <a:pt x="217932" y="95184"/>
                      <a:pt x="231838" y="74896"/>
                      <a:pt x="231838" y="65752"/>
                    </a:cubicBezTo>
                    <a:cubicBezTo>
                      <a:pt x="231838" y="65752"/>
                      <a:pt x="252889" y="4887"/>
                      <a:pt x="249555" y="791"/>
                    </a:cubicBezTo>
                    <a:cubicBezTo>
                      <a:pt x="249555" y="791"/>
                      <a:pt x="244602" y="-2923"/>
                      <a:pt x="241268" y="5744"/>
                    </a:cubicBezTo>
                    <a:cubicBezTo>
                      <a:pt x="241268" y="5744"/>
                      <a:pt x="222028" y="57179"/>
                      <a:pt x="216122" y="60989"/>
                    </a:cubicBezTo>
                    <a:cubicBezTo>
                      <a:pt x="216122" y="60989"/>
                      <a:pt x="212217" y="70324"/>
                      <a:pt x="207835" y="71086"/>
                    </a:cubicBezTo>
                    <a:cubicBezTo>
                      <a:pt x="207835" y="71086"/>
                      <a:pt x="193929" y="98137"/>
                      <a:pt x="194215" y="110615"/>
                    </a:cubicBezTo>
                    <a:cubicBezTo>
                      <a:pt x="194215" y="110615"/>
                      <a:pt x="189262" y="112043"/>
                      <a:pt x="185928" y="117187"/>
                    </a:cubicBezTo>
                    <a:cubicBezTo>
                      <a:pt x="184023" y="119568"/>
                      <a:pt x="169450" y="122140"/>
                      <a:pt x="169450" y="122140"/>
                    </a:cubicBezTo>
                    <a:lnTo>
                      <a:pt x="165545" y="128903"/>
                    </a:lnTo>
                    <a:lnTo>
                      <a:pt x="135160" y="129188"/>
                    </a:lnTo>
                    <a:cubicBezTo>
                      <a:pt x="135160" y="129188"/>
                      <a:pt x="128397" y="113472"/>
                      <a:pt x="145733" y="113472"/>
                    </a:cubicBezTo>
                    <a:cubicBezTo>
                      <a:pt x="145733" y="113472"/>
                      <a:pt x="161449" y="106614"/>
                      <a:pt x="164116" y="105471"/>
                    </a:cubicBezTo>
                    <a:cubicBezTo>
                      <a:pt x="166783" y="104423"/>
                      <a:pt x="167068" y="93089"/>
                      <a:pt x="162592" y="86231"/>
                    </a:cubicBezTo>
                    <a:cubicBezTo>
                      <a:pt x="162592" y="86231"/>
                      <a:pt x="155829" y="79468"/>
                      <a:pt x="157353" y="66419"/>
                    </a:cubicBezTo>
                    <a:cubicBezTo>
                      <a:pt x="158877" y="53274"/>
                      <a:pt x="165545" y="42606"/>
                      <a:pt x="165163" y="40796"/>
                    </a:cubicBezTo>
                    <a:cubicBezTo>
                      <a:pt x="164973" y="38987"/>
                      <a:pt x="175070" y="20889"/>
                      <a:pt x="159734" y="22508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1" name="任意多边形: 形状 1090">
                <a:extLst>
                  <a:ext uri="{FF2B5EF4-FFF2-40B4-BE49-F238E27FC236}">
                    <a16:creationId xmlns:a16="http://schemas.microsoft.com/office/drawing/2014/main" id="{73C0624E-D823-4E38-8E80-513AD2E1465B}"/>
                  </a:ext>
                </a:extLst>
              </p:cNvPr>
              <p:cNvSpPr/>
              <p:nvPr/>
            </p:nvSpPr>
            <p:spPr>
              <a:xfrm>
                <a:off x="3839919" y="3801377"/>
                <a:ext cx="81098" cy="68117"/>
              </a:xfrm>
              <a:custGeom>
                <a:avLst/>
                <a:gdLst>
                  <a:gd name="connsiteX0" fmla="*/ 63109 w 81099"/>
                  <a:gd name="connsiteY0" fmla="*/ 432 h 68116"/>
                  <a:gd name="connsiteX1" fmla="*/ 8436 w 81099"/>
                  <a:gd name="connsiteY1" fmla="*/ 43390 h 68116"/>
                  <a:gd name="connsiteX2" fmla="*/ 10341 w 81099"/>
                  <a:gd name="connsiteY2" fmla="*/ 65297 h 68116"/>
                  <a:gd name="connsiteX3" fmla="*/ 24819 w 81099"/>
                  <a:gd name="connsiteY3" fmla="*/ 64154 h 68116"/>
                  <a:gd name="connsiteX4" fmla="*/ 36534 w 81099"/>
                  <a:gd name="connsiteY4" fmla="*/ 53010 h 68116"/>
                  <a:gd name="connsiteX5" fmla="*/ 73968 w 81099"/>
                  <a:gd name="connsiteY5" fmla="*/ 31864 h 68116"/>
                  <a:gd name="connsiteX6" fmla="*/ 63109 w 81099"/>
                  <a:gd name="connsiteY6" fmla="*/ 432 h 68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099" h="68116">
                    <a:moveTo>
                      <a:pt x="63109" y="432"/>
                    </a:moveTo>
                    <a:cubicBezTo>
                      <a:pt x="63109" y="432"/>
                      <a:pt x="29581" y="18053"/>
                      <a:pt x="8436" y="43390"/>
                    </a:cubicBezTo>
                    <a:cubicBezTo>
                      <a:pt x="8436" y="43390"/>
                      <a:pt x="-11757" y="62249"/>
                      <a:pt x="10341" y="65297"/>
                    </a:cubicBezTo>
                    <a:cubicBezTo>
                      <a:pt x="10341" y="65297"/>
                      <a:pt x="10626" y="72346"/>
                      <a:pt x="24819" y="64154"/>
                    </a:cubicBezTo>
                    <a:cubicBezTo>
                      <a:pt x="39201" y="56058"/>
                      <a:pt x="29676" y="56344"/>
                      <a:pt x="36534" y="53010"/>
                    </a:cubicBezTo>
                    <a:cubicBezTo>
                      <a:pt x="43392" y="49486"/>
                      <a:pt x="73968" y="31864"/>
                      <a:pt x="73968" y="31864"/>
                    </a:cubicBezTo>
                    <a:cubicBezTo>
                      <a:pt x="73968" y="31864"/>
                      <a:pt x="95780" y="-4331"/>
                      <a:pt x="63109" y="43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2" name="任意多边形: 形状 1091">
                <a:extLst>
                  <a:ext uri="{FF2B5EF4-FFF2-40B4-BE49-F238E27FC236}">
                    <a16:creationId xmlns:a16="http://schemas.microsoft.com/office/drawing/2014/main" id="{9C4A90D0-DC27-4DF4-84D8-BD60A5D506A0}"/>
                  </a:ext>
                </a:extLst>
              </p:cNvPr>
              <p:cNvSpPr/>
              <p:nvPr/>
            </p:nvSpPr>
            <p:spPr>
              <a:xfrm>
                <a:off x="3946394" y="3863339"/>
                <a:ext cx="69550" cy="43096"/>
              </a:xfrm>
              <a:custGeom>
                <a:avLst/>
                <a:gdLst>
                  <a:gd name="connsiteX0" fmla="*/ 5305 w 69550"/>
                  <a:gd name="connsiteY0" fmla="*/ 0 h 43094"/>
                  <a:gd name="connsiteX1" fmla="*/ 2257 w 69550"/>
                  <a:gd name="connsiteY1" fmla="*/ 8573 h 43094"/>
                  <a:gd name="connsiteX2" fmla="*/ 33118 w 69550"/>
                  <a:gd name="connsiteY2" fmla="*/ 42577 h 43094"/>
                  <a:gd name="connsiteX3" fmla="*/ 47881 w 69550"/>
                  <a:gd name="connsiteY3" fmla="*/ 37338 h 43094"/>
                  <a:gd name="connsiteX4" fmla="*/ 68836 w 69550"/>
                  <a:gd name="connsiteY4" fmla="*/ 23241 h 43094"/>
                  <a:gd name="connsiteX5" fmla="*/ 58073 w 69550"/>
                  <a:gd name="connsiteY5" fmla="*/ 18860 h 43094"/>
                  <a:gd name="connsiteX6" fmla="*/ 45595 w 69550"/>
                  <a:gd name="connsiteY6" fmla="*/ 18860 h 43094"/>
                  <a:gd name="connsiteX7" fmla="*/ 34927 w 69550"/>
                  <a:gd name="connsiteY7" fmla="*/ 17240 h 43094"/>
                  <a:gd name="connsiteX8" fmla="*/ 5305 w 69550"/>
                  <a:gd name="connsiteY8" fmla="*/ 0 h 43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9550" h="43094">
                    <a:moveTo>
                      <a:pt x="5305" y="0"/>
                    </a:moveTo>
                    <a:cubicBezTo>
                      <a:pt x="5305" y="0"/>
                      <a:pt x="-4220" y="3905"/>
                      <a:pt x="2257" y="8573"/>
                    </a:cubicBezTo>
                    <a:cubicBezTo>
                      <a:pt x="8638" y="13335"/>
                      <a:pt x="20354" y="42196"/>
                      <a:pt x="33118" y="42577"/>
                    </a:cubicBezTo>
                    <a:cubicBezTo>
                      <a:pt x="33118" y="42577"/>
                      <a:pt x="40452" y="45530"/>
                      <a:pt x="47881" y="37338"/>
                    </a:cubicBezTo>
                    <a:cubicBezTo>
                      <a:pt x="47881" y="37338"/>
                      <a:pt x="66360" y="20193"/>
                      <a:pt x="68836" y="23241"/>
                    </a:cubicBezTo>
                    <a:cubicBezTo>
                      <a:pt x="68836" y="23241"/>
                      <a:pt x="73694" y="15907"/>
                      <a:pt x="58073" y="18860"/>
                    </a:cubicBezTo>
                    <a:cubicBezTo>
                      <a:pt x="58073" y="18860"/>
                      <a:pt x="53501" y="23241"/>
                      <a:pt x="45595" y="18860"/>
                    </a:cubicBezTo>
                    <a:cubicBezTo>
                      <a:pt x="37975" y="14669"/>
                      <a:pt x="34927" y="17240"/>
                      <a:pt x="34927" y="17240"/>
                    </a:cubicBezTo>
                    <a:cubicBezTo>
                      <a:pt x="34927" y="17240"/>
                      <a:pt x="20830" y="13716"/>
                      <a:pt x="5305" y="0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3" name="任意多边形: 形状 1092">
                <a:extLst>
                  <a:ext uri="{FF2B5EF4-FFF2-40B4-BE49-F238E27FC236}">
                    <a16:creationId xmlns:a16="http://schemas.microsoft.com/office/drawing/2014/main" id="{7ED5C5B5-2D2B-4D3A-9A88-6C4697182C8F}"/>
                  </a:ext>
                </a:extLst>
              </p:cNvPr>
              <p:cNvSpPr/>
              <p:nvPr/>
            </p:nvSpPr>
            <p:spPr>
              <a:xfrm>
                <a:off x="4236227" y="3978707"/>
                <a:ext cx="290177" cy="182745"/>
              </a:xfrm>
              <a:custGeom>
                <a:avLst/>
                <a:gdLst>
                  <a:gd name="connsiteX0" fmla="*/ 276307 w 290178"/>
                  <a:gd name="connsiteY0" fmla="*/ 1314 h 182744"/>
                  <a:gd name="connsiteX1" fmla="*/ 159054 w 290178"/>
                  <a:gd name="connsiteY1" fmla="*/ 118662 h 182744"/>
                  <a:gd name="connsiteX2" fmla="*/ 92189 w 290178"/>
                  <a:gd name="connsiteY2" fmla="*/ 102850 h 182744"/>
                  <a:gd name="connsiteX3" fmla="*/ 59137 w 290178"/>
                  <a:gd name="connsiteY3" fmla="*/ 80371 h 182744"/>
                  <a:gd name="connsiteX4" fmla="*/ 61423 w 290178"/>
                  <a:gd name="connsiteY4" fmla="*/ 118662 h 182744"/>
                  <a:gd name="connsiteX5" fmla="*/ 109524 w 290178"/>
                  <a:gd name="connsiteY5" fmla="*/ 139712 h 182744"/>
                  <a:gd name="connsiteX6" fmla="*/ 105048 w 290178"/>
                  <a:gd name="connsiteY6" fmla="*/ 144951 h 182744"/>
                  <a:gd name="connsiteX7" fmla="*/ 2845 w 290178"/>
                  <a:gd name="connsiteY7" fmla="*/ 130759 h 182744"/>
                  <a:gd name="connsiteX8" fmla="*/ 11893 w 290178"/>
                  <a:gd name="connsiteY8" fmla="*/ 156286 h 182744"/>
                  <a:gd name="connsiteX9" fmla="*/ 35229 w 290178"/>
                  <a:gd name="connsiteY9" fmla="*/ 178003 h 182744"/>
                  <a:gd name="connsiteX10" fmla="*/ 162293 w 290178"/>
                  <a:gd name="connsiteY10" fmla="*/ 141998 h 182744"/>
                  <a:gd name="connsiteX11" fmla="*/ 270497 w 290178"/>
                  <a:gd name="connsiteY11" fmla="*/ 177336 h 182744"/>
                  <a:gd name="connsiteX12" fmla="*/ 290023 w 290178"/>
                  <a:gd name="connsiteY12" fmla="*/ 169049 h 182744"/>
                  <a:gd name="connsiteX13" fmla="*/ 273545 w 290178"/>
                  <a:gd name="connsiteY13" fmla="*/ 121710 h 182744"/>
                  <a:gd name="connsiteX14" fmla="*/ 260781 w 290178"/>
                  <a:gd name="connsiteY14" fmla="*/ 144284 h 182744"/>
                  <a:gd name="connsiteX15" fmla="*/ 190868 w 290178"/>
                  <a:gd name="connsiteY15" fmla="*/ 130759 h 182744"/>
                  <a:gd name="connsiteX16" fmla="*/ 274307 w 290178"/>
                  <a:gd name="connsiteY16" fmla="*/ 72085 h 182744"/>
                  <a:gd name="connsiteX17" fmla="*/ 282594 w 290178"/>
                  <a:gd name="connsiteY17" fmla="*/ 46462 h 182744"/>
                  <a:gd name="connsiteX18" fmla="*/ 276307 w 290178"/>
                  <a:gd name="connsiteY18" fmla="*/ 1314 h 182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90178" h="182744">
                    <a:moveTo>
                      <a:pt x="276307" y="1314"/>
                    </a:moveTo>
                    <a:cubicBezTo>
                      <a:pt x="276307" y="1314"/>
                      <a:pt x="273354" y="55606"/>
                      <a:pt x="159054" y="118662"/>
                    </a:cubicBezTo>
                    <a:lnTo>
                      <a:pt x="92189" y="102850"/>
                    </a:lnTo>
                    <a:cubicBezTo>
                      <a:pt x="92189" y="102850"/>
                      <a:pt x="65900" y="81038"/>
                      <a:pt x="59137" y="80371"/>
                    </a:cubicBezTo>
                    <a:cubicBezTo>
                      <a:pt x="59137" y="80371"/>
                      <a:pt x="46374" y="98374"/>
                      <a:pt x="61423" y="118662"/>
                    </a:cubicBezTo>
                    <a:cubicBezTo>
                      <a:pt x="61423" y="118662"/>
                      <a:pt x="103428" y="132283"/>
                      <a:pt x="109524" y="139712"/>
                    </a:cubicBezTo>
                    <a:cubicBezTo>
                      <a:pt x="109524" y="139712"/>
                      <a:pt x="114763" y="146380"/>
                      <a:pt x="105048" y="144951"/>
                    </a:cubicBezTo>
                    <a:cubicBezTo>
                      <a:pt x="105048" y="144951"/>
                      <a:pt x="53803" y="184003"/>
                      <a:pt x="2845" y="130759"/>
                    </a:cubicBezTo>
                    <a:cubicBezTo>
                      <a:pt x="2845" y="130759"/>
                      <a:pt x="-7728" y="132283"/>
                      <a:pt x="11893" y="156286"/>
                    </a:cubicBezTo>
                    <a:lnTo>
                      <a:pt x="35229" y="178003"/>
                    </a:lnTo>
                    <a:cubicBezTo>
                      <a:pt x="35229" y="178003"/>
                      <a:pt x="65233" y="202006"/>
                      <a:pt x="162293" y="141998"/>
                    </a:cubicBezTo>
                    <a:lnTo>
                      <a:pt x="270497" y="177336"/>
                    </a:lnTo>
                    <a:cubicBezTo>
                      <a:pt x="270497" y="177336"/>
                      <a:pt x="292214" y="185718"/>
                      <a:pt x="290023" y="169049"/>
                    </a:cubicBezTo>
                    <a:cubicBezTo>
                      <a:pt x="290023" y="169049"/>
                      <a:pt x="273545" y="153238"/>
                      <a:pt x="273545" y="121710"/>
                    </a:cubicBezTo>
                    <a:cubicBezTo>
                      <a:pt x="273545" y="121710"/>
                      <a:pt x="267449" y="109708"/>
                      <a:pt x="260781" y="144284"/>
                    </a:cubicBezTo>
                    <a:cubicBezTo>
                      <a:pt x="260781" y="144284"/>
                      <a:pt x="256210" y="160096"/>
                      <a:pt x="190868" y="130759"/>
                    </a:cubicBezTo>
                    <a:cubicBezTo>
                      <a:pt x="190868" y="130759"/>
                      <a:pt x="236683" y="83324"/>
                      <a:pt x="274307" y="72085"/>
                    </a:cubicBezTo>
                    <a:cubicBezTo>
                      <a:pt x="274307" y="72085"/>
                      <a:pt x="284880" y="69799"/>
                      <a:pt x="282594" y="46462"/>
                    </a:cubicBezTo>
                    <a:cubicBezTo>
                      <a:pt x="282213" y="46462"/>
                      <a:pt x="292786" y="-9164"/>
                      <a:pt x="276307" y="1314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4" name="任意多边形: 形状 1093">
                <a:extLst>
                  <a:ext uri="{FF2B5EF4-FFF2-40B4-BE49-F238E27FC236}">
                    <a16:creationId xmlns:a16="http://schemas.microsoft.com/office/drawing/2014/main" id="{9BE933E4-E96D-4B19-BE3B-3D896BEC3728}"/>
                  </a:ext>
                </a:extLst>
              </p:cNvPr>
              <p:cNvSpPr/>
              <p:nvPr/>
            </p:nvSpPr>
            <p:spPr>
              <a:xfrm>
                <a:off x="4388475" y="4173029"/>
                <a:ext cx="83256" cy="98558"/>
              </a:xfrm>
              <a:custGeom>
                <a:avLst/>
                <a:gdLst>
                  <a:gd name="connsiteX0" fmla="*/ 15091 w 83255"/>
                  <a:gd name="connsiteY0" fmla="*/ 729 h 98558"/>
                  <a:gd name="connsiteX1" fmla="*/ 41 w 83255"/>
                  <a:gd name="connsiteY1" fmla="*/ 68356 h 98558"/>
                  <a:gd name="connsiteX2" fmla="*/ 23568 w 83255"/>
                  <a:gd name="connsiteY2" fmla="*/ 98360 h 98558"/>
                  <a:gd name="connsiteX3" fmla="*/ 82623 w 83255"/>
                  <a:gd name="connsiteY3" fmla="*/ 97407 h 98558"/>
                  <a:gd name="connsiteX4" fmla="*/ 78718 w 83255"/>
                  <a:gd name="connsiteY4" fmla="*/ 88454 h 98558"/>
                  <a:gd name="connsiteX5" fmla="*/ 27569 w 83255"/>
                  <a:gd name="connsiteY5" fmla="*/ 13778 h 98558"/>
                  <a:gd name="connsiteX6" fmla="*/ 15091 w 83255"/>
                  <a:gd name="connsiteY6" fmla="*/ 729 h 98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3255" h="98558">
                    <a:moveTo>
                      <a:pt x="15091" y="729"/>
                    </a:moveTo>
                    <a:cubicBezTo>
                      <a:pt x="15091" y="729"/>
                      <a:pt x="20139" y="20826"/>
                      <a:pt x="41" y="68356"/>
                    </a:cubicBezTo>
                    <a:cubicBezTo>
                      <a:pt x="41" y="68356"/>
                      <a:pt x="-2054" y="101408"/>
                      <a:pt x="23568" y="98360"/>
                    </a:cubicBezTo>
                    <a:lnTo>
                      <a:pt x="82623" y="97407"/>
                    </a:lnTo>
                    <a:cubicBezTo>
                      <a:pt x="82623" y="97407"/>
                      <a:pt x="85576" y="91502"/>
                      <a:pt x="78718" y="88454"/>
                    </a:cubicBezTo>
                    <a:cubicBezTo>
                      <a:pt x="78718" y="88454"/>
                      <a:pt x="28521" y="80834"/>
                      <a:pt x="27569" y="13778"/>
                    </a:cubicBezTo>
                    <a:cubicBezTo>
                      <a:pt x="27569" y="13873"/>
                      <a:pt x="29569" y="-3748"/>
                      <a:pt x="15091" y="729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5" name="任意多边形: 形状 1094">
                <a:extLst>
                  <a:ext uri="{FF2B5EF4-FFF2-40B4-BE49-F238E27FC236}">
                    <a16:creationId xmlns:a16="http://schemas.microsoft.com/office/drawing/2014/main" id="{50195DA8-2651-47F7-988A-95180E3473F1}"/>
                  </a:ext>
                </a:extLst>
              </p:cNvPr>
              <p:cNvSpPr/>
              <p:nvPr/>
            </p:nvSpPr>
            <p:spPr>
              <a:xfrm>
                <a:off x="4768183" y="4444362"/>
                <a:ext cx="42071" cy="30927"/>
              </a:xfrm>
              <a:custGeom>
                <a:avLst/>
                <a:gdLst>
                  <a:gd name="connsiteX0" fmla="*/ 32576 w 42071"/>
                  <a:gd name="connsiteY0" fmla="*/ 0 h 30927"/>
                  <a:gd name="connsiteX1" fmla="*/ 0 w 42071"/>
                  <a:gd name="connsiteY1" fmla="*/ 25622 h 30927"/>
                  <a:gd name="connsiteX2" fmla="*/ 27718 w 42071"/>
                  <a:gd name="connsiteY2" fmla="*/ 29623 h 30927"/>
                  <a:gd name="connsiteX3" fmla="*/ 30289 w 42071"/>
                  <a:gd name="connsiteY3" fmla="*/ 24194 h 30927"/>
                  <a:gd name="connsiteX4" fmla="*/ 32576 w 42071"/>
                  <a:gd name="connsiteY4" fmla="*/ 0 h 30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071" h="30927">
                    <a:moveTo>
                      <a:pt x="32576" y="0"/>
                    </a:moveTo>
                    <a:cubicBezTo>
                      <a:pt x="32576" y="0"/>
                      <a:pt x="476" y="18479"/>
                      <a:pt x="0" y="25622"/>
                    </a:cubicBezTo>
                    <a:cubicBezTo>
                      <a:pt x="0" y="25622"/>
                      <a:pt x="19241" y="34100"/>
                      <a:pt x="27718" y="29623"/>
                    </a:cubicBezTo>
                    <a:lnTo>
                      <a:pt x="30289" y="24194"/>
                    </a:lnTo>
                    <a:cubicBezTo>
                      <a:pt x="30194" y="24098"/>
                      <a:pt x="55245" y="1048"/>
                      <a:pt x="32576" y="0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6" name="任意多边形: 形状 1095">
                <a:extLst>
                  <a:ext uri="{FF2B5EF4-FFF2-40B4-BE49-F238E27FC236}">
                    <a16:creationId xmlns:a16="http://schemas.microsoft.com/office/drawing/2014/main" id="{454EA326-3C2C-4C4A-9E16-9A503323BC26}"/>
                  </a:ext>
                </a:extLst>
              </p:cNvPr>
              <p:cNvSpPr/>
              <p:nvPr/>
            </p:nvSpPr>
            <p:spPr>
              <a:xfrm>
                <a:off x="4631813" y="4444071"/>
                <a:ext cx="340393" cy="221158"/>
              </a:xfrm>
              <a:custGeom>
                <a:avLst/>
                <a:gdLst>
                  <a:gd name="connsiteX0" fmla="*/ 226094 w 340394"/>
                  <a:gd name="connsiteY0" fmla="*/ 294 h 221160"/>
                  <a:gd name="connsiteX1" fmla="*/ 214664 w 340394"/>
                  <a:gd name="connsiteY1" fmla="*/ 4771 h 221160"/>
                  <a:gd name="connsiteX2" fmla="*/ 187137 w 340394"/>
                  <a:gd name="connsiteY2" fmla="*/ 30488 h 221160"/>
                  <a:gd name="connsiteX3" fmla="*/ 173992 w 340394"/>
                  <a:gd name="connsiteY3" fmla="*/ 36965 h 221160"/>
                  <a:gd name="connsiteX4" fmla="*/ 173516 w 340394"/>
                  <a:gd name="connsiteY4" fmla="*/ 51062 h 221160"/>
                  <a:gd name="connsiteX5" fmla="*/ 168849 w 340394"/>
                  <a:gd name="connsiteY5" fmla="*/ 58016 h 221160"/>
                  <a:gd name="connsiteX6" fmla="*/ 143893 w 340394"/>
                  <a:gd name="connsiteY6" fmla="*/ 62492 h 221160"/>
                  <a:gd name="connsiteX7" fmla="*/ 163515 w 340394"/>
                  <a:gd name="connsiteY7" fmla="*/ 72113 h 221160"/>
                  <a:gd name="connsiteX8" fmla="*/ 168373 w 340394"/>
                  <a:gd name="connsiteY8" fmla="*/ 92591 h 221160"/>
                  <a:gd name="connsiteX9" fmla="*/ 148942 w 340394"/>
                  <a:gd name="connsiteY9" fmla="*/ 103736 h 221160"/>
                  <a:gd name="connsiteX10" fmla="*/ 61312 w 340394"/>
                  <a:gd name="connsiteY10" fmla="*/ 48014 h 221160"/>
                  <a:gd name="connsiteX11" fmla="*/ 49215 w 340394"/>
                  <a:gd name="connsiteY11" fmla="*/ 41442 h 221160"/>
                  <a:gd name="connsiteX12" fmla="*/ 99793 w 340394"/>
                  <a:gd name="connsiteY12" fmla="*/ 41442 h 221160"/>
                  <a:gd name="connsiteX13" fmla="*/ 75790 w 340394"/>
                  <a:gd name="connsiteY13" fmla="*/ 28869 h 221160"/>
                  <a:gd name="connsiteX14" fmla="*/ 52168 w 340394"/>
                  <a:gd name="connsiteY14" fmla="*/ 29345 h 221160"/>
                  <a:gd name="connsiteX15" fmla="*/ 29117 w 340394"/>
                  <a:gd name="connsiteY15" fmla="*/ 25440 h 221160"/>
                  <a:gd name="connsiteX16" fmla="*/ 15973 w 340394"/>
                  <a:gd name="connsiteY16" fmla="*/ 31060 h 221160"/>
                  <a:gd name="connsiteX17" fmla="*/ 7495 w 340394"/>
                  <a:gd name="connsiteY17" fmla="*/ 36965 h 221160"/>
                  <a:gd name="connsiteX18" fmla="*/ 1495 w 340394"/>
                  <a:gd name="connsiteY18" fmla="*/ 38489 h 221160"/>
                  <a:gd name="connsiteX19" fmla="*/ 26069 w 340394"/>
                  <a:gd name="connsiteY19" fmla="*/ 52967 h 221160"/>
                  <a:gd name="connsiteX20" fmla="*/ 53120 w 340394"/>
                  <a:gd name="connsiteY20" fmla="*/ 59063 h 221160"/>
                  <a:gd name="connsiteX21" fmla="*/ 108270 w 340394"/>
                  <a:gd name="connsiteY21" fmla="*/ 88496 h 221160"/>
                  <a:gd name="connsiteX22" fmla="*/ 146275 w 340394"/>
                  <a:gd name="connsiteY22" fmla="*/ 120119 h 221160"/>
                  <a:gd name="connsiteX23" fmla="*/ 146751 w 340394"/>
                  <a:gd name="connsiteY23" fmla="*/ 132120 h 221160"/>
                  <a:gd name="connsiteX24" fmla="*/ 167706 w 340394"/>
                  <a:gd name="connsiteY24" fmla="*/ 146217 h 221160"/>
                  <a:gd name="connsiteX25" fmla="*/ 198376 w 340394"/>
                  <a:gd name="connsiteY25" fmla="*/ 187365 h 221160"/>
                  <a:gd name="connsiteX26" fmla="*/ 155704 w 340394"/>
                  <a:gd name="connsiteY26" fmla="*/ 157742 h 221160"/>
                  <a:gd name="connsiteX27" fmla="*/ 148084 w 340394"/>
                  <a:gd name="connsiteY27" fmla="*/ 152218 h 221160"/>
                  <a:gd name="connsiteX28" fmla="*/ 134654 w 340394"/>
                  <a:gd name="connsiteY28" fmla="*/ 136216 h 221160"/>
                  <a:gd name="connsiteX29" fmla="*/ 126558 w 340394"/>
                  <a:gd name="connsiteY29" fmla="*/ 136692 h 221160"/>
                  <a:gd name="connsiteX30" fmla="*/ 207235 w 340394"/>
                  <a:gd name="connsiteY30" fmla="*/ 218893 h 221160"/>
                  <a:gd name="connsiteX31" fmla="*/ 228190 w 340394"/>
                  <a:gd name="connsiteY31" fmla="*/ 206891 h 221160"/>
                  <a:gd name="connsiteX32" fmla="*/ 196186 w 340394"/>
                  <a:gd name="connsiteY32" fmla="*/ 154694 h 221160"/>
                  <a:gd name="connsiteX33" fmla="*/ 230095 w 340394"/>
                  <a:gd name="connsiteY33" fmla="*/ 150122 h 221160"/>
                  <a:gd name="connsiteX34" fmla="*/ 314772 w 340394"/>
                  <a:gd name="connsiteY34" fmla="*/ 163172 h 221160"/>
                  <a:gd name="connsiteX35" fmla="*/ 330393 w 340394"/>
                  <a:gd name="connsiteY35" fmla="*/ 142598 h 221160"/>
                  <a:gd name="connsiteX36" fmla="*/ 317249 w 340394"/>
                  <a:gd name="connsiteY36" fmla="*/ 121643 h 221160"/>
                  <a:gd name="connsiteX37" fmla="*/ 268766 w 340394"/>
                  <a:gd name="connsiteY37" fmla="*/ 78399 h 221160"/>
                  <a:gd name="connsiteX38" fmla="*/ 268195 w 340394"/>
                  <a:gd name="connsiteY38" fmla="*/ 71446 h 221160"/>
                  <a:gd name="connsiteX39" fmla="*/ 285721 w 340394"/>
                  <a:gd name="connsiteY39" fmla="*/ 78018 h 221160"/>
                  <a:gd name="connsiteX40" fmla="*/ 310391 w 340394"/>
                  <a:gd name="connsiteY40" fmla="*/ 79447 h 221160"/>
                  <a:gd name="connsiteX41" fmla="*/ 332393 w 340394"/>
                  <a:gd name="connsiteY41" fmla="*/ 75923 h 221160"/>
                  <a:gd name="connsiteX42" fmla="*/ 340394 w 340394"/>
                  <a:gd name="connsiteY42" fmla="*/ 67350 h 221160"/>
                  <a:gd name="connsiteX43" fmla="*/ 335441 w 340394"/>
                  <a:gd name="connsiteY43" fmla="*/ 54872 h 221160"/>
                  <a:gd name="connsiteX44" fmla="*/ 327917 w 340394"/>
                  <a:gd name="connsiteY44" fmla="*/ 55825 h 221160"/>
                  <a:gd name="connsiteX45" fmla="*/ 312867 w 340394"/>
                  <a:gd name="connsiteY45" fmla="*/ 62397 h 221160"/>
                  <a:gd name="connsiteX46" fmla="*/ 281720 w 340394"/>
                  <a:gd name="connsiteY46" fmla="*/ 58873 h 221160"/>
                  <a:gd name="connsiteX47" fmla="*/ 264766 w 340394"/>
                  <a:gd name="connsiteY47" fmla="*/ 55349 h 221160"/>
                  <a:gd name="connsiteX48" fmla="*/ 233047 w 340394"/>
                  <a:gd name="connsiteY48" fmla="*/ 44871 h 221160"/>
                  <a:gd name="connsiteX49" fmla="*/ 229142 w 340394"/>
                  <a:gd name="connsiteY49" fmla="*/ 52777 h 221160"/>
                  <a:gd name="connsiteX50" fmla="*/ 217045 w 340394"/>
                  <a:gd name="connsiteY50" fmla="*/ 63921 h 221160"/>
                  <a:gd name="connsiteX51" fmla="*/ 211140 w 340394"/>
                  <a:gd name="connsiteY51" fmla="*/ 66874 h 221160"/>
                  <a:gd name="connsiteX52" fmla="*/ 200567 w 340394"/>
                  <a:gd name="connsiteY52" fmla="*/ 62969 h 221160"/>
                  <a:gd name="connsiteX53" fmla="*/ 198567 w 340394"/>
                  <a:gd name="connsiteY53" fmla="*/ 55920 h 221160"/>
                  <a:gd name="connsiteX54" fmla="*/ 194947 w 340394"/>
                  <a:gd name="connsiteY54" fmla="*/ 52872 h 221160"/>
                  <a:gd name="connsiteX55" fmla="*/ 214950 w 340394"/>
                  <a:gd name="connsiteY55" fmla="*/ 37918 h 221160"/>
                  <a:gd name="connsiteX56" fmla="*/ 226570 w 340394"/>
                  <a:gd name="connsiteY56" fmla="*/ 27536 h 221160"/>
                  <a:gd name="connsiteX57" fmla="*/ 231047 w 340394"/>
                  <a:gd name="connsiteY57" fmla="*/ 10867 h 221160"/>
                  <a:gd name="connsiteX58" fmla="*/ 226094 w 340394"/>
                  <a:gd name="connsiteY58" fmla="*/ 294 h 221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340394" h="221160">
                    <a:moveTo>
                      <a:pt x="226094" y="294"/>
                    </a:moveTo>
                    <a:cubicBezTo>
                      <a:pt x="226094" y="294"/>
                      <a:pt x="223142" y="6866"/>
                      <a:pt x="214664" y="4771"/>
                    </a:cubicBezTo>
                    <a:cubicBezTo>
                      <a:pt x="214664" y="4771"/>
                      <a:pt x="199615" y="30965"/>
                      <a:pt x="187137" y="30488"/>
                    </a:cubicBezTo>
                    <a:cubicBezTo>
                      <a:pt x="187137" y="30488"/>
                      <a:pt x="179136" y="42014"/>
                      <a:pt x="173992" y="36965"/>
                    </a:cubicBezTo>
                    <a:cubicBezTo>
                      <a:pt x="173992" y="36965"/>
                      <a:pt x="167992" y="45538"/>
                      <a:pt x="173516" y="51062"/>
                    </a:cubicBezTo>
                    <a:cubicBezTo>
                      <a:pt x="173516" y="51062"/>
                      <a:pt x="184946" y="62016"/>
                      <a:pt x="168849" y="58016"/>
                    </a:cubicBezTo>
                    <a:cubicBezTo>
                      <a:pt x="168849" y="58016"/>
                      <a:pt x="150370" y="58968"/>
                      <a:pt x="143893" y="62492"/>
                    </a:cubicBezTo>
                    <a:cubicBezTo>
                      <a:pt x="143893" y="62492"/>
                      <a:pt x="146942" y="72494"/>
                      <a:pt x="163515" y="72113"/>
                    </a:cubicBezTo>
                    <a:cubicBezTo>
                      <a:pt x="163515" y="72113"/>
                      <a:pt x="181993" y="80590"/>
                      <a:pt x="168373" y="92591"/>
                    </a:cubicBezTo>
                    <a:cubicBezTo>
                      <a:pt x="168373" y="92591"/>
                      <a:pt x="161896" y="116118"/>
                      <a:pt x="148942" y="103736"/>
                    </a:cubicBezTo>
                    <a:cubicBezTo>
                      <a:pt x="148942" y="103736"/>
                      <a:pt x="126939" y="70017"/>
                      <a:pt x="61312" y="48014"/>
                    </a:cubicBezTo>
                    <a:cubicBezTo>
                      <a:pt x="61312" y="48014"/>
                      <a:pt x="47786" y="51539"/>
                      <a:pt x="49215" y="41442"/>
                    </a:cubicBezTo>
                    <a:lnTo>
                      <a:pt x="99793" y="41442"/>
                    </a:lnTo>
                    <a:cubicBezTo>
                      <a:pt x="99793" y="41442"/>
                      <a:pt x="125796" y="31917"/>
                      <a:pt x="75790" y="28869"/>
                    </a:cubicBezTo>
                    <a:lnTo>
                      <a:pt x="52168" y="29345"/>
                    </a:lnTo>
                    <a:cubicBezTo>
                      <a:pt x="52168" y="29345"/>
                      <a:pt x="39023" y="20392"/>
                      <a:pt x="29117" y="25440"/>
                    </a:cubicBezTo>
                    <a:cubicBezTo>
                      <a:pt x="29117" y="25440"/>
                      <a:pt x="20640" y="31917"/>
                      <a:pt x="15973" y="31060"/>
                    </a:cubicBezTo>
                    <a:cubicBezTo>
                      <a:pt x="11591" y="29917"/>
                      <a:pt x="10448" y="37442"/>
                      <a:pt x="7495" y="36965"/>
                    </a:cubicBezTo>
                    <a:cubicBezTo>
                      <a:pt x="4543" y="36489"/>
                      <a:pt x="3590" y="39442"/>
                      <a:pt x="1495" y="38489"/>
                    </a:cubicBezTo>
                    <a:cubicBezTo>
                      <a:pt x="-410" y="37442"/>
                      <a:pt x="-5459" y="54587"/>
                      <a:pt x="26069" y="52967"/>
                    </a:cubicBezTo>
                    <a:cubicBezTo>
                      <a:pt x="26069" y="52967"/>
                      <a:pt x="43595" y="62016"/>
                      <a:pt x="53120" y="59063"/>
                    </a:cubicBezTo>
                    <a:cubicBezTo>
                      <a:pt x="62550" y="56015"/>
                      <a:pt x="102269" y="82114"/>
                      <a:pt x="108270" y="88496"/>
                    </a:cubicBezTo>
                    <a:cubicBezTo>
                      <a:pt x="108270" y="88496"/>
                      <a:pt x="140750" y="102116"/>
                      <a:pt x="146275" y="120119"/>
                    </a:cubicBezTo>
                    <a:lnTo>
                      <a:pt x="146751" y="132120"/>
                    </a:lnTo>
                    <a:cubicBezTo>
                      <a:pt x="146751" y="132120"/>
                      <a:pt x="161324" y="147265"/>
                      <a:pt x="167706" y="146217"/>
                    </a:cubicBezTo>
                    <a:cubicBezTo>
                      <a:pt x="167706" y="146217"/>
                      <a:pt x="202758" y="176316"/>
                      <a:pt x="198376" y="187365"/>
                    </a:cubicBezTo>
                    <a:cubicBezTo>
                      <a:pt x="198376" y="187365"/>
                      <a:pt x="200853" y="203843"/>
                      <a:pt x="155704" y="157742"/>
                    </a:cubicBezTo>
                    <a:lnTo>
                      <a:pt x="148084" y="152218"/>
                    </a:lnTo>
                    <a:cubicBezTo>
                      <a:pt x="148084" y="152218"/>
                      <a:pt x="143132" y="136692"/>
                      <a:pt x="134654" y="136216"/>
                    </a:cubicBezTo>
                    <a:cubicBezTo>
                      <a:pt x="134654" y="136216"/>
                      <a:pt x="126558" y="134692"/>
                      <a:pt x="126558" y="136692"/>
                    </a:cubicBezTo>
                    <a:cubicBezTo>
                      <a:pt x="126558" y="138692"/>
                      <a:pt x="147608" y="191747"/>
                      <a:pt x="207235" y="218893"/>
                    </a:cubicBezTo>
                    <a:cubicBezTo>
                      <a:pt x="207235" y="218893"/>
                      <a:pt x="235238" y="228894"/>
                      <a:pt x="228190" y="206891"/>
                    </a:cubicBezTo>
                    <a:cubicBezTo>
                      <a:pt x="228190" y="206891"/>
                      <a:pt x="227142" y="187746"/>
                      <a:pt x="196186" y="154694"/>
                    </a:cubicBezTo>
                    <a:cubicBezTo>
                      <a:pt x="196186" y="154694"/>
                      <a:pt x="199138" y="132120"/>
                      <a:pt x="230095" y="150122"/>
                    </a:cubicBezTo>
                    <a:cubicBezTo>
                      <a:pt x="230095" y="150122"/>
                      <a:pt x="296770" y="157647"/>
                      <a:pt x="314772" y="163172"/>
                    </a:cubicBezTo>
                    <a:cubicBezTo>
                      <a:pt x="314772" y="163172"/>
                      <a:pt x="354967" y="168696"/>
                      <a:pt x="330393" y="142598"/>
                    </a:cubicBezTo>
                    <a:cubicBezTo>
                      <a:pt x="330393" y="142598"/>
                      <a:pt x="317249" y="129548"/>
                      <a:pt x="317249" y="121643"/>
                    </a:cubicBezTo>
                    <a:cubicBezTo>
                      <a:pt x="317249" y="121643"/>
                      <a:pt x="283816" y="84019"/>
                      <a:pt x="268766" y="78399"/>
                    </a:cubicBezTo>
                    <a:cubicBezTo>
                      <a:pt x="268766" y="78399"/>
                      <a:pt x="252669" y="71446"/>
                      <a:pt x="268195" y="71446"/>
                    </a:cubicBezTo>
                    <a:cubicBezTo>
                      <a:pt x="268195" y="71446"/>
                      <a:pt x="280863" y="70779"/>
                      <a:pt x="285721" y="78018"/>
                    </a:cubicBezTo>
                    <a:lnTo>
                      <a:pt x="310391" y="79447"/>
                    </a:lnTo>
                    <a:cubicBezTo>
                      <a:pt x="310391" y="79447"/>
                      <a:pt x="329917" y="84876"/>
                      <a:pt x="332393" y="75923"/>
                    </a:cubicBezTo>
                    <a:lnTo>
                      <a:pt x="340394" y="67350"/>
                    </a:lnTo>
                    <a:cubicBezTo>
                      <a:pt x="340394" y="67350"/>
                      <a:pt x="334870" y="58873"/>
                      <a:pt x="335441" y="54872"/>
                    </a:cubicBezTo>
                    <a:cubicBezTo>
                      <a:pt x="335917" y="50872"/>
                      <a:pt x="327917" y="55825"/>
                      <a:pt x="327917" y="55825"/>
                    </a:cubicBezTo>
                    <a:cubicBezTo>
                      <a:pt x="327917" y="55825"/>
                      <a:pt x="315439" y="58301"/>
                      <a:pt x="312867" y="62397"/>
                    </a:cubicBezTo>
                    <a:cubicBezTo>
                      <a:pt x="310391" y="66398"/>
                      <a:pt x="281720" y="65540"/>
                      <a:pt x="281720" y="58873"/>
                    </a:cubicBezTo>
                    <a:cubicBezTo>
                      <a:pt x="281720" y="58873"/>
                      <a:pt x="267718" y="54872"/>
                      <a:pt x="264766" y="55349"/>
                    </a:cubicBezTo>
                    <a:cubicBezTo>
                      <a:pt x="261718" y="55825"/>
                      <a:pt x="245239" y="34775"/>
                      <a:pt x="233047" y="44871"/>
                    </a:cubicBezTo>
                    <a:cubicBezTo>
                      <a:pt x="233047" y="44871"/>
                      <a:pt x="229142" y="48300"/>
                      <a:pt x="229142" y="52777"/>
                    </a:cubicBezTo>
                    <a:cubicBezTo>
                      <a:pt x="229142" y="57349"/>
                      <a:pt x="219141" y="64397"/>
                      <a:pt x="217045" y="63921"/>
                    </a:cubicBezTo>
                    <a:cubicBezTo>
                      <a:pt x="214950" y="63445"/>
                      <a:pt x="216093" y="70779"/>
                      <a:pt x="211140" y="66874"/>
                    </a:cubicBezTo>
                    <a:cubicBezTo>
                      <a:pt x="206092" y="62969"/>
                      <a:pt x="200567" y="62969"/>
                      <a:pt x="200567" y="62969"/>
                    </a:cubicBezTo>
                    <a:lnTo>
                      <a:pt x="198567" y="55920"/>
                    </a:lnTo>
                    <a:lnTo>
                      <a:pt x="194947" y="52872"/>
                    </a:lnTo>
                    <a:cubicBezTo>
                      <a:pt x="194947" y="52872"/>
                      <a:pt x="201615" y="34394"/>
                      <a:pt x="214950" y="37918"/>
                    </a:cubicBezTo>
                    <a:lnTo>
                      <a:pt x="226570" y="27536"/>
                    </a:lnTo>
                    <a:cubicBezTo>
                      <a:pt x="226570" y="27536"/>
                      <a:pt x="226570" y="13915"/>
                      <a:pt x="231047" y="10867"/>
                    </a:cubicBezTo>
                    <a:cubicBezTo>
                      <a:pt x="231619" y="10772"/>
                      <a:pt x="235619" y="-2087"/>
                      <a:pt x="226094" y="294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7" name="任意多边形: 形状 1096">
                <a:extLst>
                  <a:ext uri="{FF2B5EF4-FFF2-40B4-BE49-F238E27FC236}">
                    <a16:creationId xmlns:a16="http://schemas.microsoft.com/office/drawing/2014/main" id="{B5FC20C5-F610-43C7-A195-46579E1FD34B}"/>
                  </a:ext>
                </a:extLst>
              </p:cNvPr>
              <p:cNvSpPr/>
              <p:nvPr/>
            </p:nvSpPr>
            <p:spPr>
              <a:xfrm>
                <a:off x="4572266" y="4539042"/>
                <a:ext cx="182528" cy="123883"/>
              </a:xfrm>
              <a:custGeom>
                <a:avLst/>
                <a:gdLst>
                  <a:gd name="connsiteX0" fmla="*/ 135433 w 182527"/>
                  <a:gd name="connsiteY0" fmla="*/ 3524 h 123883"/>
                  <a:gd name="connsiteX1" fmla="*/ 148864 w 182527"/>
                  <a:gd name="connsiteY1" fmla="*/ 20669 h 123883"/>
                  <a:gd name="connsiteX2" fmla="*/ 182487 w 182527"/>
                  <a:gd name="connsiteY2" fmla="*/ 51149 h 123883"/>
                  <a:gd name="connsiteX3" fmla="*/ 169819 w 182527"/>
                  <a:gd name="connsiteY3" fmla="*/ 67723 h 123883"/>
                  <a:gd name="connsiteX4" fmla="*/ 142291 w 182527"/>
                  <a:gd name="connsiteY4" fmla="*/ 67151 h 123883"/>
                  <a:gd name="connsiteX5" fmla="*/ 153912 w 182527"/>
                  <a:gd name="connsiteY5" fmla="*/ 84201 h 123883"/>
                  <a:gd name="connsiteX6" fmla="*/ 166389 w 182527"/>
                  <a:gd name="connsiteY6" fmla="*/ 119158 h 123883"/>
                  <a:gd name="connsiteX7" fmla="*/ 152197 w 182527"/>
                  <a:gd name="connsiteY7" fmla="*/ 121253 h 123883"/>
                  <a:gd name="connsiteX8" fmla="*/ 117241 w 182527"/>
                  <a:gd name="connsiteY8" fmla="*/ 72581 h 123883"/>
                  <a:gd name="connsiteX9" fmla="*/ 89237 w 182527"/>
                  <a:gd name="connsiteY9" fmla="*/ 86201 h 123883"/>
                  <a:gd name="connsiteX10" fmla="*/ 40564 w 182527"/>
                  <a:gd name="connsiteY10" fmla="*/ 114776 h 123883"/>
                  <a:gd name="connsiteX11" fmla="*/ 26563 w 182527"/>
                  <a:gd name="connsiteY11" fmla="*/ 121730 h 123883"/>
                  <a:gd name="connsiteX12" fmla="*/ 6846 w 182527"/>
                  <a:gd name="connsiteY12" fmla="*/ 112681 h 123883"/>
                  <a:gd name="connsiteX13" fmla="*/ 464 w 182527"/>
                  <a:gd name="connsiteY13" fmla="*/ 88202 h 123883"/>
                  <a:gd name="connsiteX14" fmla="*/ 2369 w 182527"/>
                  <a:gd name="connsiteY14" fmla="*/ 17526 h 123883"/>
                  <a:gd name="connsiteX15" fmla="*/ 14371 w 182527"/>
                  <a:gd name="connsiteY15" fmla="*/ 17526 h 123883"/>
                  <a:gd name="connsiteX16" fmla="*/ 35993 w 182527"/>
                  <a:gd name="connsiteY16" fmla="*/ 80200 h 123883"/>
                  <a:gd name="connsiteX17" fmla="*/ 59995 w 182527"/>
                  <a:gd name="connsiteY17" fmla="*/ 74200 h 123883"/>
                  <a:gd name="connsiteX18" fmla="*/ 72473 w 182527"/>
                  <a:gd name="connsiteY18" fmla="*/ 70580 h 123883"/>
                  <a:gd name="connsiteX19" fmla="*/ 84094 w 182527"/>
                  <a:gd name="connsiteY19" fmla="*/ 63532 h 123883"/>
                  <a:gd name="connsiteX20" fmla="*/ 101524 w 182527"/>
                  <a:gd name="connsiteY20" fmla="*/ 54102 h 123883"/>
                  <a:gd name="connsiteX21" fmla="*/ 87046 w 182527"/>
                  <a:gd name="connsiteY21" fmla="*/ 38576 h 123883"/>
                  <a:gd name="connsiteX22" fmla="*/ 69520 w 182527"/>
                  <a:gd name="connsiteY22" fmla="*/ 0 h 123883"/>
                  <a:gd name="connsiteX23" fmla="*/ 82189 w 182527"/>
                  <a:gd name="connsiteY23" fmla="*/ 476 h 123883"/>
                  <a:gd name="connsiteX24" fmla="*/ 105715 w 182527"/>
                  <a:gd name="connsiteY24" fmla="*/ 32956 h 123883"/>
                  <a:gd name="connsiteX25" fmla="*/ 115145 w 182527"/>
                  <a:gd name="connsiteY25" fmla="*/ 38957 h 123883"/>
                  <a:gd name="connsiteX26" fmla="*/ 131719 w 182527"/>
                  <a:gd name="connsiteY26" fmla="*/ 28956 h 123883"/>
                  <a:gd name="connsiteX27" fmla="*/ 123718 w 182527"/>
                  <a:gd name="connsiteY27" fmla="*/ 8573 h 123883"/>
                  <a:gd name="connsiteX28" fmla="*/ 135433 w 182527"/>
                  <a:gd name="connsiteY28" fmla="*/ 3524 h 123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82527" h="123883">
                    <a:moveTo>
                      <a:pt x="135433" y="3524"/>
                    </a:moveTo>
                    <a:cubicBezTo>
                      <a:pt x="135433" y="3524"/>
                      <a:pt x="144482" y="10954"/>
                      <a:pt x="148864" y="20669"/>
                    </a:cubicBezTo>
                    <a:cubicBezTo>
                      <a:pt x="153436" y="30099"/>
                      <a:pt x="172390" y="50673"/>
                      <a:pt x="182487" y="51149"/>
                    </a:cubicBezTo>
                    <a:cubicBezTo>
                      <a:pt x="182487" y="51149"/>
                      <a:pt x="183916" y="66675"/>
                      <a:pt x="169819" y="67723"/>
                    </a:cubicBezTo>
                    <a:cubicBezTo>
                      <a:pt x="169819" y="67723"/>
                      <a:pt x="152959" y="62198"/>
                      <a:pt x="142291" y="67151"/>
                    </a:cubicBezTo>
                    <a:cubicBezTo>
                      <a:pt x="142291" y="67151"/>
                      <a:pt x="138386" y="76676"/>
                      <a:pt x="153912" y="84201"/>
                    </a:cubicBezTo>
                    <a:cubicBezTo>
                      <a:pt x="153912" y="84201"/>
                      <a:pt x="180391" y="99346"/>
                      <a:pt x="166389" y="119158"/>
                    </a:cubicBezTo>
                    <a:cubicBezTo>
                      <a:pt x="166389" y="119158"/>
                      <a:pt x="160294" y="122777"/>
                      <a:pt x="152197" y="121253"/>
                    </a:cubicBezTo>
                    <a:lnTo>
                      <a:pt x="117241" y="72581"/>
                    </a:lnTo>
                    <a:cubicBezTo>
                      <a:pt x="117241" y="72581"/>
                      <a:pt x="117812" y="65246"/>
                      <a:pt x="89237" y="86201"/>
                    </a:cubicBezTo>
                    <a:cubicBezTo>
                      <a:pt x="89237" y="86201"/>
                      <a:pt x="54090" y="111823"/>
                      <a:pt x="40564" y="114776"/>
                    </a:cubicBezTo>
                    <a:cubicBezTo>
                      <a:pt x="40564" y="114776"/>
                      <a:pt x="28468" y="118681"/>
                      <a:pt x="26563" y="121730"/>
                    </a:cubicBezTo>
                    <a:cubicBezTo>
                      <a:pt x="24562" y="124682"/>
                      <a:pt x="7894" y="126778"/>
                      <a:pt x="6846" y="112681"/>
                    </a:cubicBezTo>
                    <a:cubicBezTo>
                      <a:pt x="6846" y="112681"/>
                      <a:pt x="-2108" y="99727"/>
                      <a:pt x="464" y="88202"/>
                    </a:cubicBezTo>
                    <a:lnTo>
                      <a:pt x="2369" y="17526"/>
                    </a:lnTo>
                    <a:cubicBezTo>
                      <a:pt x="2369" y="17526"/>
                      <a:pt x="11418" y="7429"/>
                      <a:pt x="14371" y="17526"/>
                    </a:cubicBezTo>
                    <a:cubicBezTo>
                      <a:pt x="17419" y="27527"/>
                      <a:pt x="12466" y="69056"/>
                      <a:pt x="35993" y="80200"/>
                    </a:cubicBezTo>
                    <a:cubicBezTo>
                      <a:pt x="35993" y="80200"/>
                      <a:pt x="59519" y="78105"/>
                      <a:pt x="59995" y="74200"/>
                    </a:cubicBezTo>
                    <a:cubicBezTo>
                      <a:pt x="60472" y="70199"/>
                      <a:pt x="69520" y="74200"/>
                      <a:pt x="72473" y="70580"/>
                    </a:cubicBezTo>
                    <a:cubicBezTo>
                      <a:pt x="75426" y="67056"/>
                      <a:pt x="76569" y="62579"/>
                      <a:pt x="84094" y="63532"/>
                    </a:cubicBezTo>
                    <a:cubicBezTo>
                      <a:pt x="91618" y="64579"/>
                      <a:pt x="99619" y="55626"/>
                      <a:pt x="101524" y="54102"/>
                    </a:cubicBezTo>
                    <a:cubicBezTo>
                      <a:pt x="103620" y="52578"/>
                      <a:pt x="102763" y="44958"/>
                      <a:pt x="87046" y="38576"/>
                    </a:cubicBezTo>
                    <a:cubicBezTo>
                      <a:pt x="87046" y="38576"/>
                      <a:pt x="44470" y="17526"/>
                      <a:pt x="69520" y="0"/>
                    </a:cubicBezTo>
                    <a:lnTo>
                      <a:pt x="82189" y="476"/>
                    </a:lnTo>
                    <a:cubicBezTo>
                      <a:pt x="82189" y="476"/>
                      <a:pt x="87142" y="28956"/>
                      <a:pt x="105715" y="32956"/>
                    </a:cubicBezTo>
                    <a:lnTo>
                      <a:pt x="115145" y="38957"/>
                    </a:lnTo>
                    <a:cubicBezTo>
                      <a:pt x="115145" y="38957"/>
                      <a:pt x="141720" y="47530"/>
                      <a:pt x="131719" y="28956"/>
                    </a:cubicBezTo>
                    <a:cubicBezTo>
                      <a:pt x="131719" y="28956"/>
                      <a:pt x="119717" y="15907"/>
                      <a:pt x="123718" y="8573"/>
                    </a:cubicBezTo>
                    <a:cubicBezTo>
                      <a:pt x="123908" y="8668"/>
                      <a:pt x="130385" y="-1048"/>
                      <a:pt x="135433" y="3524"/>
                    </a:cubicBezTo>
                    <a:close/>
                  </a:path>
                </a:pathLst>
              </a:custGeom>
              <a:solidFill>
                <a:srgbClr val="2318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8" name="任意多边形: 形状 1097">
                <a:extLst>
                  <a:ext uri="{FF2B5EF4-FFF2-40B4-BE49-F238E27FC236}">
                    <a16:creationId xmlns:a16="http://schemas.microsoft.com/office/drawing/2014/main" id="{8A66A796-BC74-4261-84EC-A5C727EED4EC}"/>
                  </a:ext>
                </a:extLst>
              </p:cNvPr>
              <p:cNvSpPr/>
              <p:nvPr/>
            </p:nvSpPr>
            <p:spPr>
              <a:xfrm>
                <a:off x="4844052" y="4525516"/>
                <a:ext cx="26342" cy="24528"/>
              </a:xfrm>
              <a:custGeom>
                <a:avLst/>
                <a:gdLst>
                  <a:gd name="connsiteX0" fmla="*/ 22999 w 26343"/>
                  <a:gd name="connsiteY0" fmla="*/ 0 h 24528"/>
                  <a:gd name="connsiteX1" fmla="*/ 4425 w 26343"/>
                  <a:gd name="connsiteY1" fmla="*/ 6001 h 24528"/>
                  <a:gd name="connsiteX2" fmla="*/ 7950 w 26343"/>
                  <a:gd name="connsiteY2" fmla="*/ 19526 h 24528"/>
                  <a:gd name="connsiteX3" fmla="*/ 22999 w 26343"/>
                  <a:gd name="connsiteY3" fmla="*/ 24384 h 24528"/>
                  <a:gd name="connsiteX4" fmla="*/ 22999 w 26343"/>
                  <a:gd name="connsiteY4" fmla="*/ 0 h 24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343" h="24528">
                    <a:moveTo>
                      <a:pt x="22999" y="0"/>
                    </a:moveTo>
                    <a:cubicBezTo>
                      <a:pt x="22999" y="0"/>
                      <a:pt x="20427" y="7620"/>
                      <a:pt x="4425" y="6001"/>
                    </a:cubicBezTo>
                    <a:cubicBezTo>
                      <a:pt x="4425" y="6001"/>
                      <a:pt x="-7576" y="12001"/>
                      <a:pt x="7950" y="19526"/>
                    </a:cubicBezTo>
                    <a:cubicBezTo>
                      <a:pt x="7950" y="19526"/>
                      <a:pt x="18332" y="25527"/>
                      <a:pt x="22999" y="24384"/>
                    </a:cubicBezTo>
                    <a:cubicBezTo>
                      <a:pt x="22999" y="24479"/>
                      <a:pt x="30524" y="11049"/>
                      <a:pt x="2299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9" name="任意多边形: 形状 1098">
                <a:extLst>
                  <a:ext uri="{FF2B5EF4-FFF2-40B4-BE49-F238E27FC236}">
                    <a16:creationId xmlns:a16="http://schemas.microsoft.com/office/drawing/2014/main" id="{90FE3139-24C8-41BF-8314-9CFB5DFD031B}"/>
                  </a:ext>
                </a:extLst>
              </p:cNvPr>
              <p:cNvSpPr/>
              <p:nvPr/>
            </p:nvSpPr>
            <p:spPr>
              <a:xfrm>
                <a:off x="4802089" y="4548567"/>
                <a:ext cx="139593" cy="38948"/>
              </a:xfrm>
              <a:custGeom>
                <a:avLst/>
                <a:gdLst>
                  <a:gd name="connsiteX0" fmla="*/ 15815 w 139592"/>
                  <a:gd name="connsiteY0" fmla="*/ 0 h 38947"/>
                  <a:gd name="connsiteX1" fmla="*/ 53438 w 139592"/>
                  <a:gd name="connsiteY1" fmla="*/ 22669 h 38947"/>
                  <a:gd name="connsiteX2" fmla="*/ 74012 w 139592"/>
                  <a:gd name="connsiteY2" fmla="*/ 15526 h 38947"/>
                  <a:gd name="connsiteX3" fmla="*/ 132115 w 139592"/>
                  <a:gd name="connsiteY3" fmla="*/ 23527 h 38947"/>
                  <a:gd name="connsiteX4" fmla="*/ 131162 w 139592"/>
                  <a:gd name="connsiteY4" fmla="*/ 37624 h 38947"/>
                  <a:gd name="connsiteX5" fmla="*/ 68964 w 139592"/>
                  <a:gd name="connsiteY5" fmla="*/ 31623 h 38947"/>
                  <a:gd name="connsiteX6" fmla="*/ 7909 w 139592"/>
                  <a:gd name="connsiteY6" fmla="*/ 24003 h 38947"/>
                  <a:gd name="connsiteX7" fmla="*/ 15815 w 139592"/>
                  <a:gd name="connsiteY7" fmla="*/ 0 h 38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592" h="38947">
                    <a:moveTo>
                      <a:pt x="15815" y="0"/>
                    </a:moveTo>
                    <a:cubicBezTo>
                      <a:pt x="15815" y="0"/>
                      <a:pt x="46961" y="12573"/>
                      <a:pt x="53438" y="22669"/>
                    </a:cubicBezTo>
                    <a:cubicBezTo>
                      <a:pt x="53438" y="22669"/>
                      <a:pt x="67535" y="26670"/>
                      <a:pt x="74012" y="15526"/>
                    </a:cubicBezTo>
                    <a:cubicBezTo>
                      <a:pt x="74012" y="15526"/>
                      <a:pt x="105635" y="-20955"/>
                      <a:pt x="132115" y="23527"/>
                    </a:cubicBezTo>
                    <a:cubicBezTo>
                      <a:pt x="134687" y="26575"/>
                      <a:pt x="148117" y="35528"/>
                      <a:pt x="131162" y="37624"/>
                    </a:cubicBezTo>
                    <a:cubicBezTo>
                      <a:pt x="131162" y="37624"/>
                      <a:pt x="111541" y="43148"/>
                      <a:pt x="68964" y="31623"/>
                    </a:cubicBezTo>
                    <a:cubicBezTo>
                      <a:pt x="68964" y="31623"/>
                      <a:pt x="17434" y="36576"/>
                      <a:pt x="7909" y="24003"/>
                    </a:cubicBezTo>
                    <a:cubicBezTo>
                      <a:pt x="7814" y="24003"/>
                      <a:pt x="-14284" y="12478"/>
                      <a:pt x="1581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100" name="图形 7">
                <a:extLst>
                  <a:ext uri="{FF2B5EF4-FFF2-40B4-BE49-F238E27FC236}">
                    <a16:creationId xmlns:a16="http://schemas.microsoft.com/office/drawing/2014/main" id="{5C1F833E-128B-4533-8DD7-05D75128A00F}"/>
                  </a:ext>
                </a:extLst>
              </p:cNvPr>
              <p:cNvGrpSpPr/>
              <p:nvPr/>
            </p:nvGrpSpPr>
            <p:grpSpPr>
              <a:xfrm>
                <a:off x="2478512" y="4029861"/>
                <a:ext cx="2154471" cy="2155770"/>
                <a:chOff x="2478510" y="4029860"/>
                <a:chExt cx="2154470" cy="2155769"/>
              </a:xfrm>
              <a:solidFill>
                <a:srgbClr val="EA6000"/>
              </a:solidFill>
            </p:grpSpPr>
            <p:sp>
              <p:nvSpPr>
                <p:cNvPr id="1147" name="任意多边形: 形状 1146">
                  <a:extLst>
                    <a:ext uri="{FF2B5EF4-FFF2-40B4-BE49-F238E27FC236}">
                      <a16:creationId xmlns:a16="http://schemas.microsoft.com/office/drawing/2014/main" id="{1B64E21F-ED72-41F6-8420-FF5542FB0BE6}"/>
                    </a:ext>
                  </a:extLst>
                </p:cNvPr>
                <p:cNvSpPr/>
                <p:nvPr/>
              </p:nvSpPr>
              <p:spPr>
                <a:xfrm>
                  <a:off x="2478658" y="4030012"/>
                  <a:ext cx="2154226" cy="2155617"/>
                </a:xfrm>
                <a:custGeom>
                  <a:avLst/>
                  <a:gdLst>
                    <a:gd name="connsiteX0" fmla="*/ 1077087 w 2154226"/>
                    <a:gd name="connsiteY0" fmla="*/ 2010171 h 2155617"/>
                    <a:gd name="connsiteX1" fmla="*/ 1116997 w 2154226"/>
                    <a:gd name="connsiteY1" fmla="*/ 2011314 h 2155617"/>
                    <a:gd name="connsiteX2" fmla="*/ 1345406 w 2154226"/>
                    <a:gd name="connsiteY2" fmla="*/ 1973690 h 2155617"/>
                    <a:gd name="connsiteX3" fmla="*/ 1943767 w 2154226"/>
                    <a:gd name="connsiteY3" fmla="*/ 1439909 h 2155617"/>
                    <a:gd name="connsiteX4" fmla="*/ 1943767 w 2154226"/>
                    <a:gd name="connsiteY4" fmla="*/ 711151 h 2155617"/>
                    <a:gd name="connsiteX5" fmla="*/ 1077087 w 2154226"/>
                    <a:gd name="connsiteY5" fmla="*/ 135937 h 2155617"/>
                    <a:gd name="connsiteX6" fmla="*/ 1077087 w 2154226"/>
                    <a:gd name="connsiteY6" fmla="*/ 15 h 2155617"/>
                    <a:gd name="connsiteX7" fmla="*/ 2077403 w 2154226"/>
                    <a:gd name="connsiteY7" fmla="*/ 673432 h 2155617"/>
                    <a:gd name="connsiteX8" fmla="*/ 2074450 w 2154226"/>
                    <a:gd name="connsiteY8" fmla="*/ 1494106 h 2155617"/>
                    <a:gd name="connsiteX9" fmla="*/ 1364837 w 2154226"/>
                    <a:gd name="connsiteY9" fmla="*/ 2117994 h 2155617"/>
                    <a:gd name="connsiteX10" fmla="*/ 1119950 w 2154226"/>
                    <a:gd name="connsiteY10" fmla="*/ 2155618 h 2155617"/>
                    <a:gd name="connsiteX11" fmla="*/ 1077087 w 2154226"/>
                    <a:gd name="connsiteY11" fmla="*/ 2154475 h 2155617"/>
                    <a:gd name="connsiteX12" fmla="*/ 1077087 w 2154226"/>
                    <a:gd name="connsiteY12" fmla="*/ 2010171 h 2155617"/>
                    <a:gd name="connsiteX13" fmla="*/ 1041749 w 2154226"/>
                    <a:gd name="connsiteY13" fmla="*/ 135365 h 2155617"/>
                    <a:gd name="connsiteX14" fmla="*/ 933545 w 2154226"/>
                    <a:gd name="connsiteY14" fmla="*/ 146033 h 2155617"/>
                    <a:gd name="connsiteX15" fmla="*/ 750189 w 2154226"/>
                    <a:gd name="connsiteY15" fmla="*/ 194039 h 2155617"/>
                    <a:gd name="connsiteX16" fmla="*/ 192596 w 2154226"/>
                    <a:gd name="connsiteY16" fmla="*/ 765253 h 2155617"/>
                    <a:gd name="connsiteX17" fmla="*/ 150495 w 2154226"/>
                    <a:gd name="connsiteY17" fmla="*/ 938132 h 2155617"/>
                    <a:gd name="connsiteX18" fmla="*/ 179165 w 2154226"/>
                    <a:gd name="connsiteY18" fmla="*/ 1333324 h 2155617"/>
                    <a:gd name="connsiteX19" fmla="*/ 706755 w 2154226"/>
                    <a:gd name="connsiteY19" fmla="*/ 1933209 h 2155617"/>
                    <a:gd name="connsiteX20" fmla="*/ 915543 w 2154226"/>
                    <a:gd name="connsiteY20" fmla="*/ 1997884 h 2155617"/>
                    <a:gd name="connsiteX21" fmla="*/ 1014698 w 2154226"/>
                    <a:gd name="connsiteY21" fmla="*/ 2008266 h 2155617"/>
                    <a:gd name="connsiteX22" fmla="*/ 1077087 w 2154226"/>
                    <a:gd name="connsiteY22" fmla="*/ 2010266 h 2155617"/>
                    <a:gd name="connsiteX23" fmla="*/ 1077087 w 2154226"/>
                    <a:gd name="connsiteY23" fmla="*/ 2154570 h 2155617"/>
                    <a:gd name="connsiteX24" fmla="*/ 1008698 w 2154226"/>
                    <a:gd name="connsiteY24" fmla="*/ 2152760 h 2155617"/>
                    <a:gd name="connsiteX25" fmla="*/ 886873 w 2154226"/>
                    <a:gd name="connsiteY25" fmla="*/ 2139044 h 2155617"/>
                    <a:gd name="connsiteX26" fmla="*/ 657034 w 2154226"/>
                    <a:gd name="connsiteY26" fmla="*/ 2068464 h 2155617"/>
                    <a:gd name="connsiteX27" fmla="*/ 51245 w 2154226"/>
                    <a:gd name="connsiteY27" fmla="*/ 1397999 h 2155617"/>
                    <a:gd name="connsiteX28" fmla="*/ 0 w 2154226"/>
                    <a:gd name="connsiteY28" fmla="*/ 1082531 h 2155617"/>
                    <a:gd name="connsiteX29" fmla="*/ 0 w 2154226"/>
                    <a:gd name="connsiteY29" fmla="*/ 1048908 h 2155617"/>
                    <a:gd name="connsiteX30" fmla="*/ 12192 w 2154226"/>
                    <a:gd name="connsiteY30" fmla="*/ 923178 h 2155617"/>
                    <a:gd name="connsiteX31" fmla="*/ 61817 w 2154226"/>
                    <a:gd name="connsiteY31" fmla="*/ 720295 h 2155617"/>
                    <a:gd name="connsiteX32" fmla="*/ 705136 w 2154226"/>
                    <a:gd name="connsiteY32" fmla="*/ 66404 h 2155617"/>
                    <a:gd name="connsiteX33" fmla="*/ 913829 w 2154226"/>
                    <a:gd name="connsiteY33" fmla="*/ 12207 h 2155617"/>
                    <a:gd name="connsiteX34" fmla="*/ 1038701 w 2154226"/>
                    <a:gd name="connsiteY34" fmla="*/ 110 h 2155617"/>
                    <a:gd name="connsiteX35" fmla="*/ 1076992 w 2154226"/>
                    <a:gd name="connsiteY35" fmla="*/ 110 h 2155617"/>
                    <a:gd name="connsiteX36" fmla="*/ 1076992 w 2154226"/>
                    <a:gd name="connsiteY36" fmla="*/ 135937 h 2155617"/>
                    <a:gd name="connsiteX37" fmla="*/ 1041749 w 2154226"/>
                    <a:gd name="connsiteY37" fmla="*/ 135365 h 21556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2154226" h="2155617">
                      <a:moveTo>
                        <a:pt x="1077087" y="2010171"/>
                      </a:moveTo>
                      <a:cubicBezTo>
                        <a:pt x="1090232" y="2010552"/>
                        <a:pt x="1103662" y="2010933"/>
                        <a:pt x="1116997" y="2011314"/>
                      </a:cubicBezTo>
                      <a:cubicBezTo>
                        <a:pt x="1200341" y="1997312"/>
                        <a:pt x="1275017" y="1995788"/>
                        <a:pt x="1345406" y="1973690"/>
                      </a:cubicBezTo>
                      <a:cubicBezTo>
                        <a:pt x="1627156" y="1885393"/>
                        <a:pt x="1833277" y="1699370"/>
                        <a:pt x="1943767" y="1439909"/>
                      </a:cubicBezTo>
                      <a:cubicBezTo>
                        <a:pt x="2039493" y="1215214"/>
                        <a:pt x="2037493" y="935274"/>
                        <a:pt x="1943767" y="711151"/>
                      </a:cubicBezTo>
                      <a:cubicBezTo>
                        <a:pt x="1810798" y="393207"/>
                        <a:pt x="1521809" y="147271"/>
                        <a:pt x="1077087" y="135937"/>
                      </a:cubicBezTo>
                      <a:lnTo>
                        <a:pt x="1077087" y="15"/>
                      </a:lnTo>
                      <a:cubicBezTo>
                        <a:pt x="1589913" y="6682"/>
                        <a:pt x="1928241" y="308815"/>
                        <a:pt x="2077403" y="673432"/>
                      </a:cubicBezTo>
                      <a:cubicBezTo>
                        <a:pt x="2180558" y="925654"/>
                        <a:pt x="2180082" y="1243789"/>
                        <a:pt x="2074450" y="1494106"/>
                      </a:cubicBezTo>
                      <a:cubicBezTo>
                        <a:pt x="1944814" y="1800907"/>
                        <a:pt x="1702213" y="2018553"/>
                        <a:pt x="1364837" y="2117994"/>
                      </a:cubicBezTo>
                      <a:cubicBezTo>
                        <a:pt x="1289114" y="2140282"/>
                        <a:pt x="1208818" y="2142092"/>
                        <a:pt x="1119950" y="2155618"/>
                      </a:cubicBezTo>
                      <a:lnTo>
                        <a:pt x="1077087" y="2154475"/>
                      </a:lnTo>
                      <a:lnTo>
                        <a:pt x="1077087" y="2010171"/>
                      </a:lnTo>
                      <a:close/>
                      <a:moveTo>
                        <a:pt x="1041749" y="135365"/>
                      </a:moveTo>
                      <a:cubicBezTo>
                        <a:pt x="1005745" y="138889"/>
                        <a:pt x="969550" y="142509"/>
                        <a:pt x="933545" y="146033"/>
                      </a:cubicBezTo>
                      <a:cubicBezTo>
                        <a:pt x="868775" y="159082"/>
                        <a:pt x="806482" y="171941"/>
                        <a:pt x="750189" y="194039"/>
                      </a:cubicBezTo>
                      <a:cubicBezTo>
                        <a:pt x="478155" y="301386"/>
                        <a:pt x="299276" y="491981"/>
                        <a:pt x="192596" y="765253"/>
                      </a:cubicBezTo>
                      <a:cubicBezTo>
                        <a:pt x="172022" y="818117"/>
                        <a:pt x="162497" y="877744"/>
                        <a:pt x="150495" y="938132"/>
                      </a:cubicBezTo>
                      <a:cubicBezTo>
                        <a:pt x="124587" y="1068529"/>
                        <a:pt x="146971" y="1229883"/>
                        <a:pt x="179165" y="1333324"/>
                      </a:cubicBezTo>
                      <a:cubicBezTo>
                        <a:pt x="267557" y="1618884"/>
                        <a:pt x="445770" y="1820719"/>
                        <a:pt x="706755" y="1933209"/>
                      </a:cubicBezTo>
                      <a:cubicBezTo>
                        <a:pt x="770287" y="1960545"/>
                        <a:pt x="839534" y="1980738"/>
                        <a:pt x="915543" y="1997884"/>
                      </a:cubicBezTo>
                      <a:cubicBezTo>
                        <a:pt x="948595" y="2001408"/>
                        <a:pt x="981647" y="2004837"/>
                        <a:pt x="1014698" y="2008266"/>
                      </a:cubicBezTo>
                      <a:lnTo>
                        <a:pt x="1077087" y="2010266"/>
                      </a:lnTo>
                      <a:lnTo>
                        <a:pt x="1077087" y="2154570"/>
                      </a:lnTo>
                      <a:lnTo>
                        <a:pt x="1008698" y="2152760"/>
                      </a:lnTo>
                      <a:cubicBezTo>
                        <a:pt x="965073" y="2145997"/>
                        <a:pt x="926783" y="2147617"/>
                        <a:pt x="886873" y="2139044"/>
                      </a:cubicBezTo>
                      <a:cubicBezTo>
                        <a:pt x="803434" y="2121137"/>
                        <a:pt x="726948" y="2098372"/>
                        <a:pt x="657034" y="2068464"/>
                      </a:cubicBezTo>
                      <a:cubicBezTo>
                        <a:pt x="364331" y="1943115"/>
                        <a:pt x="150400" y="1716420"/>
                        <a:pt x="51245" y="1397999"/>
                      </a:cubicBezTo>
                      <a:cubicBezTo>
                        <a:pt x="24575" y="1312274"/>
                        <a:pt x="2000" y="1197784"/>
                        <a:pt x="0" y="1082531"/>
                      </a:cubicBezTo>
                      <a:lnTo>
                        <a:pt x="0" y="1048908"/>
                      </a:lnTo>
                      <a:cubicBezTo>
                        <a:pt x="667" y="1006236"/>
                        <a:pt x="4572" y="963849"/>
                        <a:pt x="12192" y="923178"/>
                      </a:cubicBezTo>
                      <a:cubicBezTo>
                        <a:pt x="25622" y="851550"/>
                        <a:pt x="37814" y="782303"/>
                        <a:pt x="61817" y="720295"/>
                      </a:cubicBezTo>
                      <a:cubicBezTo>
                        <a:pt x="182499" y="407018"/>
                        <a:pt x="392811" y="187467"/>
                        <a:pt x="705136" y="66404"/>
                      </a:cubicBezTo>
                      <a:cubicBezTo>
                        <a:pt x="769239" y="41448"/>
                        <a:pt x="839915" y="26589"/>
                        <a:pt x="913829" y="12207"/>
                      </a:cubicBezTo>
                      <a:cubicBezTo>
                        <a:pt x="955453" y="8206"/>
                        <a:pt x="997077" y="4206"/>
                        <a:pt x="1038701" y="110"/>
                      </a:cubicBezTo>
                      <a:cubicBezTo>
                        <a:pt x="1051560" y="-81"/>
                        <a:pt x="1064324" y="15"/>
                        <a:pt x="1076992" y="110"/>
                      </a:cubicBezTo>
                      <a:lnTo>
                        <a:pt x="1076992" y="135937"/>
                      </a:lnTo>
                      <a:cubicBezTo>
                        <a:pt x="1065371" y="135556"/>
                        <a:pt x="1053656" y="135365"/>
                        <a:pt x="1041749" y="135365"/>
                      </a:cubicBezTo>
                      <a:close/>
                    </a:path>
                  </a:pathLst>
                </a:custGeom>
                <a:solidFill>
                  <a:srgbClr val="EA6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48" name="任意多边形: 形状 1147">
                  <a:extLst>
                    <a:ext uri="{FF2B5EF4-FFF2-40B4-BE49-F238E27FC236}">
                      <a16:creationId xmlns:a16="http://schemas.microsoft.com/office/drawing/2014/main" id="{C5D655F3-0251-47EC-AB9C-9130C3B88607}"/>
                    </a:ext>
                  </a:extLst>
                </p:cNvPr>
                <p:cNvSpPr/>
                <p:nvPr/>
              </p:nvSpPr>
              <p:spPr>
                <a:xfrm>
                  <a:off x="2478510" y="4029860"/>
                  <a:ext cx="2154470" cy="2155769"/>
                </a:xfrm>
                <a:custGeom>
                  <a:avLst/>
                  <a:gdLst>
                    <a:gd name="connsiteX0" fmla="*/ 1041897 w 2154470"/>
                    <a:gd name="connsiteY0" fmla="*/ 135517 h 2155769"/>
                    <a:gd name="connsiteX1" fmla="*/ 933693 w 2154470"/>
                    <a:gd name="connsiteY1" fmla="*/ 146185 h 2155769"/>
                    <a:gd name="connsiteX2" fmla="*/ 750337 w 2154470"/>
                    <a:gd name="connsiteY2" fmla="*/ 194191 h 2155769"/>
                    <a:gd name="connsiteX3" fmla="*/ 192744 w 2154470"/>
                    <a:gd name="connsiteY3" fmla="*/ 765406 h 2155769"/>
                    <a:gd name="connsiteX4" fmla="*/ 150643 w 2154470"/>
                    <a:gd name="connsiteY4" fmla="*/ 938284 h 2155769"/>
                    <a:gd name="connsiteX5" fmla="*/ 179313 w 2154470"/>
                    <a:gd name="connsiteY5" fmla="*/ 1333477 h 2155769"/>
                    <a:gd name="connsiteX6" fmla="*/ 706903 w 2154470"/>
                    <a:gd name="connsiteY6" fmla="*/ 1933361 h 2155769"/>
                    <a:gd name="connsiteX7" fmla="*/ 915691 w 2154470"/>
                    <a:gd name="connsiteY7" fmla="*/ 1998036 h 2155769"/>
                    <a:gd name="connsiteX8" fmla="*/ 1014846 w 2154470"/>
                    <a:gd name="connsiteY8" fmla="*/ 2008418 h 2155769"/>
                    <a:gd name="connsiteX9" fmla="*/ 1117050 w 2154470"/>
                    <a:gd name="connsiteY9" fmla="*/ 2011466 h 2155769"/>
                    <a:gd name="connsiteX10" fmla="*/ 1345459 w 2154470"/>
                    <a:gd name="connsiteY10" fmla="*/ 1973842 h 2155769"/>
                    <a:gd name="connsiteX11" fmla="*/ 1943820 w 2154470"/>
                    <a:gd name="connsiteY11" fmla="*/ 1440062 h 2155769"/>
                    <a:gd name="connsiteX12" fmla="*/ 1943820 w 2154470"/>
                    <a:gd name="connsiteY12" fmla="*/ 711304 h 2155769"/>
                    <a:gd name="connsiteX13" fmla="*/ 1041897 w 2154470"/>
                    <a:gd name="connsiteY13" fmla="*/ 135517 h 2155769"/>
                    <a:gd name="connsiteX14" fmla="*/ 1041897 w 2154470"/>
                    <a:gd name="connsiteY14" fmla="*/ 135517 h 2155769"/>
                    <a:gd name="connsiteX15" fmla="*/ 1038945 w 2154470"/>
                    <a:gd name="connsiteY15" fmla="*/ 167 h 2155769"/>
                    <a:gd name="connsiteX16" fmla="*/ 2077646 w 2154470"/>
                    <a:gd name="connsiteY16" fmla="*/ 673585 h 2155769"/>
                    <a:gd name="connsiteX17" fmla="*/ 2074693 w 2154470"/>
                    <a:gd name="connsiteY17" fmla="*/ 1494259 h 2155769"/>
                    <a:gd name="connsiteX18" fmla="*/ 1365081 w 2154470"/>
                    <a:gd name="connsiteY18" fmla="*/ 2118146 h 2155769"/>
                    <a:gd name="connsiteX19" fmla="*/ 1120193 w 2154470"/>
                    <a:gd name="connsiteY19" fmla="*/ 2155770 h 2155769"/>
                    <a:gd name="connsiteX20" fmla="*/ 1008941 w 2154470"/>
                    <a:gd name="connsiteY20" fmla="*/ 2152817 h 2155769"/>
                    <a:gd name="connsiteX21" fmla="*/ 887116 w 2154470"/>
                    <a:gd name="connsiteY21" fmla="*/ 2139101 h 2155769"/>
                    <a:gd name="connsiteX22" fmla="*/ 657278 w 2154470"/>
                    <a:gd name="connsiteY22" fmla="*/ 2068521 h 2155769"/>
                    <a:gd name="connsiteX23" fmla="*/ 51488 w 2154470"/>
                    <a:gd name="connsiteY23" fmla="*/ 1398056 h 2155769"/>
                    <a:gd name="connsiteX24" fmla="*/ 12435 w 2154470"/>
                    <a:gd name="connsiteY24" fmla="*/ 923235 h 2155769"/>
                    <a:gd name="connsiteX25" fmla="*/ 62061 w 2154470"/>
                    <a:gd name="connsiteY25" fmla="*/ 720353 h 2155769"/>
                    <a:gd name="connsiteX26" fmla="*/ 705379 w 2154470"/>
                    <a:gd name="connsiteY26" fmla="*/ 66461 h 2155769"/>
                    <a:gd name="connsiteX27" fmla="*/ 914072 w 2154470"/>
                    <a:gd name="connsiteY27" fmla="*/ 12264 h 2155769"/>
                    <a:gd name="connsiteX28" fmla="*/ 1038945 w 2154470"/>
                    <a:gd name="connsiteY28" fmla="*/ 167 h 21557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2154470" h="2155769">
                      <a:moveTo>
                        <a:pt x="1041897" y="135517"/>
                      </a:moveTo>
                      <a:cubicBezTo>
                        <a:pt x="1005893" y="139042"/>
                        <a:pt x="969698" y="142661"/>
                        <a:pt x="933693" y="146185"/>
                      </a:cubicBezTo>
                      <a:cubicBezTo>
                        <a:pt x="868923" y="159235"/>
                        <a:pt x="806630" y="172093"/>
                        <a:pt x="750337" y="194191"/>
                      </a:cubicBezTo>
                      <a:cubicBezTo>
                        <a:pt x="478303" y="301538"/>
                        <a:pt x="299424" y="492133"/>
                        <a:pt x="192744" y="765406"/>
                      </a:cubicBezTo>
                      <a:cubicBezTo>
                        <a:pt x="172170" y="818270"/>
                        <a:pt x="162645" y="877896"/>
                        <a:pt x="150643" y="938284"/>
                      </a:cubicBezTo>
                      <a:cubicBezTo>
                        <a:pt x="124735" y="1068682"/>
                        <a:pt x="147119" y="1230035"/>
                        <a:pt x="179313" y="1333477"/>
                      </a:cubicBezTo>
                      <a:cubicBezTo>
                        <a:pt x="267705" y="1619036"/>
                        <a:pt x="445918" y="1820871"/>
                        <a:pt x="706903" y="1933361"/>
                      </a:cubicBezTo>
                      <a:cubicBezTo>
                        <a:pt x="770435" y="1960698"/>
                        <a:pt x="839682" y="1980891"/>
                        <a:pt x="915691" y="1998036"/>
                      </a:cubicBezTo>
                      <a:cubicBezTo>
                        <a:pt x="948743" y="2001560"/>
                        <a:pt x="981795" y="2004989"/>
                        <a:pt x="1014846" y="2008418"/>
                      </a:cubicBezTo>
                      <a:cubicBezTo>
                        <a:pt x="1048851" y="2009466"/>
                        <a:pt x="1082950" y="2010418"/>
                        <a:pt x="1117050" y="2011466"/>
                      </a:cubicBezTo>
                      <a:cubicBezTo>
                        <a:pt x="1200393" y="1997465"/>
                        <a:pt x="1275069" y="1995941"/>
                        <a:pt x="1345459" y="1973842"/>
                      </a:cubicBezTo>
                      <a:cubicBezTo>
                        <a:pt x="1627209" y="1885546"/>
                        <a:pt x="1833330" y="1699522"/>
                        <a:pt x="1943820" y="1440062"/>
                      </a:cubicBezTo>
                      <a:cubicBezTo>
                        <a:pt x="2039546" y="1215367"/>
                        <a:pt x="2037546" y="935427"/>
                        <a:pt x="1943820" y="711304"/>
                      </a:cubicBezTo>
                      <a:cubicBezTo>
                        <a:pt x="1807326" y="384977"/>
                        <a:pt x="1506717" y="134565"/>
                        <a:pt x="1041897" y="135517"/>
                      </a:cubicBezTo>
                      <a:lnTo>
                        <a:pt x="1041897" y="135517"/>
                      </a:lnTo>
                      <a:close/>
                      <a:moveTo>
                        <a:pt x="1038945" y="167"/>
                      </a:moveTo>
                      <a:cubicBezTo>
                        <a:pt x="1573297" y="-8215"/>
                        <a:pt x="1924770" y="299728"/>
                        <a:pt x="2077646" y="673585"/>
                      </a:cubicBezTo>
                      <a:cubicBezTo>
                        <a:pt x="2180802" y="925807"/>
                        <a:pt x="2180326" y="1243942"/>
                        <a:pt x="2074693" y="1494259"/>
                      </a:cubicBezTo>
                      <a:cubicBezTo>
                        <a:pt x="1945058" y="1801059"/>
                        <a:pt x="1702456" y="2018705"/>
                        <a:pt x="1365081" y="2118146"/>
                      </a:cubicBezTo>
                      <a:cubicBezTo>
                        <a:pt x="1289357" y="2140435"/>
                        <a:pt x="1209061" y="2142244"/>
                        <a:pt x="1120193" y="2155770"/>
                      </a:cubicBezTo>
                      <a:cubicBezTo>
                        <a:pt x="1083045" y="2154722"/>
                        <a:pt x="1045993" y="2153675"/>
                        <a:pt x="1008941" y="2152817"/>
                      </a:cubicBezTo>
                      <a:cubicBezTo>
                        <a:pt x="965316" y="2146055"/>
                        <a:pt x="927026" y="2147674"/>
                        <a:pt x="887116" y="2139101"/>
                      </a:cubicBezTo>
                      <a:cubicBezTo>
                        <a:pt x="803677" y="2121194"/>
                        <a:pt x="727191" y="2098430"/>
                        <a:pt x="657278" y="2068521"/>
                      </a:cubicBezTo>
                      <a:cubicBezTo>
                        <a:pt x="364575" y="1943172"/>
                        <a:pt x="150643" y="1716477"/>
                        <a:pt x="51488" y="1398056"/>
                      </a:cubicBezTo>
                      <a:cubicBezTo>
                        <a:pt x="12340" y="1272326"/>
                        <a:pt x="-18045" y="1084779"/>
                        <a:pt x="12435" y="923235"/>
                      </a:cubicBezTo>
                      <a:cubicBezTo>
                        <a:pt x="25866" y="851607"/>
                        <a:pt x="38058" y="782360"/>
                        <a:pt x="62061" y="720353"/>
                      </a:cubicBezTo>
                      <a:cubicBezTo>
                        <a:pt x="182742" y="407075"/>
                        <a:pt x="393054" y="187524"/>
                        <a:pt x="705379" y="66461"/>
                      </a:cubicBezTo>
                      <a:cubicBezTo>
                        <a:pt x="769482" y="41506"/>
                        <a:pt x="840158" y="26647"/>
                        <a:pt x="914072" y="12264"/>
                      </a:cubicBezTo>
                      <a:cubicBezTo>
                        <a:pt x="955601" y="8263"/>
                        <a:pt x="997320" y="4263"/>
                        <a:pt x="1038945" y="167"/>
                      </a:cubicBezTo>
                      <a:close/>
                    </a:path>
                  </a:pathLst>
                </a:custGeom>
                <a:solidFill>
                  <a:srgbClr val="EA6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101" name="任意多边形: 形状 1100">
                <a:extLst>
                  <a:ext uri="{FF2B5EF4-FFF2-40B4-BE49-F238E27FC236}">
                    <a16:creationId xmlns:a16="http://schemas.microsoft.com/office/drawing/2014/main" id="{BEE77A64-8CE7-4610-9AC7-799B766DBED5}"/>
                  </a:ext>
                </a:extLst>
              </p:cNvPr>
              <p:cNvSpPr/>
              <p:nvPr/>
            </p:nvSpPr>
            <p:spPr>
              <a:xfrm>
                <a:off x="2608509" y="4170456"/>
                <a:ext cx="1892098" cy="1874538"/>
              </a:xfrm>
              <a:custGeom>
                <a:avLst/>
                <a:gdLst>
                  <a:gd name="connsiteX0" fmla="*/ 959239 w 1892098"/>
                  <a:gd name="connsiteY0" fmla="*/ 446 h 1874538"/>
                  <a:gd name="connsiteX1" fmla="*/ 87892 w 1892098"/>
                  <a:gd name="connsiteY1" fmla="*/ 541561 h 1874538"/>
                  <a:gd name="connsiteX2" fmla="*/ 199049 w 1892098"/>
                  <a:gd name="connsiteY2" fmla="*/ 1512254 h 1874538"/>
                  <a:gd name="connsiteX3" fmla="*/ 1280898 w 1892098"/>
                  <a:gd name="connsiteY3" fmla="*/ 1806863 h 1874538"/>
                  <a:gd name="connsiteX4" fmla="*/ 1891070 w 1892098"/>
                  <a:gd name="connsiteY4" fmla="*/ 884176 h 1874538"/>
                  <a:gd name="connsiteX5" fmla="*/ 1887926 w 1892098"/>
                  <a:gd name="connsiteY5" fmla="*/ 868269 h 1874538"/>
                  <a:gd name="connsiteX6" fmla="*/ 1701617 w 1892098"/>
                  <a:gd name="connsiteY6" fmla="*/ 1183165 h 1874538"/>
                  <a:gd name="connsiteX7" fmla="*/ 1190125 w 1892098"/>
                  <a:gd name="connsiteY7" fmla="*/ 1648843 h 1874538"/>
                  <a:gd name="connsiteX8" fmla="*/ 394406 w 1892098"/>
                  <a:gd name="connsiteY8" fmla="*/ 1620173 h 1874538"/>
                  <a:gd name="connsiteX9" fmla="*/ 290965 w 1892098"/>
                  <a:gd name="connsiteY9" fmla="*/ 841313 h 1874538"/>
                  <a:gd name="connsiteX10" fmla="*/ 768263 w 1892098"/>
                  <a:gd name="connsiteY10" fmla="*/ 788926 h 1874538"/>
                  <a:gd name="connsiteX11" fmla="*/ 738449 w 1892098"/>
                  <a:gd name="connsiteY11" fmla="*/ 820549 h 1874538"/>
                  <a:gd name="connsiteX12" fmla="*/ 532519 w 1892098"/>
                  <a:gd name="connsiteY12" fmla="*/ 1092964 h 1874538"/>
                  <a:gd name="connsiteX13" fmla="*/ 897707 w 1892098"/>
                  <a:gd name="connsiteY13" fmla="*/ 1342043 h 1874538"/>
                  <a:gd name="connsiteX14" fmla="*/ 1417582 w 1892098"/>
                  <a:gd name="connsiteY14" fmla="*/ 953518 h 1874538"/>
                  <a:gd name="connsiteX15" fmla="*/ 1628656 w 1892098"/>
                  <a:gd name="connsiteY15" fmla="*/ 516606 h 1874538"/>
                  <a:gd name="connsiteX16" fmla="*/ 1679996 w 1892098"/>
                  <a:gd name="connsiteY16" fmla="*/ 368778 h 1874538"/>
                  <a:gd name="connsiteX17" fmla="*/ 1618655 w 1892098"/>
                  <a:gd name="connsiteY17" fmla="*/ 290768 h 1874538"/>
                  <a:gd name="connsiteX18" fmla="*/ 1428155 w 1892098"/>
                  <a:gd name="connsiteY18" fmla="*/ 849028 h 1874538"/>
                  <a:gd name="connsiteX19" fmla="*/ 986004 w 1892098"/>
                  <a:gd name="connsiteY19" fmla="*/ 1240030 h 1874538"/>
                  <a:gd name="connsiteX20" fmla="*/ 653677 w 1892098"/>
                  <a:gd name="connsiteY20" fmla="*/ 1029908 h 1874538"/>
                  <a:gd name="connsiteX21" fmla="*/ 703016 w 1892098"/>
                  <a:gd name="connsiteY21" fmla="*/ 1022574 h 1874538"/>
                  <a:gd name="connsiteX22" fmla="*/ 1112115 w 1892098"/>
                  <a:gd name="connsiteY22" fmla="*/ 860077 h 1874538"/>
                  <a:gd name="connsiteX23" fmla="*/ 1282041 w 1892098"/>
                  <a:gd name="connsiteY23" fmla="*/ 317343 h 1874538"/>
                  <a:gd name="connsiteX24" fmla="*/ 1300329 w 1892098"/>
                  <a:gd name="connsiteY24" fmla="*/ 79694 h 1874538"/>
                  <a:gd name="connsiteX25" fmla="*/ 989719 w 1892098"/>
                  <a:gd name="connsiteY25" fmla="*/ 2923 h 1874538"/>
                  <a:gd name="connsiteX26" fmla="*/ 1018865 w 1892098"/>
                  <a:gd name="connsiteY26" fmla="*/ 437929 h 1874538"/>
                  <a:gd name="connsiteX27" fmla="*/ 938570 w 1892098"/>
                  <a:gd name="connsiteY27" fmla="*/ 624429 h 1874538"/>
                  <a:gd name="connsiteX28" fmla="*/ 911138 w 1892098"/>
                  <a:gd name="connsiteY28" fmla="*/ 617095 h 1874538"/>
                  <a:gd name="connsiteX29" fmla="*/ 896564 w 1892098"/>
                  <a:gd name="connsiteY29" fmla="*/ 262479 h 1874538"/>
                  <a:gd name="connsiteX30" fmla="*/ 959239 w 1892098"/>
                  <a:gd name="connsiteY30" fmla="*/ 446 h 1874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892098" h="1874538">
                    <a:moveTo>
                      <a:pt x="959239" y="446"/>
                    </a:moveTo>
                    <a:cubicBezTo>
                      <a:pt x="959239" y="446"/>
                      <a:pt x="376404" y="-35654"/>
                      <a:pt x="87892" y="541561"/>
                    </a:cubicBezTo>
                    <a:cubicBezTo>
                      <a:pt x="87892" y="541561"/>
                      <a:pt x="-170617" y="1016287"/>
                      <a:pt x="199049" y="1512254"/>
                    </a:cubicBezTo>
                    <a:cubicBezTo>
                      <a:pt x="199049" y="1512254"/>
                      <a:pt x="613862" y="2062323"/>
                      <a:pt x="1280898" y="1806863"/>
                    </a:cubicBezTo>
                    <a:cubicBezTo>
                      <a:pt x="1280898" y="1806863"/>
                      <a:pt x="1921169" y="1608552"/>
                      <a:pt x="1891070" y="884176"/>
                    </a:cubicBezTo>
                    <a:lnTo>
                      <a:pt x="1887926" y="868269"/>
                    </a:lnTo>
                    <a:cubicBezTo>
                      <a:pt x="1887926" y="868269"/>
                      <a:pt x="1736098" y="1137065"/>
                      <a:pt x="1701617" y="1183165"/>
                    </a:cubicBezTo>
                    <a:cubicBezTo>
                      <a:pt x="1701617" y="1183165"/>
                      <a:pt x="1537787" y="1513683"/>
                      <a:pt x="1190125" y="1648843"/>
                    </a:cubicBezTo>
                    <a:cubicBezTo>
                      <a:pt x="1190125" y="1648843"/>
                      <a:pt x="796552" y="1887444"/>
                      <a:pt x="394406" y="1620173"/>
                    </a:cubicBezTo>
                    <a:cubicBezTo>
                      <a:pt x="394406" y="1620173"/>
                      <a:pt x="-62508" y="1347186"/>
                      <a:pt x="290965" y="841313"/>
                    </a:cubicBezTo>
                    <a:cubicBezTo>
                      <a:pt x="290965" y="841313"/>
                      <a:pt x="582239" y="521559"/>
                      <a:pt x="768263" y="788926"/>
                    </a:cubicBezTo>
                    <a:cubicBezTo>
                      <a:pt x="768263" y="788926"/>
                      <a:pt x="771501" y="813977"/>
                      <a:pt x="738449" y="820549"/>
                    </a:cubicBezTo>
                    <a:cubicBezTo>
                      <a:pt x="738449" y="820549"/>
                      <a:pt x="552521" y="905321"/>
                      <a:pt x="532519" y="1092964"/>
                    </a:cubicBezTo>
                    <a:cubicBezTo>
                      <a:pt x="532519" y="1092964"/>
                      <a:pt x="559094" y="1428434"/>
                      <a:pt x="897707" y="1342043"/>
                    </a:cubicBezTo>
                    <a:cubicBezTo>
                      <a:pt x="897707" y="1342043"/>
                      <a:pt x="1191649" y="1337090"/>
                      <a:pt x="1417582" y="953518"/>
                    </a:cubicBezTo>
                    <a:cubicBezTo>
                      <a:pt x="1417582" y="953518"/>
                      <a:pt x="1575316" y="730919"/>
                      <a:pt x="1628656" y="516606"/>
                    </a:cubicBezTo>
                    <a:lnTo>
                      <a:pt x="1679996" y="368778"/>
                    </a:lnTo>
                    <a:cubicBezTo>
                      <a:pt x="1679996" y="368778"/>
                      <a:pt x="1679996" y="323915"/>
                      <a:pt x="1618655" y="290768"/>
                    </a:cubicBezTo>
                    <a:cubicBezTo>
                      <a:pt x="1618655" y="290768"/>
                      <a:pt x="1583507" y="532894"/>
                      <a:pt x="1428155" y="849028"/>
                    </a:cubicBezTo>
                    <a:cubicBezTo>
                      <a:pt x="1428155" y="849028"/>
                      <a:pt x="1221748" y="1232600"/>
                      <a:pt x="986004" y="1240030"/>
                    </a:cubicBezTo>
                    <a:cubicBezTo>
                      <a:pt x="986004" y="1240030"/>
                      <a:pt x="772263" y="1316706"/>
                      <a:pt x="653677" y="1029908"/>
                    </a:cubicBezTo>
                    <a:cubicBezTo>
                      <a:pt x="653677" y="1029908"/>
                      <a:pt x="650057" y="989808"/>
                      <a:pt x="703016" y="1022574"/>
                    </a:cubicBezTo>
                    <a:cubicBezTo>
                      <a:pt x="703016" y="1022574"/>
                      <a:pt x="936665" y="1152400"/>
                      <a:pt x="1112115" y="860077"/>
                    </a:cubicBezTo>
                    <a:cubicBezTo>
                      <a:pt x="1112115" y="860077"/>
                      <a:pt x="1282041" y="498318"/>
                      <a:pt x="1282041" y="317343"/>
                    </a:cubicBezTo>
                    <a:cubicBezTo>
                      <a:pt x="1282041" y="317343"/>
                      <a:pt x="1302139" y="151132"/>
                      <a:pt x="1300329" y="79694"/>
                    </a:cubicBezTo>
                    <a:cubicBezTo>
                      <a:pt x="1300329" y="79694"/>
                      <a:pt x="1165074" y="6637"/>
                      <a:pt x="989719" y="2923"/>
                    </a:cubicBezTo>
                    <a:cubicBezTo>
                      <a:pt x="989719" y="2923"/>
                      <a:pt x="1168789" y="282577"/>
                      <a:pt x="1018865" y="437929"/>
                    </a:cubicBezTo>
                    <a:cubicBezTo>
                      <a:pt x="1018865" y="437929"/>
                      <a:pt x="945809" y="518320"/>
                      <a:pt x="938570" y="624429"/>
                    </a:cubicBezTo>
                    <a:lnTo>
                      <a:pt x="911138" y="617095"/>
                    </a:lnTo>
                    <a:cubicBezTo>
                      <a:pt x="911138" y="617095"/>
                      <a:pt x="830651" y="399544"/>
                      <a:pt x="896564" y="262479"/>
                    </a:cubicBezTo>
                    <a:cubicBezTo>
                      <a:pt x="896564" y="262003"/>
                      <a:pt x="981242" y="121128"/>
                      <a:pt x="959239" y="446"/>
                    </a:cubicBezTo>
                    <a:close/>
                  </a:path>
                </a:pathLst>
              </a:custGeom>
              <a:solidFill>
                <a:srgbClr val="00993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2" name="任意多边形: 形状 1101">
                <a:extLst>
                  <a:ext uri="{FF2B5EF4-FFF2-40B4-BE49-F238E27FC236}">
                    <a16:creationId xmlns:a16="http://schemas.microsoft.com/office/drawing/2014/main" id="{CF32E491-931C-4E1C-A8D1-B37F0A1839C3}"/>
                  </a:ext>
                </a:extLst>
              </p:cNvPr>
              <p:cNvSpPr/>
              <p:nvPr/>
            </p:nvSpPr>
            <p:spPr>
              <a:xfrm>
                <a:off x="3560007" y="4419530"/>
                <a:ext cx="248663" cy="529147"/>
              </a:xfrm>
              <a:custGeom>
                <a:avLst/>
                <a:gdLst>
                  <a:gd name="connsiteX0" fmla="*/ 154329 w 248663"/>
                  <a:gd name="connsiteY0" fmla="*/ 16449 h 529147"/>
                  <a:gd name="connsiteX1" fmla="*/ 70128 w 248663"/>
                  <a:gd name="connsiteY1" fmla="*/ 229809 h 529147"/>
                  <a:gd name="connsiteX2" fmla="*/ 19074 w 248663"/>
                  <a:gd name="connsiteY2" fmla="*/ 524513 h 529147"/>
                  <a:gd name="connsiteX3" fmla="*/ 73081 w 248663"/>
                  <a:gd name="connsiteY3" fmla="*/ 480888 h 529147"/>
                  <a:gd name="connsiteX4" fmla="*/ 182904 w 248663"/>
                  <a:gd name="connsiteY4" fmla="*/ 359254 h 529147"/>
                  <a:gd name="connsiteX5" fmla="*/ 190334 w 248663"/>
                  <a:gd name="connsiteY5" fmla="*/ 14925 h 529147"/>
                  <a:gd name="connsiteX6" fmla="*/ 154329 w 248663"/>
                  <a:gd name="connsiteY6" fmla="*/ 16449 h 529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8663" h="529147">
                    <a:moveTo>
                      <a:pt x="154329" y="16449"/>
                    </a:moveTo>
                    <a:cubicBezTo>
                      <a:pt x="154329" y="16449"/>
                      <a:pt x="176903" y="154752"/>
                      <a:pt x="70128" y="229809"/>
                    </a:cubicBezTo>
                    <a:cubicBezTo>
                      <a:pt x="70128" y="229809"/>
                      <a:pt x="-44172" y="350015"/>
                      <a:pt x="19074" y="524513"/>
                    </a:cubicBezTo>
                    <a:cubicBezTo>
                      <a:pt x="19074" y="524513"/>
                      <a:pt x="29647" y="550135"/>
                      <a:pt x="73081" y="480888"/>
                    </a:cubicBezTo>
                    <a:cubicBezTo>
                      <a:pt x="73081" y="480888"/>
                      <a:pt x="154329" y="375637"/>
                      <a:pt x="182904" y="359254"/>
                    </a:cubicBezTo>
                    <a:cubicBezTo>
                      <a:pt x="182904" y="359254"/>
                      <a:pt x="325779" y="232857"/>
                      <a:pt x="190334" y="14925"/>
                    </a:cubicBezTo>
                    <a:cubicBezTo>
                      <a:pt x="190334" y="14925"/>
                      <a:pt x="175284" y="-19651"/>
                      <a:pt x="154329" y="16449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3" name="任意多边形: 形状 1102">
                <a:extLst>
                  <a:ext uri="{FF2B5EF4-FFF2-40B4-BE49-F238E27FC236}">
                    <a16:creationId xmlns:a16="http://schemas.microsoft.com/office/drawing/2014/main" id="{03586491-5B64-489A-8678-76303DDF631C}"/>
                  </a:ext>
                </a:extLst>
              </p:cNvPr>
              <p:cNvSpPr/>
              <p:nvPr/>
            </p:nvSpPr>
            <p:spPr>
              <a:xfrm>
                <a:off x="3297679" y="4405383"/>
                <a:ext cx="250974" cy="717633"/>
              </a:xfrm>
              <a:custGeom>
                <a:avLst/>
                <a:gdLst>
                  <a:gd name="connsiteX0" fmla="*/ 152149 w 250975"/>
                  <a:gd name="connsiteY0" fmla="*/ 500 h 717632"/>
                  <a:gd name="connsiteX1" fmla="*/ 2035 w 250975"/>
                  <a:gd name="connsiteY1" fmla="*/ 313206 h 717632"/>
                  <a:gd name="connsiteX2" fmla="*/ 94904 w 250975"/>
                  <a:gd name="connsiteY2" fmla="*/ 496657 h 717632"/>
                  <a:gd name="connsiteX3" fmla="*/ 219776 w 250975"/>
                  <a:gd name="connsiteY3" fmla="*/ 712970 h 717632"/>
                  <a:gd name="connsiteX4" fmla="*/ 248351 w 250975"/>
                  <a:gd name="connsiteY4" fmla="*/ 686014 h 717632"/>
                  <a:gd name="connsiteX5" fmla="*/ 215205 w 250975"/>
                  <a:gd name="connsiteY5" fmla="*/ 410837 h 717632"/>
                  <a:gd name="connsiteX6" fmla="*/ 149196 w 250975"/>
                  <a:gd name="connsiteY6" fmla="*/ 140327 h 717632"/>
                  <a:gd name="connsiteX7" fmla="*/ 170246 w 250975"/>
                  <a:gd name="connsiteY7" fmla="*/ 23074 h 717632"/>
                  <a:gd name="connsiteX8" fmla="*/ 152149 w 250975"/>
                  <a:gd name="connsiteY8" fmla="*/ 500 h 717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0975" h="717632">
                    <a:moveTo>
                      <a:pt x="152149" y="500"/>
                    </a:moveTo>
                    <a:cubicBezTo>
                      <a:pt x="152149" y="500"/>
                      <a:pt x="-20539" y="92226"/>
                      <a:pt x="2035" y="313206"/>
                    </a:cubicBezTo>
                    <a:cubicBezTo>
                      <a:pt x="2035" y="313206"/>
                      <a:pt x="2035" y="422839"/>
                      <a:pt x="94904" y="496657"/>
                    </a:cubicBezTo>
                    <a:cubicBezTo>
                      <a:pt x="94904" y="496657"/>
                      <a:pt x="197107" y="628960"/>
                      <a:pt x="219776" y="712970"/>
                    </a:cubicBezTo>
                    <a:cubicBezTo>
                      <a:pt x="219776" y="712970"/>
                      <a:pt x="249780" y="734211"/>
                      <a:pt x="248351" y="686014"/>
                    </a:cubicBezTo>
                    <a:cubicBezTo>
                      <a:pt x="248351" y="686014"/>
                      <a:pt x="264830" y="538663"/>
                      <a:pt x="215205" y="410837"/>
                    </a:cubicBezTo>
                    <a:cubicBezTo>
                      <a:pt x="215205" y="410837"/>
                      <a:pt x="141576" y="257580"/>
                      <a:pt x="149196" y="140327"/>
                    </a:cubicBezTo>
                    <a:cubicBezTo>
                      <a:pt x="149196" y="140327"/>
                      <a:pt x="155197" y="50125"/>
                      <a:pt x="170246" y="23074"/>
                    </a:cubicBezTo>
                    <a:cubicBezTo>
                      <a:pt x="170151" y="23074"/>
                      <a:pt x="176152" y="-3977"/>
                      <a:pt x="152149" y="5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4" name="任意多边形: 形状 1103">
                <a:extLst>
                  <a:ext uri="{FF2B5EF4-FFF2-40B4-BE49-F238E27FC236}">
                    <a16:creationId xmlns:a16="http://schemas.microsoft.com/office/drawing/2014/main" id="{2726BB2E-4E3F-4FD7-A9CC-F893C41FE825}"/>
                  </a:ext>
                </a:extLst>
              </p:cNvPr>
              <p:cNvSpPr/>
              <p:nvPr/>
            </p:nvSpPr>
            <p:spPr>
              <a:xfrm>
                <a:off x="3264475" y="4248816"/>
                <a:ext cx="959736" cy="1170835"/>
              </a:xfrm>
              <a:custGeom>
                <a:avLst/>
                <a:gdLst>
                  <a:gd name="connsiteX0" fmla="*/ 639505 w 959735"/>
                  <a:gd name="connsiteY0" fmla="*/ 0 h 1170834"/>
                  <a:gd name="connsiteX1" fmla="*/ 558447 w 959735"/>
                  <a:gd name="connsiteY1" fmla="*/ 520732 h 1170834"/>
                  <a:gd name="connsiteX2" fmla="*/ 416429 w 959735"/>
                  <a:gd name="connsiteY2" fmla="*/ 834199 h 1170834"/>
                  <a:gd name="connsiteX3" fmla="*/ 21999 w 959735"/>
                  <a:gd name="connsiteY3" fmla="*/ 933260 h 1170834"/>
                  <a:gd name="connsiteX4" fmla="*/ 6188 w 959735"/>
                  <a:gd name="connsiteY4" fmla="*/ 978503 h 1170834"/>
                  <a:gd name="connsiteX5" fmla="*/ 488534 w 959735"/>
                  <a:gd name="connsiteY5" fmla="*/ 1102519 h 1170834"/>
                  <a:gd name="connsiteX6" fmla="*/ 824480 w 959735"/>
                  <a:gd name="connsiteY6" fmla="*/ 638080 h 1170834"/>
                  <a:gd name="connsiteX7" fmla="*/ 959735 w 959735"/>
                  <a:gd name="connsiteY7" fmla="*/ 209645 h 1170834"/>
                  <a:gd name="connsiteX8" fmla="*/ 639505 w 959735"/>
                  <a:gd name="connsiteY8" fmla="*/ 0 h 1170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59735" h="1170834">
                    <a:moveTo>
                      <a:pt x="639505" y="0"/>
                    </a:moveTo>
                    <a:cubicBezTo>
                      <a:pt x="639505" y="0"/>
                      <a:pt x="630551" y="362998"/>
                      <a:pt x="558447" y="520732"/>
                    </a:cubicBezTo>
                    <a:cubicBezTo>
                      <a:pt x="558447" y="520732"/>
                      <a:pt x="511108" y="721519"/>
                      <a:pt x="416429" y="834199"/>
                    </a:cubicBezTo>
                    <a:cubicBezTo>
                      <a:pt x="416429" y="834199"/>
                      <a:pt x="267649" y="1077563"/>
                      <a:pt x="21999" y="933260"/>
                    </a:cubicBezTo>
                    <a:cubicBezTo>
                      <a:pt x="21999" y="933260"/>
                      <a:pt x="-14101" y="926592"/>
                      <a:pt x="6188" y="978503"/>
                    </a:cubicBezTo>
                    <a:cubicBezTo>
                      <a:pt x="6188" y="978503"/>
                      <a:pt x="139061" y="1310069"/>
                      <a:pt x="488534" y="1102519"/>
                    </a:cubicBezTo>
                    <a:cubicBezTo>
                      <a:pt x="488534" y="1102519"/>
                      <a:pt x="734183" y="917734"/>
                      <a:pt x="824480" y="638080"/>
                    </a:cubicBezTo>
                    <a:cubicBezTo>
                      <a:pt x="824480" y="638080"/>
                      <a:pt x="959735" y="331565"/>
                      <a:pt x="959735" y="209645"/>
                    </a:cubicBezTo>
                    <a:cubicBezTo>
                      <a:pt x="959735" y="209645"/>
                      <a:pt x="783809" y="40672"/>
                      <a:pt x="63950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5" name="任意多边形: 形状 1104">
                <a:extLst>
                  <a:ext uri="{FF2B5EF4-FFF2-40B4-BE49-F238E27FC236}">
                    <a16:creationId xmlns:a16="http://schemas.microsoft.com/office/drawing/2014/main" id="{AEC1CD11-EE9C-4882-939E-23575A7A4B9D}"/>
                  </a:ext>
                </a:extLst>
              </p:cNvPr>
              <p:cNvSpPr/>
              <p:nvPr/>
            </p:nvSpPr>
            <p:spPr>
              <a:xfrm>
                <a:off x="2770589" y="4542090"/>
                <a:ext cx="1726515" cy="1374600"/>
              </a:xfrm>
              <a:custGeom>
                <a:avLst/>
                <a:gdLst>
                  <a:gd name="connsiteX0" fmla="*/ 605898 w 1726514"/>
                  <a:gd name="connsiteY0" fmla="*/ 421481 h 1374599"/>
                  <a:gd name="connsiteX1" fmla="*/ 98882 w 1726514"/>
                  <a:gd name="connsiteY1" fmla="*/ 500539 h 1374599"/>
                  <a:gd name="connsiteX2" fmla="*/ 290525 w 1726514"/>
                  <a:gd name="connsiteY2" fmla="*/ 1282732 h 1374599"/>
                  <a:gd name="connsiteX3" fmla="*/ 1230452 w 1726514"/>
                  <a:gd name="connsiteY3" fmla="*/ 1165479 h 1374599"/>
                  <a:gd name="connsiteX4" fmla="*/ 1670126 w 1726514"/>
                  <a:gd name="connsiteY4" fmla="*/ 579501 h 1374599"/>
                  <a:gd name="connsiteX5" fmla="*/ 1726514 w 1726514"/>
                  <a:gd name="connsiteY5" fmla="*/ 500634 h 1374599"/>
                  <a:gd name="connsiteX6" fmla="*/ 1518965 w 1726514"/>
                  <a:gd name="connsiteY6" fmla="*/ 0 h 1374599"/>
                  <a:gd name="connsiteX7" fmla="*/ 1343228 w 1726514"/>
                  <a:gd name="connsiteY7" fmla="*/ 450913 h 1374599"/>
                  <a:gd name="connsiteX8" fmla="*/ 894506 w 1726514"/>
                  <a:gd name="connsiteY8" fmla="*/ 926592 h 1374599"/>
                  <a:gd name="connsiteX9" fmla="*/ 376155 w 1726514"/>
                  <a:gd name="connsiteY9" fmla="*/ 687514 h 1374599"/>
                  <a:gd name="connsiteX10" fmla="*/ 594659 w 1726514"/>
                  <a:gd name="connsiteY10" fmla="*/ 439674 h 1374599"/>
                  <a:gd name="connsiteX11" fmla="*/ 605898 w 1726514"/>
                  <a:gd name="connsiteY11" fmla="*/ 421481 h 1374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726514" h="1374599">
                    <a:moveTo>
                      <a:pt x="605898" y="421481"/>
                    </a:moveTo>
                    <a:cubicBezTo>
                      <a:pt x="605898" y="421481"/>
                      <a:pt x="457403" y="123825"/>
                      <a:pt x="98882" y="500539"/>
                    </a:cubicBezTo>
                    <a:cubicBezTo>
                      <a:pt x="98882" y="500539"/>
                      <a:pt x="-221253" y="978408"/>
                      <a:pt x="290525" y="1282732"/>
                    </a:cubicBezTo>
                    <a:cubicBezTo>
                      <a:pt x="290525" y="1282732"/>
                      <a:pt x="680384" y="1553432"/>
                      <a:pt x="1230452" y="1165479"/>
                    </a:cubicBezTo>
                    <a:cubicBezTo>
                      <a:pt x="1230452" y="1165479"/>
                      <a:pt x="1516774" y="960215"/>
                      <a:pt x="1670126" y="579501"/>
                    </a:cubicBezTo>
                    <a:lnTo>
                      <a:pt x="1726514" y="500634"/>
                    </a:lnTo>
                    <a:cubicBezTo>
                      <a:pt x="1726514" y="500634"/>
                      <a:pt x="1699463" y="162306"/>
                      <a:pt x="1518965" y="0"/>
                    </a:cubicBezTo>
                    <a:cubicBezTo>
                      <a:pt x="1518965" y="0"/>
                      <a:pt x="1395044" y="360712"/>
                      <a:pt x="1343228" y="450913"/>
                    </a:cubicBezTo>
                    <a:cubicBezTo>
                      <a:pt x="1343228" y="450913"/>
                      <a:pt x="1158348" y="811530"/>
                      <a:pt x="894506" y="926592"/>
                    </a:cubicBezTo>
                    <a:cubicBezTo>
                      <a:pt x="894506" y="926592"/>
                      <a:pt x="362630" y="1149763"/>
                      <a:pt x="376155" y="687514"/>
                    </a:cubicBezTo>
                    <a:cubicBezTo>
                      <a:pt x="387490" y="687514"/>
                      <a:pt x="389681" y="516350"/>
                      <a:pt x="594659" y="439674"/>
                    </a:cubicBezTo>
                    <a:cubicBezTo>
                      <a:pt x="594563" y="439484"/>
                      <a:pt x="603707" y="443960"/>
                      <a:pt x="605898" y="42148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106" name="图形 7">
                <a:extLst>
                  <a:ext uri="{FF2B5EF4-FFF2-40B4-BE49-F238E27FC236}">
                    <a16:creationId xmlns:a16="http://schemas.microsoft.com/office/drawing/2014/main" id="{4EDC8808-C199-4F69-8729-10FA24DA017E}"/>
                  </a:ext>
                </a:extLst>
              </p:cNvPr>
              <p:cNvGrpSpPr/>
              <p:nvPr/>
            </p:nvGrpSpPr>
            <p:grpSpPr>
              <a:xfrm>
                <a:off x="2202912" y="5095777"/>
                <a:ext cx="2740057" cy="1362469"/>
                <a:chOff x="2202910" y="5095779"/>
                <a:chExt cx="2740056" cy="1362468"/>
              </a:xfrm>
            </p:grpSpPr>
            <p:sp>
              <p:nvSpPr>
                <p:cNvPr id="1107" name="任意多边形: 形状 1106">
                  <a:extLst>
                    <a:ext uri="{FF2B5EF4-FFF2-40B4-BE49-F238E27FC236}">
                      <a16:creationId xmlns:a16="http://schemas.microsoft.com/office/drawing/2014/main" id="{521E6C5C-B0CD-4854-A495-6A5DEB1311C9}"/>
                    </a:ext>
                  </a:extLst>
                </p:cNvPr>
                <p:cNvSpPr/>
                <p:nvPr/>
              </p:nvSpPr>
              <p:spPr>
                <a:xfrm>
                  <a:off x="2202910" y="5095779"/>
                  <a:ext cx="201871" cy="195891"/>
                </a:xfrm>
                <a:custGeom>
                  <a:avLst/>
                  <a:gdLst>
                    <a:gd name="connsiteX0" fmla="*/ 169736 w 201871"/>
                    <a:gd name="connsiteY0" fmla="*/ 0 h 195891"/>
                    <a:gd name="connsiteX1" fmla="*/ 192405 w 201871"/>
                    <a:gd name="connsiteY1" fmla="*/ 126016 h 195891"/>
                    <a:gd name="connsiteX2" fmla="*/ 184785 w 201871"/>
                    <a:gd name="connsiteY2" fmla="*/ 126016 h 195891"/>
                    <a:gd name="connsiteX3" fmla="*/ 31528 w 201871"/>
                    <a:gd name="connsiteY3" fmla="*/ 162115 h 195891"/>
                    <a:gd name="connsiteX4" fmla="*/ 28575 w 201871"/>
                    <a:gd name="connsiteY4" fmla="*/ 175641 h 195891"/>
                    <a:gd name="connsiteX5" fmla="*/ 36195 w 201871"/>
                    <a:gd name="connsiteY5" fmla="*/ 184594 h 195891"/>
                    <a:gd name="connsiteX6" fmla="*/ 193929 w 201871"/>
                    <a:gd name="connsiteY6" fmla="*/ 156019 h 195891"/>
                    <a:gd name="connsiteX7" fmla="*/ 198406 w 201871"/>
                    <a:gd name="connsiteY7" fmla="*/ 158972 h 195891"/>
                    <a:gd name="connsiteX8" fmla="*/ 201454 w 201871"/>
                    <a:gd name="connsiteY8" fmla="*/ 181546 h 195891"/>
                    <a:gd name="connsiteX9" fmla="*/ 195453 w 201871"/>
                    <a:gd name="connsiteY9" fmla="*/ 181546 h 195891"/>
                    <a:gd name="connsiteX10" fmla="*/ 16669 w 201871"/>
                    <a:gd name="connsiteY10" fmla="*/ 181546 h 195891"/>
                    <a:gd name="connsiteX11" fmla="*/ 12097 w 201871"/>
                    <a:gd name="connsiteY11" fmla="*/ 157543 h 195891"/>
                    <a:gd name="connsiteX12" fmla="*/ 174498 w 201871"/>
                    <a:gd name="connsiteY12" fmla="*/ 88297 h 195891"/>
                    <a:gd name="connsiteX13" fmla="*/ 172974 w 201871"/>
                    <a:gd name="connsiteY13" fmla="*/ 85249 h 195891"/>
                    <a:gd name="connsiteX14" fmla="*/ 141351 w 201871"/>
                    <a:gd name="connsiteY14" fmla="*/ 83820 h 195891"/>
                    <a:gd name="connsiteX15" fmla="*/ 141351 w 201871"/>
                    <a:gd name="connsiteY15" fmla="*/ 82296 h 195891"/>
                    <a:gd name="connsiteX16" fmla="*/ 141351 w 201871"/>
                    <a:gd name="connsiteY16" fmla="*/ 77724 h 195891"/>
                    <a:gd name="connsiteX17" fmla="*/ 171545 w 201871"/>
                    <a:gd name="connsiteY17" fmla="*/ 44767 h 195891"/>
                    <a:gd name="connsiteX18" fmla="*/ 163925 w 201871"/>
                    <a:gd name="connsiteY18" fmla="*/ 34290 h 195891"/>
                    <a:gd name="connsiteX19" fmla="*/ 100774 w 201871"/>
                    <a:gd name="connsiteY19" fmla="*/ 44767 h 195891"/>
                    <a:gd name="connsiteX20" fmla="*/ 102298 w 201871"/>
                    <a:gd name="connsiteY20" fmla="*/ 52292 h 195891"/>
                    <a:gd name="connsiteX21" fmla="*/ 135350 w 201871"/>
                    <a:gd name="connsiteY21" fmla="*/ 59817 h 195891"/>
                    <a:gd name="connsiteX22" fmla="*/ 58674 w 201871"/>
                    <a:gd name="connsiteY22" fmla="*/ 74771 h 195891"/>
                    <a:gd name="connsiteX23" fmla="*/ 57150 w 201871"/>
                    <a:gd name="connsiteY23" fmla="*/ 68771 h 195891"/>
                    <a:gd name="connsiteX24" fmla="*/ 85630 w 201871"/>
                    <a:gd name="connsiteY24" fmla="*/ 47815 h 195891"/>
                    <a:gd name="connsiteX25" fmla="*/ 82582 w 201871"/>
                    <a:gd name="connsiteY25" fmla="*/ 43339 h 195891"/>
                    <a:gd name="connsiteX26" fmla="*/ 8953 w 201871"/>
                    <a:gd name="connsiteY26" fmla="*/ 62770 h 195891"/>
                    <a:gd name="connsiteX27" fmla="*/ 2953 w 201871"/>
                    <a:gd name="connsiteY27" fmla="*/ 61341 h 195891"/>
                    <a:gd name="connsiteX28" fmla="*/ 0 w 201871"/>
                    <a:gd name="connsiteY28" fmla="*/ 20669 h 195891"/>
                    <a:gd name="connsiteX29" fmla="*/ 1619 w 201871"/>
                    <a:gd name="connsiteY29" fmla="*/ 19145 h 195891"/>
                    <a:gd name="connsiteX30" fmla="*/ 169736 w 201871"/>
                    <a:gd name="connsiteY30" fmla="*/ 0 h 1958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201871" h="195891">
                      <a:moveTo>
                        <a:pt x="169736" y="0"/>
                      </a:moveTo>
                      <a:cubicBezTo>
                        <a:pt x="179546" y="8287"/>
                        <a:pt x="189833" y="106299"/>
                        <a:pt x="192405" y="126016"/>
                      </a:cubicBezTo>
                      <a:lnTo>
                        <a:pt x="184785" y="126016"/>
                      </a:lnTo>
                      <a:cubicBezTo>
                        <a:pt x="157829" y="115633"/>
                        <a:pt x="40481" y="146018"/>
                        <a:pt x="31528" y="162115"/>
                      </a:cubicBezTo>
                      <a:cubicBezTo>
                        <a:pt x="30671" y="166783"/>
                        <a:pt x="29527" y="171259"/>
                        <a:pt x="28575" y="175641"/>
                      </a:cubicBezTo>
                      <a:cubicBezTo>
                        <a:pt x="31147" y="178689"/>
                        <a:pt x="33623" y="181642"/>
                        <a:pt x="36195" y="184594"/>
                      </a:cubicBezTo>
                      <a:cubicBezTo>
                        <a:pt x="80296" y="194405"/>
                        <a:pt x="164783" y="179451"/>
                        <a:pt x="193929" y="156019"/>
                      </a:cubicBezTo>
                      <a:cubicBezTo>
                        <a:pt x="198406" y="157829"/>
                        <a:pt x="195739" y="156019"/>
                        <a:pt x="198406" y="158972"/>
                      </a:cubicBezTo>
                      <a:cubicBezTo>
                        <a:pt x="202311" y="166211"/>
                        <a:pt x="202216" y="173069"/>
                        <a:pt x="201454" y="181546"/>
                      </a:cubicBezTo>
                      <a:lnTo>
                        <a:pt x="195453" y="181546"/>
                      </a:lnTo>
                      <a:cubicBezTo>
                        <a:pt x="159829" y="161639"/>
                        <a:pt x="70771" y="222123"/>
                        <a:pt x="16669" y="181546"/>
                      </a:cubicBezTo>
                      <a:cubicBezTo>
                        <a:pt x="15145" y="173450"/>
                        <a:pt x="13716" y="165449"/>
                        <a:pt x="12097" y="157543"/>
                      </a:cubicBezTo>
                      <a:cubicBezTo>
                        <a:pt x="21812" y="99822"/>
                        <a:pt x="128588" y="110776"/>
                        <a:pt x="174498" y="88297"/>
                      </a:cubicBezTo>
                      <a:cubicBezTo>
                        <a:pt x="174022" y="87344"/>
                        <a:pt x="173450" y="86201"/>
                        <a:pt x="172974" y="85249"/>
                      </a:cubicBezTo>
                      <a:cubicBezTo>
                        <a:pt x="160687" y="86677"/>
                        <a:pt x="150400" y="88106"/>
                        <a:pt x="141351" y="83820"/>
                      </a:cubicBezTo>
                      <a:lnTo>
                        <a:pt x="141351" y="82296"/>
                      </a:lnTo>
                      <a:lnTo>
                        <a:pt x="141351" y="77724"/>
                      </a:lnTo>
                      <a:cubicBezTo>
                        <a:pt x="158115" y="70675"/>
                        <a:pt x="167830" y="65246"/>
                        <a:pt x="171545" y="44767"/>
                      </a:cubicBezTo>
                      <a:cubicBezTo>
                        <a:pt x="169069" y="41338"/>
                        <a:pt x="166497" y="37909"/>
                        <a:pt x="163925" y="34290"/>
                      </a:cubicBezTo>
                      <a:cubicBezTo>
                        <a:pt x="144018" y="35528"/>
                        <a:pt x="116491" y="35623"/>
                        <a:pt x="100774" y="44767"/>
                      </a:cubicBezTo>
                      <a:cubicBezTo>
                        <a:pt x="101346" y="47339"/>
                        <a:pt x="101822" y="49911"/>
                        <a:pt x="102298" y="52292"/>
                      </a:cubicBezTo>
                      <a:cubicBezTo>
                        <a:pt x="113062" y="55912"/>
                        <a:pt x="119253" y="59817"/>
                        <a:pt x="135350" y="59817"/>
                      </a:cubicBezTo>
                      <a:cubicBezTo>
                        <a:pt x="130302" y="70961"/>
                        <a:pt x="72580" y="73628"/>
                        <a:pt x="58674" y="74771"/>
                      </a:cubicBezTo>
                      <a:cubicBezTo>
                        <a:pt x="58198" y="72961"/>
                        <a:pt x="57626" y="70771"/>
                        <a:pt x="57150" y="68771"/>
                      </a:cubicBezTo>
                      <a:cubicBezTo>
                        <a:pt x="72295" y="66008"/>
                        <a:pt x="80391" y="60579"/>
                        <a:pt x="85630" y="47815"/>
                      </a:cubicBezTo>
                      <a:cubicBezTo>
                        <a:pt x="84677" y="46292"/>
                        <a:pt x="83725" y="44672"/>
                        <a:pt x="82582" y="43339"/>
                      </a:cubicBezTo>
                      <a:cubicBezTo>
                        <a:pt x="59246" y="42672"/>
                        <a:pt x="16383" y="46387"/>
                        <a:pt x="8953" y="62770"/>
                      </a:cubicBezTo>
                      <a:cubicBezTo>
                        <a:pt x="7048" y="62293"/>
                        <a:pt x="5048" y="61722"/>
                        <a:pt x="2953" y="61341"/>
                      </a:cubicBezTo>
                      <a:cubicBezTo>
                        <a:pt x="2096" y="47815"/>
                        <a:pt x="1048" y="34195"/>
                        <a:pt x="0" y="20669"/>
                      </a:cubicBezTo>
                      <a:lnTo>
                        <a:pt x="1619" y="19145"/>
                      </a:lnTo>
                      <a:cubicBezTo>
                        <a:pt x="34576" y="25146"/>
                        <a:pt x="152019" y="19145"/>
                        <a:pt x="169736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08" name="任意多边形: 形状 1107">
                  <a:extLst>
                    <a:ext uri="{FF2B5EF4-FFF2-40B4-BE49-F238E27FC236}">
                      <a16:creationId xmlns:a16="http://schemas.microsoft.com/office/drawing/2014/main" id="{1B1D3E09-754B-4D47-ADDC-1E74B96AEAF8}"/>
                    </a:ext>
                  </a:extLst>
                </p:cNvPr>
                <p:cNvSpPr/>
                <p:nvPr/>
              </p:nvSpPr>
              <p:spPr>
                <a:xfrm>
                  <a:off x="4732464" y="5115210"/>
                  <a:ext cx="210502" cy="205740"/>
                </a:xfrm>
                <a:custGeom>
                  <a:avLst/>
                  <a:gdLst>
                    <a:gd name="connsiteX0" fmla="*/ 28766 w 210502"/>
                    <a:gd name="connsiteY0" fmla="*/ 0 h 205740"/>
                    <a:gd name="connsiteX1" fmla="*/ 127921 w 210502"/>
                    <a:gd name="connsiteY1" fmla="*/ 49530 h 205740"/>
                    <a:gd name="connsiteX2" fmla="*/ 192596 w 210502"/>
                    <a:gd name="connsiteY2" fmla="*/ 57150 h 205740"/>
                    <a:gd name="connsiteX3" fmla="*/ 202978 w 210502"/>
                    <a:gd name="connsiteY3" fmla="*/ 46577 h 205740"/>
                    <a:gd name="connsiteX4" fmla="*/ 210503 w 210502"/>
                    <a:gd name="connsiteY4" fmla="*/ 52578 h 205740"/>
                    <a:gd name="connsiteX5" fmla="*/ 204502 w 210502"/>
                    <a:gd name="connsiteY5" fmla="*/ 96012 h 205740"/>
                    <a:gd name="connsiteX6" fmla="*/ 202978 w 210502"/>
                    <a:gd name="connsiteY6" fmla="*/ 96012 h 205740"/>
                    <a:gd name="connsiteX7" fmla="*/ 184976 w 210502"/>
                    <a:gd name="connsiteY7" fmla="*/ 82582 h 205740"/>
                    <a:gd name="connsiteX8" fmla="*/ 36195 w 210502"/>
                    <a:gd name="connsiteY8" fmla="*/ 100584 h 205740"/>
                    <a:gd name="connsiteX9" fmla="*/ 36195 w 210502"/>
                    <a:gd name="connsiteY9" fmla="*/ 102013 h 205740"/>
                    <a:gd name="connsiteX10" fmla="*/ 39243 w 210502"/>
                    <a:gd name="connsiteY10" fmla="*/ 102013 h 205740"/>
                    <a:gd name="connsiteX11" fmla="*/ 69342 w 210502"/>
                    <a:gd name="connsiteY11" fmla="*/ 114109 h 205740"/>
                    <a:gd name="connsiteX12" fmla="*/ 66294 w 210502"/>
                    <a:gd name="connsiteY12" fmla="*/ 114109 h 205740"/>
                    <a:gd name="connsiteX13" fmla="*/ 22670 w 210502"/>
                    <a:gd name="connsiteY13" fmla="*/ 130588 h 205740"/>
                    <a:gd name="connsiteX14" fmla="*/ 27051 w 210502"/>
                    <a:gd name="connsiteY14" fmla="*/ 135160 h 205740"/>
                    <a:gd name="connsiteX15" fmla="*/ 193929 w 210502"/>
                    <a:gd name="connsiteY15" fmla="*/ 156210 h 205740"/>
                    <a:gd name="connsiteX16" fmla="*/ 198501 w 210502"/>
                    <a:gd name="connsiteY16" fmla="*/ 162211 h 205740"/>
                    <a:gd name="connsiteX17" fmla="*/ 186500 w 210502"/>
                    <a:gd name="connsiteY17" fmla="*/ 205740 h 205740"/>
                    <a:gd name="connsiteX18" fmla="*/ 183547 w 210502"/>
                    <a:gd name="connsiteY18" fmla="*/ 205740 h 205740"/>
                    <a:gd name="connsiteX19" fmla="*/ 16669 w 210502"/>
                    <a:gd name="connsiteY19" fmla="*/ 162211 h 205740"/>
                    <a:gd name="connsiteX20" fmla="*/ 16669 w 210502"/>
                    <a:gd name="connsiteY20" fmla="*/ 171259 h 205740"/>
                    <a:gd name="connsiteX21" fmla="*/ 46672 w 210502"/>
                    <a:gd name="connsiteY21" fmla="*/ 198311 h 205740"/>
                    <a:gd name="connsiteX22" fmla="*/ 40577 w 210502"/>
                    <a:gd name="connsiteY22" fmla="*/ 198311 h 205740"/>
                    <a:gd name="connsiteX23" fmla="*/ 0 w 210502"/>
                    <a:gd name="connsiteY23" fmla="*/ 184975 h 205740"/>
                    <a:gd name="connsiteX24" fmla="*/ 24003 w 210502"/>
                    <a:gd name="connsiteY24" fmla="*/ 54197 h 205740"/>
                    <a:gd name="connsiteX25" fmla="*/ 102203 w 210502"/>
                    <a:gd name="connsiteY25" fmla="*/ 54197 h 205740"/>
                    <a:gd name="connsiteX26" fmla="*/ 102203 w 210502"/>
                    <a:gd name="connsiteY26" fmla="*/ 49530 h 205740"/>
                    <a:gd name="connsiteX27" fmla="*/ 26956 w 210502"/>
                    <a:gd name="connsiteY27" fmla="*/ 33052 h 205740"/>
                    <a:gd name="connsiteX28" fmla="*/ 23908 w 210502"/>
                    <a:gd name="connsiteY28" fmla="*/ 31528 h 205740"/>
                    <a:gd name="connsiteX29" fmla="*/ 22479 w 210502"/>
                    <a:gd name="connsiteY29" fmla="*/ 28575 h 205740"/>
                    <a:gd name="connsiteX30" fmla="*/ 28766 w 210502"/>
                    <a:gd name="connsiteY30" fmla="*/ 0 h 205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210502" h="205740">
                      <a:moveTo>
                        <a:pt x="28766" y="0"/>
                      </a:moveTo>
                      <a:cubicBezTo>
                        <a:pt x="61817" y="16574"/>
                        <a:pt x="94869" y="33147"/>
                        <a:pt x="127921" y="49530"/>
                      </a:cubicBezTo>
                      <a:cubicBezTo>
                        <a:pt x="149447" y="52197"/>
                        <a:pt x="170974" y="54483"/>
                        <a:pt x="192596" y="57150"/>
                      </a:cubicBezTo>
                      <a:cubicBezTo>
                        <a:pt x="196596" y="56293"/>
                        <a:pt x="200501" y="47339"/>
                        <a:pt x="202978" y="46577"/>
                      </a:cubicBezTo>
                      <a:cubicBezTo>
                        <a:pt x="208883" y="45053"/>
                        <a:pt x="208502" y="50197"/>
                        <a:pt x="210503" y="52578"/>
                      </a:cubicBezTo>
                      <a:cubicBezTo>
                        <a:pt x="208502" y="66961"/>
                        <a:pt x="206502" y="81534"/>
                        <a:pt x="204502" y="96012"/>
                      </a:cubicBezTo>
                      <a:lnTo>
                        <a:pt x="202978" y="96012"/>
                      </a:lnTo>
                      <a:cubicBezTo>
                        <a:pt x="197072" y="91630"/>
                        <a:pt x="190881" y="87058"/>
                        <a:pt x="184976" y="82582"/>
                      </a:cubicBezTo>
                      <a:cubicBezTo>
                        <a:pt x="152781" y="72866"/>
                        <a:pt x="51435" y="83725"/>
                        <a:pt x="36195" y="100584"/>
                      </a:cubicBezTo>
                      <a:lnTo>
                        <a:pt x="36195" y="102013"/>
                      </a:lnTo>
                      <a:lnTo>
                        <a:pt x="39243" y="102013"/>
                      </a:lnTo>
                      <a:cubicBezTo>
                        <a:pt x="49816" y="106013"/>
                        <a:pt x="64389" y="104108"/>
                        <a:pt x="69342" y="114109"/>
                      </a:cubicBezTo>
                      <a:lnTo>
                        <a:pt x="66294" y="114109"/>
                      </a:lnTo>
                      <a:cubicBezTo>
                        <a:pt x="47339" y="119444"/>
                        <a:pt x="34576" y="114967"/>
                        <a:pt x="22670" y="130588"/>
                      </a:cubicBezTo>
                      <a:cubicBezTo>
                        <a:pt x="24670" y="133541"/>
                        <a:pt x="24098" y="133159"/>
                        <a:pt x="27051" y="135160"/>
                      </a:cubicBezTo>
                      <a:cubicBezTo>
                        <a:pt x="53626" y="147352"/>
                        <a:pt x="168878" y="169736"/>
                        <a:pt x="193929" y="156210"/>
                      </a:cubicBezTo>
                      <a:cubicBezTo>
                        <a:pt x="195453" y="158020"/>
                        <a:pt x="196977" y="160115"/>
                        <a:pt x="198501" y="162211"/>
                      </a:cubicBezTo>
                      <a:cubicBezTo>
                        <a:pt x="194882" y="175355"/>
                        <a:pt x="194501" y="196596"/>
                        <a:pt x="186500" y="205740"/>
                      </a:cubicBezTo>
                      <a:lnTo>
                        <a:pt x="183547" y="205740"/>
                      </a:lnTo>
                      <a:cubicBezTo>
                        <a:pt x="170783" y="180689"/>
                        <a:pt x="56483" y="164592"/>
                        <a:pt x="16669" y="162211"/>
                      </a:cubicBezTo>
                      <a:lnTo>
                        <a:pt x="16669" y="171259"/>
                      </a:lnTo>
                      <a:cubicBezTo>
                        <a:pt x="23527" y="184880"/>
                        <a:pt x="41624" y="184690"/>
                        <a:pt x="46672" y="198311"/>
                      </a:cubicBezTo>
                      <a:lnTo>
                        <a:pt x="40577" y="198311"/>
                      </a:lnTo>
                      <a:cubicBezTo>
                        <a:pt x="26289" y="193834"/>
                        <a:pt x="8096" y="195834"/>
                        <a:pt x="0" y="184975"/>
                      </a:cubicBezTo>
                      <a:cubicBezTo>
                        <a:pt x="6287" y="160211"/>
                        <a:pt x="12668" y="64865"/>
                        <a:pt x="24003" y="54197"/>
                      </a:cubicBezTo>
                      <a:cubicBezTo>
                        <a:pt x="41529" y="71628"/>
                        <a:pt x="74771" y="61055"/>
                        <a:pt x="102203" y="54197"/>
                      </a:cubicBezTo>
                      <a:lnTo>
                        <a:pt x="102203" y="49530"/>
                      </a:lnTo>
                      <a:cubicBezTo>
                        <a:pt x="80486" y="41053"/>
                        <a:pt x="51054" y="11906"/>
                        <a:pt x="26956" y="33052"/>
                      </a:cubicBezTo>
                      <a:cubicBezTo>
                        <a:pt x="26003" y="32575"/>
                        <a:pt x="24955" y="32004"/>
                        <a:pt x="23908" y="31528"/>
                      </a:cubicBezTo>
                      <a:cubicBezTo>
                        <a:pt x="23432" y="30671"/>
                        <a:pt x="23051" y="29718"/>
                        <a:pt x="22479" y="28575"/>
                      </a:cubicBezTo>
                      <a:cubicBezTo>
                        <a:pt x="22955" y="18193"/>
                        <a:pt x="24384" y="6382"/>
                        <a:pt x="28766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09" name="任意多边形: 形状 1108">
                  <a:extLst>
                    <a:ext uri="{FF2B5EF4-FFF2-40B4-BE49-F238E27FC236}">
                      <a16:creationId xmlns:a16="http://schemas.microsoft.com/office/drawing/2014/main" id="{591B28C2-5193-4A84-8163-E100210E084E}"/>
                    </a:ext>
                  </a:extLst>
                </p:cNvPr>
                <p:cNvSpPr/>
                <p:nvPr/>
              </p:nvSpPr>
              <p:spPr>
                <a:xfrm>
                  <a:off x="2215007" y="5309139"/>
                  <a:ext cx="217182" cy="141255"/>
                </a:xfrm>
                <a:custGeom>
                  <a:avLst/>
                  <a:gdLst>
                    <a:gd name="connsiteX0" fmla="*/ 192310 w 217182"/>
                    <a:gd name="connsiteY0" fmla="*/ 0 h 141255"/>
                    <a:gd name="connsiteX1" fmla="*/ 216313 w 217182"/>
                    <a:gd name="connsiteY1" fmla="*/ 96203 h 141255"/>
                    <a:gd name="connsiteX2" fmla="*/ 66103 w 217182"/>
                    <a:gd name="connsiteY2" fmla="*/ 127730 h 141255"/>
                    <a:gd name="connsiteX3" fmla="*/ 49530 w 217182"/>
                    <a:gd name="connsiteY3" fmla="*/ 141256 h 141255"/>
                    <a:gd name="connsiteX4" fmla="*/ 46577 w 217182"/>
                    <a:gd name="connsiteY4" fmla="*/ 139732 h 141255"/>
                    <a:gd name="connsiteX5" fmla="*/ 42100 w 217182"/>
                    <a:gd name="connsiteY5" fmla="*/ 100775 h 141255"/>
                    <a:gd name="connsiteX6" fmla="*/ 201359 w 217182"/>
                    <a:gd name="connsiteY6" fmla="*/ 51149 h 141255"/>
                    <a:gd name="connsiteX7" fmla="*/ 10573 w 217182"/>
                    <a:gd name="connsiteY7" fmla="*/ 61627 h 141255"/>
                    <a:gd name="connsiteX8" fmla="*/ 0 w 217182"/>
                    <a:gd name="connsiteY8" fmla="*/ 34576 h 141255"/>
                    <a:gd name="connsiteX9" fmla="*/ 27051 w 217182"/>
                    <a:gd name="connsiteY9" fmla="*/ 12001 h 141255"/>
                    <a:gd name="connsiteX10" fmla="*/ 46577 w 217182"/>
                    <a:gd name="connsiteY10" fmla="*/ 18002 h 141255"/>
                    <a:gd name="connsiteX11" fmla="*/ 48101 w 217182"/>
                    <a:gd name="connsiteY11" fmla="*/ 21050 h 141255"/>
                    <a:gd name="connsiteX12" fmla="*/ 46577 w 217182"/>
                    <a:gd name="connsiteY12" fmla="*/ 25527 h 141255"/>
                    <a:gd name="connsiteX13" fmla="*/ 15049 w 217182"/>
                    <a:gd name="connsiteY13" fmla="*/ 37529 h 141255"/>
                    <a:gd name="connsiteX14" fmla="*/ 12001 w 217182"/>
                    <a:gd name="connsiteY14" fmla="*/ 43529 h 141255"/>
                    <a:gd name="connsiteX15" fmla="*/ 15049 w 217182"/>
                    <a:gd name="connsiteY15" fmla="*/ 46672 h 141255"/>
                    <a:gd name="connsiteX16" fmla="*/ 192310 w 217182"/>
                    <a:gd name="connsiteY16" fmla="*/ 0 h 1412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217182" h="141255">
                      <a:moveTo>
                        <a:pt x="192310" y="0"/>
                      </a:moveTo>
                      <a:cubicBezTo>
                        <a:pt x="201073" y="4000"/>
                        <a:pt x="221647" y="88487"/>
                        <a:pt x="216313" y="96203"/>
                      </a:cubicBezTo>
                      <a:cubicBezTo>
                        <a:pt x="197453" y="83820"/>
                        <a:pt x="88201" y="116586"/>
                        <a:pt x="66103" y="127730"/>
                      </a:cubicBezTo>
                      <a:cubicBezTo>
                        <a:pt x="58865" y="131540"/>
                        <a:pt x="57436" y="138017"/>
                        <a:pt x="49530" y="141256"/>
                      </a:cubicBezTo>
                      <a:cubicBezTo>
                        <a:pt x="48577" y="140779"/>
                        <a:pt x="47625" y="140303"/>
                        <a:pt x="46577" y="139732"/>
                      </a:cubicBezTo>
                      <a:cubicBezTo>
                        <a:pt x="44291" y="126016"/>
                        <a:pt x="36481" y="113252"/>
                        <a:pt x="42100" y="100775"/>
                      </a:cubicBezTo>
                      <a:cubicBezTo>
                        <a:pt x="69342" y="107633"/>
                        <a:pt x="190786" y="73724"/>
                        <a:pt x="201359" y="51149"/>
                      </a:cubicBezTo>
                      <a:cubicBezTo>
                        <a:pt x="183356" y="10478"/>
                        <a:pt x="49816" y="94869"/>
                        <a:pt x="10573" y="61627"/>
                      </a:cubicBezTo>
                      <a:cubicBezTo>
                        <a:pt x="2191" y="56674"/>
                        <a:pt x="191" y="47530"/>
                        <a:pt x="0" y="34576"/>
                      </a:cubicBezTo>
                      <a:cubicBezTo>
                        <a:pt x="8382" y="24575"/>
                        <a:pt x="15621" y="19145"/>
                        <a:pt x="27051" y="12001"/>
                      </a:cubicBezTo>
                      <a:cubicBezTo>
                        <a:pt x="38576" y="11811"/>
                        <a:pt x="40481" y="13716"/>
                        <a:pt x="46577" y="18002"/>
                      </a:cubicBezTo>
                      <a:cubicBezTo>
                        <a:pt x="47053" y="19050"/>
                        <a:pt x="47625" y="19907"/>
                        <a:pt x="48101" y="21050"/>
                      </a:cubicBezTo>
                      <a:cubicBezTo>
                        <a:pt x="47530" y="22479"/>
                        <a:pt x="46958" y="24003"/>
                        <a:pt x="46577" y="25527"/>
                      </a:cubicBezTo>
                      <a:cubicBezTo>
                        <a:pt x="39148" y="30861"/>
                        <a:pt x="23527" y="31528"/>
                        <a:pt x="15049" y="37529"/>
                      </a:cubicBezTo>
                      <a:cubicBezTo>
                        <a:pt x="12001" y="40481"/>
                        <a:pt x="13525" y="38100"/>
                        <a:pt x="12001" y="43529"/>
                      </a:cubicBezTo>
                      <a:cubicBezTo>
                        <a:pt x="13144" y="44672"/>
                        <a:pt x="14002" y="45529"/>
                        <a:pt x="15049" y="46672"/>
                      </a:cubicBezTo>
                      <a:cubicBezTo>
                        <a:pt x="39052" y="49340"/>
                        <a:pt x="186023" y="13621"/>
                        <a:pt x="192310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10" name="任意多边形: 形状 1109">
                  <a:extLst>
                    <a:ext uri="{FF2B5EF4-FFF2-40B4-BE49-F238E27FC236}">
                      <a16:creationId xmlns:a16="http://schemas.microsoft.com/office/drawing/2014/main" id="{776B1571-2CDE-4840-8437-A887C2C4F6B2}"/>
                    </a:ext>
                  </a:extLst>
                </p:cNvPr>
                <p:cNvSpPr/>
                <p:nvPr/>
              </p:nvSpPr>
              <p:spPr>
                <a:xfrm>
                  <a:off x="4717891" y="5316664"/>
                  <a:ext cx="193738" cy="90011"/>
                </a:xfrm>
                <a:custGeom>
                  <a:avLst/>
                  <a:gdLst>
                    <a:gd name="connsiteX0" fmla="*/ 10287 w 193738"/>
                    <a:gd name="connsiteY0" fmla="*/ 0 h 90011"/>
                    <a:gd name="connsiteX1" fmla="*/ 17812 w 193738"/>
                    <a:gd name="connsiteY1" fmla="*/ 0 h 90011"/>
                    <a:gd name="connsiteX2" fmla="*/ 169640 w 193738"/>
                    <a:gd name="connsiteY2" fmla="*/ 49625 h 90011"/>
                    <a:gd name="connsiteX3" fmla="*/ 192310 w 193738"/>
                    <a:gd name="connsiteY3" fmla="*/ 40481 h 90011"/>
                    <a:gd name="connsiteX4" fmla="*/ 193738 w 193738"/>
                    <a:gd name="connsiteY4" fmla="*/ 42005 h 90011"/>
                    <a:gd name="connsiteX5" fmla="*/ 183261 w 193738"/>
                    <a:gd name="connsiteY5" fmla="*/ 88487 h 90011"/>
                    <a:gd name="connsiteX6" fmla="*/ 177260 w 193738"/>
                    <a:gd name="connsiteY6" fmla="*/ 90011 h 90011"/>
                    <a:gd name="connsiteX7" fmla="*/ 169736 w 193738"/>
                    <a:gd name="connsiteY7" fmla="*/ 76391 h 90011"/>
                    <a:gd name="connsiteX8" fmla="*/ 13526 w 193738"/>
                    <a:gd name="connsiteY8" fmla="*/ 41910 h 90011"/>
                    <a:gd name="connsiteX9" fmla="*/ 2953 w 193738"/>
                    <a:gd name="connsiteY9" fmla="*/ 49435 h 90011"/>
                    <a:gd name="connsiteX10" fmla="*/ 0 w 193738"/>
                    <a:gd name="connsiteY10" fmla="*/ 44958 h 90011"/>
                    <a:gd name="connsiteX11" fmla="*/ 10287 w 193738"/>
                    <a:gd name="connsiteY11" fmla="*/ 0 h 900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93738" h="90011">
                      <a:moveTo>
                        <a:pt x="10287" y="0"/>
                      </a:moveTo>
                      <a:lnTo>
                        <a:pt x="17812" y="0"/>
                      </a:lnTo>
                      <a:cubicBezTo>
                        <a:pt x="25051" y="16859"/>
                        <a:pt x="143351" y="48006"/>
                        <a:pt x="169640" y="49625"/>
                      </a:cubicBezTo>
                      <a:cubicBezTo>
                        <a:pt x="177165" y="46577"/>
                        <a:pt x="184690" y="43625"/>
                        <a:pt x="192310" y="40481"/>
                      </a:cubicBezTo>
                      <a:cubicBezTo>
                        <a:pt x="192786" y="41053"/>
                        <a:pt x="193262" y="41434"/>
                        <a:pt x="193738" y="42005"/>
                      </a:cubicBezTo>
                      <a:cubicBezTo>
                        <a:pt x="193262" y="60770"/>
                        <a:pt x="187547" y="73533"/>
                        <a:pt x="183261" y="88487"/>
                      </a:cubicBezTo>
                      <a:cubicBezTo>
                        <a:pt x="181261" y="89154"/>
                        <a:pt x="179165" y="89535"/>
                        <a:pt x="177260" y="90011"/>
                      </a:cubicBezTo>
                      <a:cubicBezTo>
                        <a:pt x="175736" y="82772"/>
                        <a:pt x="175165" y="79724"/>
                        <a:pt x="169736" y="76391"/>
                      </a:cubicBezTo>
                      <a:cubicBezTo>
                        <a:pt x="157067" y="69628"/>
                        <a:pt x="28861" y="35719"/>
                        <a:pt x="13526" y="41910"/>
                      </a:cubicBezTo>
                      <a:cubicBezTo>
                        <a:pt x="9430" y="43434"/>
                        <a:pt x="9144" y="47530"/>
                        <a:pt x="2953" y="49435"/>
                      </a:cubicBezTo>
                      <a:cubicBezTo>
                        <a:pt x="2000" y="47911"/>
                        <a:pt x="857" y="46387"/>
                        <a:pt x="0" y="44958"/>
                      </a:cubicBezTo>
                      <a:cubicBezTo>
                        <a:pt x="3143" y="30004"/>
                        <a:pt x="6572" y="14954"/>
                        <a:pt x="10287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11" name="任意多边形: 形状 1110">
                  <a:extLst>
                    <a:ext uri="{FF2B5EF4-FFF2-40B4-BE49-F238E27FC236}">
                      <a16:creationId xmlns:a16="http://schemas.microsoft.com/office/drawing/2014/main" id="{838AD951-4F27-47E5-8F46-1B94D61F7771}"/>
                    </a:ext>
                  </a:extLst>
                </p:cNvPr>
                <p:cNvSpPr/>
                <p:nvPr/>
              </p:nvSpPr>
              <p:spPr>
                <a:xfrm>
                  <a:off x="4698936" y="5379815"/>
                  <a:ext cx="193138" cy="117348"/>
                </a:xfrm>
                <a:custGeom>
                  <a:avLst/>
                  <a:gdLst>
                    <a:gd name="connsiteX0" fmla="*/ 14193 w 193138"/>
                    <a:gd name="connsiteY0" fmla="*/ 0 h 117348"/>
                    <a:gd name="connsiteX1" fmla="*/ 63723 w 193138"/>
                    <a:gd name="connsiteY1" fmla="*/ 14954 h 117348"/>
                    <a:gd name="connsiteX2" fmla="*/ 60675 w 193138"/>
                    <a:gd name="connsiteY2" fmla="*/ 19431 h 117348"/>
                    <a:gd name="connsiteX3" fmla="*/ 12573 w 193138"/>
                    <a:gd name="connsiteY3" fmla="*/ 39053 h 117348"/>
                    <a:gd name="connsiteX4" fmla="*/ 56293 w 193138"/>
                    <a:gd name="connsiteY4" fmla="*/ 54197 h 117348"/>
                    <a:gd name="connsiteX5" fmla="*/ 101346 w 193138"/>
                    <a:gd name="connsiteY5" fmla="*/ 28480 h 117348"/>
                    <a:gd name="connsiteX6" fmla="*/ 190119 w 193138"/>
                    <a:gd name="connsiteY6" fmla="*/ 90107 h 117348"/>
                    <a:gd name="connsiteX7" fmla="*/ 177927 w 193138"/>
                    <a:gd name="connsiteY7" fmla="*/ 117348 h 117348"/>
                    <a:gd name="connsiteX8" fmla="*/ 176499 w 193138"/>
                    <a:gd name="connsiteY8" fmla="*/ 117348 h 117348"/>
                    <a:gd name="connsiteX9" fmla="*/ 126969 w 193138"/>
                    <a:gd name="connsiteY9" fmla="*/ 97822 h 117348"/>
                    <a:gd name="connsiteX10" fmla="*/ 132874 w 193138"/>
                    <a:gd name="connsiteY10" fmla="*/ 96298 h 117348"/>
                    <a:gd name="connsiteX11" fmla="*/ 174975 w 193138"/>
                    <a:gd name="connsiteY11" fmla="*/ 90202 h 117348"/>
                    <a:gd name="connsiteX12" fmla="*/ 180975 w 193138"/>
                    <a:gd name="connsiteY12" fmla="*/ 78200 h 117348"/>
                    <a:gd name="connsiteX13" fmla="*/ 180975 w 193138"/>
                    <a:gd name="connsiteY13" fmla="*/ 73819 h 117348"/>
                    <a:gd name="connsiteX14" fmla="*/ 140494 w 193138"/>
                    <a:gd name="connsiteY14" fmla="*/ 52673 h 117348"/>
                    <a:gd name="connsiteX15" fmla="*/ 77343 w 193138"/>
                    <a:gd name="connsiteY15" fmla="*/ 84106 h 117348"/>
                    <a:gd name="connsiteX16" fmla="*/ 667 w 193138"/>
                    <a:gd name="connsiteY16" fmla="*/ 43720 h 117348"/>
                    <a:gd name="connsiteX17" fmla="*/ 14193 w 193138"/>
                    <a:gd name="connsiteY17" fmla="*/ 0 h 1173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93138" h="117348">
                      <a:moveTo>
                        <a:pt x="14193" y="0"/>
                      </a:moveTo>
                      <a:cubicBezTo>
                        <a:pt x="30957" y="1429"/>
                        <a:pt x="50769" y="5905"/>
                        <a:pt x="63723" y="14954"/>
                      </a:cubicBezTo>
                      <a:cubicBezTo>
                        <a:pt x="62770" y="16478"/>
                        <a:pt x="61723" y="18002"/>
                        <a:pt x="60675" y="19431"/>
                      </a:cubicBezTo>
                      <a:cubicBezTo>
                        <a:pt x="42482" y="18002"/>
                        <a:pt x="4858" y="17240"/>
                        <a:pt x="12573" y="39053"/>
                      </a:cubicBezTo>
                      <a:cubicBezTo>
                        <a:pt x="17907" y="49721"/>
                        <a:pt x="35624" y="60293"/>
                        <a:pt x="56293" y="54197"/>
                      </a:cubicBezTo>
                      <a:cubicBezTo>
                        <a:pt x="71248" y="45625"/>
                        <a:pt x="86297" y="36957"/>
                        <a:pt x="101346" y="28480"/>
                      </a:cubicBezTo>
                      <a:cubicBezTo>
                        <a:pt x="142875" y="16383"/>
                        <a:pt x="207931" y="48292"/>
                        <a:pt x="190119" y="90107"/>
                      </a:cubicBezTo>
                      <a:cubicBezTo>
                        <a:pt x="185643" y="100489"/>
                        <a:pt x="181642" y="103918"/>
                        <a:pt x="177927" y="117348"/>
                      </a:cubicBezTo>
                      <a:lnTo>
                        <a:pt x="176499" y="117348"/>
                      </a:lnTo>
                      <a:cubicBezTo>
                        <a:pt x="164021" y="114205"/>
                        <a:pt x="131731" y="109061"/>
                        <a:pt x="126969" y="97822"/>
                      </a:cubicBezTo>
                      <a:cubicBezTo>
                        <a:pt x="128969" y="97346"/>
                        <a:pt x="130874" y="96774"/>
                        <a:pt x="132874" y="96298"/>
                      </a:cubicBezTo>
                      <a:cubicBezTo>
                        <a:pt x="148209" y="100679"/>
                        <a:pt x="161830" y="93631"/>
                        <a:pt x="174975" y="90202"/>
                      </a:cubicBezTo>
                      <a:cubicBezTo>
                        <a:pt x="176975" y="86296"/>
                        <a:pt x="179070" y="82296"/>
                        <a:pt x="180975" y="78200"/>
                      </a:cubicBezTo>
                      <a:lnTo>
                        <a:pt x="180975" y="73819"/>
                      </a:lnTo>
                      <a:cubicBezTo>
                        <a:pt x="175451" y="60484"/>
                        <a:pt x="159068" y="52673"/>
                        <a:pt x="140494" y="52673"/>
                      </a:cubicBezTo>
                      <a:cubicBezTo>
                        <a:pt x="122111" y="63341"/>
                        <a:pt x="99536" y="78962"/>
                        <a:pt x="77343" y="84106"/>
                      </a:cubicBezTo>
                      <a:cubicBezTo>
                        <a:pt x="48673" y="91154"/>
                        <a:pt x="5334" y="63627"/>
                        <a:pt x="667" y="43720"/>
                      </a:cubicBezTo>
                      <a:cubicBezTo>
                        <a:pt x="-3238" y="26479"/>
                        <a:pt x="11144" y="11621"/>
                        <a:pt x="14193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12" name="任意多边形: 形状 1111">
                  <a:extLst>
                    <a:ext uri="{FF2B5EF4-FFF2-40B4-BE49-F238E27FC236}">
                      <a16:creationId xmlns:a16="http://schemas.microsoft.com/office/drawing/2014/main" id="{77C8FA93-999A-4C0B-AE95-10025E9C45C8}"/>
                    </a:ext>
                  </a:extLst>
                </p:cNvPr>
                <p:cNvSpPr/>
                <p:nvPr/>
              </p:nvSpPr>
              <p:spPr>
                <a:xfrm>
                  <a:off x="2268918" y="5457825"/>
                  <a:ext cx="186499" cy="102203"/>
                </a:xfrm>
                <a:custGeom>
                  <a:avLst/>
                  <a:gdLst>
                    <a:gd name="connsiteX0" fmla="*/ 172974 w 186499"/>
                    <a:gd name="connsiteY0" fmla="*/ 0 h 102203"/>
                    <a:gd name="connsiteX1" fmla="*/ 186500 w 186499"/>
                    <a:gd name="connsiteY1" fmla="*/ 1524 h 102203"/>
                    <a:gd name="connsiteX2" fmla="*/ 186500 w 186499"/>
                    <a:gd name="connsiteY2" fmla="*/ 2953 h 102203"/>
                    <a:gd name="connsiteX3" fmla="*/ 70675 w 186499"/>
                    <a:gd name="connsiteY3" fmla="*/ 72200 h 102203"/>
                    <a:gd name="connsiteX4" fmla="*/ 28670 w 186499"/>
                    <a:gd name="connsiteY4" fmla="*/ 102203 h 102203"/>
                    <a:gd name="connsiteX5" fmla="*/ 18097 w 186499"/>
                    <a:gd name="connsiteY5" fmla="*/ 66199 h 102203"/>
                    <a:gd name="connsiteX6" fmla="*/ 21050 w 186499"/>
                    <a:gd name="connsiteY6" fmla="*/ 63341 h 102203"/>
                    <a:gd name="connsiteX7" fmla="*/ 61722 w 186499"/>
                    <a:gd name="connsiteY7" fmla="*/ 48196 h 102203"/>
                    <a:gd name="connsiteX8" fmla="*/ 52673 w 186499"/>
                    <a:gd name="connsiteY8" fmla="*/ 19717 h 102203"/>
                    <a:gd name="connsiteX9" fmla="*/ 19431 w 186499"/>
                    <a:gd name="connsiteY9" fmla="*/ 24193 h 102203"/>
                    <a:gd name="connsiteX10" fmla="*/ 10382 w 186499"/>
                    <a:gd name="connsiteY10" fmla="*/ 37719 h 102203"/>
                    <a:gd name="connsiteX11" fmla="*/ 4381 w 186499"/>
                    <a:gd name="connsiteY11" fmla="*/ 34671 h 102203"/>
                    <a:gd name="connsiteX12" fmla="*/ 0 w 186499"/>
                    <a:gd name="connsiteY12" fmla="*/ 13716 h 102203"/>
                    <a:gd name="connsiteX13" fmla="*/ 1429 w 186499"/>
                    <a:gd name="connsiteY13" fmla="*/ 12097 h 102203"/>
                    <a:gd name="connsiteX14" fmla="*/ 172974 w 186499"/>
                    <a:gd name="connsiteY14" fmla="*/ 0 h 102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86499" h="102203">
                      <a:moveTo>
                        <a:pt x="172974" y="0"/>
                      </a:moveTo>
                      <a:cubicBezTo>
                        <a:pt x="177451" y="571"/>
                        <a:pt x="182023" y="1143"/>
                        <a:pt x="186500" y="1524"/>
                      </a:cubicBezTo>
                      <a:lnTo>
                        <a:pt x="186500" y="2953"/>
                      </a:lnTo>
                      <a:cubicBezTo>
                        <a:pt x="151162" y="30575"/>
                        <a:pt x="109252" y="47149"/>
                        <a:pt x="70675" y="72200"/>
                      </a:cubicBezTo>
                      <a:cubicBezTo>
                        <a:pt x="57721" y="80772"/>
                        <a:pt x="45244" y="97917"/>
                        <a:pt x="28670" y="102203"/>
                      </a:cubicBezTo>
                      <a:cubicBezTo>
                        <a:pt x="25051" y="91250"/>
                        <a:pt x="20479" y="79915"/>
                        <a:pt x="18097" y="66199"/>
                      </a:cubicBezTo>
                      <a:cubicBezTo>
                        <a:pt x="18955" y="65246"/>
                        <a:pt x="20098" y="64103"/>
                        <a:pt x="21050" y="63341"/>
                      </a:cubicBezTo>
                      <a:cubicBezTo>
                        <a:pt x="38862" y="66199"/>
                        <a:pt x="55150" y="60674"/>
                        <a:pt x="61722" y="48196"/>
                      </a:cubicBezTo>
                      <a:cubicBezTo>
                        <a:pt x="65627" y="38195"/>
                        <a:pt x="57721" y="25622"/>
                        <a:pt x="52673" y="19717"/>
                      </a:cubicBezTo>
                      <a:cubicBezTo>
                        <a:pt x="41529" y="21241"/>
                        <a:pt x="30575" y="22574"/>
                        <a:pt x="19431" y="24193"/>
                      </a:cubicBezTo>
                      <a:lnTo>
                        <a:pt x="10382" y="37719"/>
                      </a:lnTo>
                      <a:cubicBezTo>
                        <a:pt x="8477" y="36671"/>
                        <a:pt x="6382" y="35814"/>
                        <a:pt x="4381" y="34671"/>
                      </a:cubicBezTo>
                      <a:cubicBezTo>
                        <a:pt x="2953" y="27813"/>
                        <a:pt x="1429" y="20574"/>
                        <a:pt x="0" y="13716"/>
                      </a:cubicBezTo>
                      <a:cubicBezTo>
                        <a:pt x="476" y="13240"/>
                        <a:pt x="857" y="12668"/>
                        <a:pt x="1429" y="12097"/>
                      </a:cubicBezTo>
                      <a:cubicBezTo>
                        <a:pt x="32861" y="13049"/>
                        <a:pt x="150876" y="12287"/>
                        <a:pt x="172974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13" name="任意多边形: 形状 1112">
                  <a:extLst>
                    <a:ext uri="{FF2B5EF4-FFF2-40B4-BE49-F238E27FC236}">
                      <a16:creationId xmlns:a16="http://schemas.microsoft.com/office/drawing/2014/main" id="{4C8AFAF8-47F9-41F0-9C77-E2C3BF830F9C}"/>
                    </a:ext>
                  </a:extLst>
                </p:cNvPr>
                <p:cNvSpPr/>
                <p:nvPr/>
              </p:nvSpPr>
              <p:spPr>
                <a:xfrm>
                  <a:off x="4661789" y="5468397"/>
                  <a:ext cx="212026" cy="133921"/>
                </a:xfrm>
                <a:custGeom>
                  <a:avLst/>
                  <a:gdLst>
                    <a:gd name="connsiteX0" fmla="*/ 46768 w 212026"/>
                    <a:gd name="connsiteY0" fmla="*/ 0 h 133921"/>
                    <a:gd name="connsiteX1" fmla="*/ 122015 w 212026"/>
                    <a:gd name="connsiteY1" fmla="*/ 42005 h 133921"/>
                    <a:gd name="connsiteX2" fmla="*/ 210598 w 212026"/>
                    <a:gd name="connsiteY2" fmla="*/ 37529 h 133921"/>
                    <a:gd name="connsiteX3" fmla="*/ 212026 w 212026"/>
                    <a:gd name="connsiteY3" fmla="*/ 40576 h 133921"/>
                    <a:gd name="connsiteX4" fmla="*/ 198596 w 212026"/>
                    <a:gd name="connsiteY4" fmla="*/ 67628 h 133921"/>
                    <a:gd name="connsiteX5" fmla="*/ 123349 w 212026"/>
                    <a:gd name="connsiteY5" fmla="*/ 70675 h 133921"/>
                    <a:gd name="connsiteX6" fmla="*/ 123349 w 212026"/>
                    <a:gd name="connsiteY6" fmla="*/ 72200 h 133921"/>
                    <a:gd name="connsiteX7" fmla="*/ 124968 w 212026"/>
                    <a:gd name="connsiteY7" fmla="*/ 75247 h 133921"/>
                    <a:gd name="connsiteX8" fmla="*/ 171545 w 212026"/>
                    <a:gd name="connsiteY8" fmla="*/ 93154 h 133921"/>
                    <a:gd name="connsiteX9" fmla="*/ 192500 w 212026"/>
                    <a:gd name="connsiteY9" fmla="*/ 88678 h 133921"/>
                    <a:gd name="connsiteX10" fmla="*/ 177451 w 212026"/>
                    <a:gd name="connsiteY10" fmla="*/ 133921 h 133921"/>
                    <a:gd name="connsiteX11" fmla="*/ 169831 w 212026"/>
                    <a:gd name="connsiteY11" fmla="*/ 132302 h 133921"/>
                    <a:gd name="connsiteX12" fmla="*/ 0 w 212026"/>
                    <a:gd name="connsiteY12" fmla="*/ 72200 h 133921"/>
                    <a:gd name="connsiteX13" fmla="*/ 0 w 212026"/>
                    <a:gd name="connsiteY13" fmla="*/ 66199 h 133921"/>
                    <a:gd name="connsiteX14" fmla="*/ 46768 w 212026"/>
                    <a:gd name="connsiteY14" fmla="*/ 0 h 1339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12026" h="133921">
                      <a:moveTo>
                        <a:pt x="46768" y="0"/>
                      </a:moveTo>
                      <a:cubicBezTo>
                        <a:pt x="100203" y="0"/>
                        <a:pt x="93631" y="26003"/>
                        <a:pt x="122015" y="42005"/>
                      </a:cubicBezTo>
                      <a:cubicBezTo>
                        <a:pt x="151543" y="40576"/>
                        <a:pt x="181070" y="38957"/>
                        <a:pt x="210598" y="37529"/>
                      </a:cubicBezTo>
                      <a:cubicBezTo>
                        <a:pt x="211074" y="38481"/>
                        <a:pt x="211550" y="39433"/>
                        <a:pt x="212026" y="40576"/>
                      </a:cubicBezTo>
                      <a:cubicBezTo>
                        <a:pt x="210026" y="50292"/>
                        <a:pt x="206407" y="63151"/>
                        <a:pt x="198596" y="67628"/>
                      </a:cubicBezTo>
                      <a:cubicBezTo>
                        <a:pt x="173546" y="68580"/>
                        <a:pt x="148495" y="69628"/>
                        <a:pt x="123349" y="70675"/>
                      </a:cubicBezTo>
                      <a:lnTo>
                        <a:pt x="123349" y="72200"/>
                      </a:lnTo>
                      <a:cubicBezTo>
                        <a:pt x="123920" y="73057"/>
                        <a:pt x="124396" y="74104"/>
                        <a:pt x="124968" y="75247"/>
                      </a:cubicBezTo>
                      <a:cubicBezTo>
                        <a:pt x="140494" y="81153"/>
                        <a:pt x="155924" y="87249"/>
                        <a:pt x="171545" y="93154"/>
                      </a:cubicBezTo>
                      <a:cubicBezTo>
                        <a:pt x="185356" y="95441"/>
                        <a:pt x="182308" y="85249"/>
                        <a:pt x="192500" y="88678"/>
                      </a:cubicBezTo>
                      <a:cubicBezTo>
                        <a:pt x="187452" y="103727"/>
                        <a:pt x="182499" y="118682"/>
                        <a:pt x="177451" y="133921"/>
                      </a:cubicBezTo>
                      <a:cubicBezTo>
                        <a:pt x="174879" y="133255"/>
                        <a:pt x="172402" y="132779"/>
                        <a:pt x="169831" y="132302"/>
                      </a:cubicBezTo>
                      <a:cubicBezTo>
                        <a:pt x="161734" y="110300"/>
                        <a:pt x="32671" y="67818"/>
                        <a:pt x="0" y="72200"/>
                      </a:cubicBezTo>
                      <a:lnTo>
                        <a:pt x="0" y="66199"/>
                      </a:lnTo>
                      <a:cubicBezTo>
                        <a:pt x="14002" y="28766"/>
                        <a:pt x="15335" y="20574"/>
                        <a:pt x="46768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14" name="任意多边形: 形状 1113">
                  <a:extLst>
                    <a:ext uri="{FF2B5EF4-FFF2-40B4-BE49-F238E27FC236}">
                      <a16:creationId xmlns:a16="http://schemas.microsoft.com/office/drawing/2014/main" id="{8DA8707E-0586-4B3E-8BEF-73E8F68A8CA8}"/>
                    </a:ext>
                  </a:extLst>
                </p:cNvPr>
                <p:cNvSpPr/>
                <p:nvPr/>
              </p:nvSpPr>
              <p:spPr>
                <a:xfrm>
                  <a:off x="2338069" y="5471445"/>
                  <a:ext cx="48196" cy="25622"/>
                </a:xfrm>
                <a:custGeom>
                  <a:avLst/>
                  <a:gdLst>
                    <a:gd name="connsiteX0" fmla="*/ 39148 w 48196"/>
                    <a:gd name="connsiteY0" fmla="*/ 0 h 25622"/>
                    <a:gd name="connsiteX1" fmla="*/ 0 w 48196"/>
                    <a:gd name="connsiteY1" fmla="*/ 7525 h 25622"/>
                    <a:gd name="connsiteX2" fmla="*/ 0 w 48196"/>
                    <a:gd name="connsiteY2" fmla="*/ 12002 h 25622"/>
                    <a:gd name="connsiteX3" fmla="*/ 7620 w 48196"/>
                    <a:gd name="connsiteY3" fmla="*/ 25622 h 25622"/>
                    <a:gd name="connsiteX4" fmla="*/ 48197 w 48196"/>
                    <a:gd name="connsiteY4" fmla="*/ 6096 h 25622"/>
                    <a:gd name="connsiteX5" fmla="*/ 48197 w 48196"/>
                    <a:gd name="connsiteY5" fmla="*/ 2953 h 25622"/>
                    <a:gd name="connsiteX6" fmla="*/ 46673 w 48196"/>
                    <a:gd name="connsiteY6" fmla="*/ 95 h 25622"/>
                    <a:gd name="connsiteX7" fmla="*/ 39148 w 48196"/>
                    <a:gd name="connsiteY7" fmla="*/ 95 h 256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8196" h="25622">
                      <a:moveTo>
                        <a:pt x="39148" y="0"/>
                      </a:moveTo>
                      <a:cubicBezTo>
                        <a:pt x="26670" y="4286"/>
                        <a:pt x="6953" y="-2381"/>
                        <a:pt x="0" y="7525"/>
                      </a:cubicBezTo>
                      <a:lnTo>
                        <a:pt x="0" y="12002"/>
                      </a:lnTo>
                      <a:cubicBezTo>
                        <a:pt x="1143" y="19526"/>
                        <a:pt x="3143" y="21622"/>
                        <a:pt x="7620" y="25622"/>
                      </a:cubicBezTo>
                      <a:cubicBezTo>
                        <a:pt x="21146" y="19050"/>
                        <a:pt x="34576" y="12478"/>
                        <a:pt x="48197" y="6096"/>
                      </a:cubicBezTo>
                      <a:lnTo>
                        <a:pt x="48197" y="2953"/>
                      </a:lnTo>
                      <a:lnTo>
                        <a:pt x="46673" y="95"/>
                      </a:lnTo>
                      <a:lnTo>
                        <a:pt x="39148" y="9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15" name="任意多边形: 形状 1114">
                  <a:extLst>
                    <a:ext uri="{FF2B5EF4-FFF2-40B4-BE49-F238E27FC236}">
                      <a16:creationId xmlns:a16="http://schemas.microsoft.com/office/drawing/2014/main" id="{4FE8546E-5EB8-42D3-9EAC-6C8BFCC61201}"/>
                    </a:ext>
                  </a:extLst>
                </p:cNvPr>
                <p:cNvSpPr/>
                <p:nvPr/>
              </p:nvSpPr>
              <p:spPr>
                <a:xfrm>
                  <a:off x="4687506" y="5492426"/>
                  <a:ext cx="73723" cy="37158"/>
                </a:xfrm>
                <a:custGeom>
                  <a:avLst/>
                  <a:gdLst>
                    <a:gd name="connsiteX0" fmla="*/ 7429 w 73723"/>
                    <a:gd name="connsiteY0" fmla="*/ 69 h 37158"/>
                    <a:gd name="connsiteX1" fmla="*/ 0 w 73723"/>
                    <a:gd name="connsiteY1" fmla="*/ 6070 h 37158"/>
                    <a:gd name="connsiteX2" fmla="*/ 0 w 73723"/>
                    <a:gd name="connsiteY2" fmla="*/ 13690 h 37158"/>
                    <a:gd name="connsiteX3" fmla="*/ 69056 w 73723"/>
                    <a:gd name="connsiteY3" fmla="*/ 36264 h 37158"/>
                    <a:gd name="connsiteX4" fmla="*/ 73724 w 73723"/>
                    <a:gd name="connsiteY4" fmla="*/ 31692 h 37158"/>
                    <a:gd name="connsiteX5" fmla="*/ 7429 w 73723"/>
                    <a:gd name="connsiteY5" fmla="*/ 69 h 371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3723" h="37158">
                      <a:moveTo>
                        <a:pt x="7429" y="69"/>
                      </a:moveTo>
                      <a:cubicBezTo>
                        <a:pt x="5048" y="2070"/>
                        <a:pt x="2572" y="4165"/>
                        <a:pt x="0" y="6070"/>
                      </a:cubicBezTo>
                      <a:lnTo>
                        <a:pt x="0" y="13690"/>
                      </a:lnTo>
                      <a:cubicBezTo>
                        <a:pt x="16193" y="20167"/>
                        <a:pt x="49721" y="41789"/>
                        <a:pt x="69056" y="36264"/>
                      </a:cubicBezTo>
                      <a:cubicBezTo>
                        <a:pt x="72200" y="34264"/>
                        <a:pt x="71628" y="34645"/>
                        <a:pt x="73724" y="31692"/>
                      </a:cubicBezTo>
                      <a:cubicBezTo>
                        <a:pt x="69913" y="7880"/>
                        <a:pt x="36195" y="-883"/>
                        <a:pt x="7429" y="6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16" name="任意多边形: 形状 1115">
                  <a:extLst>
                    <a:ext uri="{FF2B5EF4-FFF2-40B4-BE49-F238E27FC236}">
                      <a16:creationId xmlns:a16="http://schemas.microsoft.com/office/drawing/2014/main" id="{1CEFC4B3-0728-4E5C-BFF5-53E55D8F1FE7}"/>
                    </a:ext>
                  </a:extLst>
                </p:cNvPr>
                <p:cNvSpPr/>
                <p:nvPr/>
              </p:nvSpPr>
              <p:spPr>
                <a:xfrm>
                  <a:off x="2306162" y="5518023"/>
                  <a:ext cx="196150" cy="145922"/>
                </a:xfrm>
                <a:custGeom>
                  <a:avLst/>
                  <a:gdLst>
                    <a:gd name="connsiteX0" fmla="*/ 158114 w 196150"/>
                    <a:gd name="connsiteY0" fmla="*/ 0 h 145922"/>
                    <a:gd name="connsiteX1" fmla="*/ 162686 w 196150"/>
                    <a:gd name="connsiteY1" fmla="*/ 0 h 145922"/>
                    <a:gd name="connsiteX2" fmla="*/ 173259 w 196150"/>
                    <a:gd name="connsiteY2" fmla="*/ 27051 h 145922"/>
                    <a:gd name="connsiteX3" fmla="*/ 104012 w 196150"/>
                    <a:gd name="connsiteY3" fmla="*/ 100774 h 145922"/>
                    <a:gd name="connsiteX4" fmla="*/ 106965 w 196150"/>
                    <a:gd name="connsiteY4" fmla="*/ 108299 h 145922"/>
                    <a:gd name="connsiteX5" fmla="*/ 182213 w 196150"/>
                    <a:gd name="connsiteY5" fmla="*/ 75152 h 145922"/>
                    <a:gd name="connsiteX6" fmla="*/ 188213 w 196150"/>
                    <a:gd name="connsiteY6" fmla="*/ 66008 h 145922"/>
                    <a:gd name="connsiteX7" fmla="*/ 195643 w 196150"/>
                    <a:gd name="connsiteY7" fmla="*/ 91630 h 145922"/>
                    <a:gd name="connsiteX8" fmla="*/ 30289 w 196150"/>
                    <a:gd name="connsiteY8" fmla="*/ 145923 h 145922"/>
                    <a:gd name="connsiteX9" fmla="*/ 28765 w 196150"/>
                    <a:gd name="connsiteY9" fmla="*/ 144399 h 145922"/>
                    <a:gd name="connsiteX10" fmla="*/ 28765 w 196150"/>
                    <a:gd name="connsiteY10" fmla="*/ 139827 h 145922"/>
                    <a:gd name="connsiteX11" fmla="*/ 117442 w 196150"/>
                    <a:gd name="connsiteY11" fmla="*/ 40672 h 145922"/>
                    <a:gd name="connsiteX12" fmla="*/ 117442 w 196150"/>
                    <a:gd name="connsiteY12" fmla="*/ 39148 h 145922"/>
                    <a:gd name="connsiteX13" fmla="*/ 9238 w 196150"/>
                    <a:gd name="connsiteY13" fmla="*/ 90297 h 145922"/>
                    <a:gd name="connsiteX14" fmla="*/ 4666 w 196150"/>
                    <a:gd name="connsiteY14" fmla="*/ 84391 h 145922"/>
                    <a:gd name="connsiteX15" fmla="*/ 285 w 196150"/>
                    <a:gd name="connsiteY15" fmla="*/ 64770 h 145922"/>
                    <a:gd name="connsiteX16" fmla="*/ 1714 w 196150"/>
                    <a:gd name="connsiteY16" fmla="*/ 64770 h 145922"/>
                    <a:gd name="connsiteX17" fmla="*/ 158114 w 196150"/>
                    <a:gd name="connsiteY17" fmla="*/ 0 h 145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96150" h="145922">
                      <a:moveTo>
                        <a:pt x="158114" y="0"/>
                      </a:moveTo>
                      <a:lnTo>
                        <a:pt x="162686" y="0"/>
                      </a:lnTo>
                      <a:cubicBezTo>
                        <a:pt x="166401" y="3905"/>
                        <a:pt x="176021" y="18288"/>
                        <a:pt x="173259" y="27051"/>
                      </a:cubicBezTo>
                      <a:cubicBezTo>
                        <a:pt x="150209" y="51625"/>
                        <a:pt x="127158" y="76200"/>
                        <a:pt x="104012" y="100774"/>
                      </a:cubicBezTo>
                      <a:cubicBezTo>
                        <a:pt x="104965" y="106299"/>
                        <a:pt x="104584" y="105346"/>
                        <a:pt x="106965" y="108299"/>
                      </a:cubicBezTo>
                      <a:cubicBezTo>
                        <a:pt x="129158" y="97726"/>
                        <a:pt x="166592" y="92678"/>
                        <a:pt x="182213" y="75152"/>
                      </a:cubicBezTo>
                      <a:cubicBezTo>
                        <a:pt x="184498" y="72580"/>
                        <a:pt x="181641" y="64389"/>
                        <a:pt x="188213" y="66008"/>
                      </a:cubicBezTo>
                      <a:cubicBezTo>
                        <a:pt x="195071" y="68008"/>
                        <a:pt x="197262" y="84963"/>
                        <a:pt x="195643" y="91630"/>
                      </a:cubicBezTo>
                      <a:cubicBezTo>
                        <a:pt x="136397" y="84010"/>
                        <a:pt x="87629" y="136112"/>
                        <a:pt x="30289" y="145923"/>
                      </a:cubicBezTo>
                      <a:cubicBezTo>
                        <a:pt x="29813" y="145351"/>
                        <a:pt x="29241" y="144780"/>
                        <a:pt x="28765" y="144399"/>
                      </a:cubicBezTo>
                      <a:lnTo>
                        <a:pt x="28765" y="139827"/>
                      </a:lnTo>
                      <a:cubicBezTo>
                        <a:pt x="58197" y="106680"/>
                        <a:pt x="87820" y="73723"/>
                        <a:pt x="117442" y="40672"/>
                      </a:cubicBezTo>
                      <a:lnTo>
                        <a:pt x="117442" y="39148"/>
                      </a:lnTo>
                      <a:cubicBezTo>
                        <a:pt x="77914" y="42386"/>
                        <a:pt x="32098" y="67818"/>
                        <a:pt x="9238" y="90297"/>
                      </a:cubicBezTo>
                      <a:cubicBezTo>
                        <a:pt x="7714" y="88297"/>
                        <a:pt x="6286" y="86296"/>
                        <a:pt x="4666" y="84391"/>
                      </a:cubicBezTo>
                      <a:cubicBezTo>
                        <a:pt x="761" y="78391"/>
                        <a:pt x="-667" y="71818"/>
                        <a:pt x="285" y="64770"/>
                      </a:cubicBezTo>
                      <a:lnTo>
                        <a:pt x="1714" y="64770"/>
                      </a:lnTo>
                      <a:cubicBezTo>
                        <a:pt x="26288" y="75628"/>
                        <a:pt x="145732" y="19717"/>
                        <a:pt x="158114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17" name="任意多边形: 形状 1116">
                  <a:extLst>
                    <a:ext uri="{FF2B5EF4-FFF2-40B4-BE49-F238E27FC236}">
                      <a16:creationId xmlns:a16="http://schemas.microsoft.com/office/drawing/2014/main" id="{13A801D6-813E-4016-8A69-4570CE5B2C16}"/>
                    </a:ext>
                  </a:extLst>
                </p:cNvPr>
                <p:cNvSpPr/>
                <p:nvPr/>
              </p:nvSpPr>
              <p:spPr>
                <a:xfrm>
                  <a:off x="4546250" y="5554217"/>
                  <a:ext cx="277844" cy="309657"/>
                </a:xfrm>
                <a:custGeom>
                  <a:avLst/>
                  <a:gdLst>
                    <a:gd name="connsiteX0" fmla="*/ 0 w 277844"/>
                    <a:gd name="connsiteY0" fmla="*/ 214979 h 309657"/>
                    <a:gd name="connsiteX1" fmla="*/ 50959 w 277844"/>
                    <a:gd name="connsiteY1" fmla="*/ 127730 h 309657"/>
                    <a:gd name="connsiteX2" fmla="*/ 54007 w 277844"/>
                    <a:gd name="connsiteY2" fmla="*/ 129159 h 309657"/>
                    <a:gd name="connsiteX3" fmla="*/ 58579 w 277844"/>
                    <a:gd name="connsiteY3" fmla="*/ 142780 h 309657"/>
                    <a:gd name="connsiteX4" fmla="*/ 148685 w 277844"/>
                    <a:gd name="connsiteY4" fmla="*/ 162306 h 309657"/>
                    <a:gd name="connsiteX5" fmla="*/ 85630 w 277844"/>
                    <a:gd name="connsiteY5" fmla="*/ 105156 h 309657"/>
                    <a:gd name="connsiteX6" fmla="*/ 61627 w 277844"/>
                    <a:gd name="connsiteY6" fmla="*/ 102203 h 309657"/>
                    <a:gd name="connsiteX7" fmla="*/ 108204 w 277844"/>
                    <a:gd name="connsiteY7" fmla="*/ 0 h 309657"/>
                    <a:gd name="connsiteX8" fmla="*/ 156210 w 277844"/>
                    <a:gd name="connsiteY8" fmla="*/ 19621 h 309657"/>
                    <a:gd name="connsiteX9" fmla="*/ 153162 w 277844"/>
                    <a:gd name="connsiteY9" fmla="*/ 24098 h 309657"/>
                    <a:gd name="connsiteX10" fmla="*/ 100489 w 277844"/>
                    <a:gd name="connsiteY10" fmla="*/ 39243 h 309657"/>
                    <a:gd name="connsiteX11" fmla="*/ 101917 w 277844"/>
                    <a:gd name="connsiteY11" fmla="*/ 48387 h 309657"/>
                    <a:gd name="connsiteX12" fmla="*/ 163639 w 277844"/>
                    <a:gd name="connsiteY12" fmla="*/ 73724 h 309657"/>
                    <a:gd name="connsiteX13" fmla="*/ 166592 w 277844"/>
                    <a:gd name="connsiteY13" fmla="*/ 66389 h 309657"/>
                    <a:gd name="connsiteX14" fmla="*/ 147066 w 277844"/>
                    <a:gd name="connsiteY14" fmla="*/ 43815 h 309657"/>
                    <a:gd name="connsiteX15" fmla="*/ 148495 w 277844"/>
                    <a:gd name="connsiteY15" fmla="*/ 40862 h 309657"/>
                    <a:gd name="connsiteX16" fmla="*/ 219075 w 277844"/>
                    <a:gd name="connsiteY16" fmla="*/ 73819 h 309657"/>
                    <a:gd name="connsiteX17" fmla="*/ 183071 w 277844"/>
                    <a:gd name="connsiteY17" fmla="*/ 75343 h 309657"/>
                    <a:gd name="connsiteX18" fmla="*/ 181642 w 277844"/>
                    <a:gd name="connsiteY18" fmla="*/ 78391 h 309657"/>
                    <a:gd name="connsiteX19" fmla="*/ 181642 w 277844"/>
                    <a:gd name="connsiteY19" fmla="*/ 81439 h 309657"/>
                    <a:gd name="connsiteX20" fmla="*/ 249269 w 277844"/>
                    <a:gd name="connsiteY20" fmla="*/ 110014 h 309657"/>
                    <a:gd name="connsiteX21" fmla="*/ 256699 w 277844"/>
                    <a:gd name="connsiteY21" fmla="*/ 99441 h 309657"/>
                    <a:gd name="connsiteX22" fmla="*/ 234220 w 277844"/>
                    <a:gd name="connsiteY22" fmla="*/ 51245 h 309657"/>
                    <a:gd name="connsiteX23" fmla="*/ 277844 w 277844"/>
                    <a:gd name="connsiteY23" fmla="*/ 69342 h 309657"/>
                    <a:gd name="connsiteX24" fmla="*/ 246316 w 277844"/>
                    <a:gd name="connsiteY24" fmla="*/ 146018 h 309657"/>
                    <a:gd name="connsiteX25" fmla="*/ 241649 w 277844"/>
                    <a:gd name="connsiteY25" fmla="*/ 147447 h 309657"/>
                    <a:gd name="connsiteX26" fmla="*/ 82391 w 277844"/>
                    <a:gd name="connsiteY26" fmla="*/ 78391 h 309657"/>
                    <a:gd name="connsiteX27" fmla="*/ 79438 w 277844"/>
                    <a:gd name="connsiteY27" fmla="*/ 82772 h 309657"/>
                    <a:gd name="connsiteX28" fmla="*/ 79438 w 277844"/>
                    <a:gd name="connsiteY28" fmla="*/ 88773 h 309657"/>
                    <a:gd name="connsiteX29" fmla="*/ 174117 w 277844"/>
                    <a:gd name="connsiteY29" fmla="*/ 164116 h 309657"/>
                    <a:gd name="connsiteX30" fmla="*/ 220694 w 277844"/>
                    <a:gd name="connsiteY30" fmla="*/ 203073 h 309657"/>
                    <a:gd name="connsiteX31" fmla="*/ 220694 w 277844"/>
                    <a:gd name="connsiteY31" fmla="*/ 209074 h 309657"/>
                    <a:gd name="connsiteX32" fmla="*/ 217741 w 277844"/>
                    <a:gd name="connsiteY32" fmla="*/ 209074 h 309657"/>
                    <a:gd name="connsiteX33" fmla="*/ 192119 w 277844"/>
                    <a:gd name="connsiteY33" fmla="*/ 203073 h 309657"/>
                    <a:gd name="connsiteX34" fmla="*/ 31242 w 277844"/>
                    <a:gd name="connsiteY34" fmla="*/ 172974 h 309657"/>
                    <a:gd name="connsiteX35" fmla="*/ 31242 w 277844"/>
                    <a:gd name="connsiteY35" fmla="*/ 174498 h 309657"/>
                    <a:gd name="connsiteX36" fmla="*/ 31242 w 277844"/>
                    <a:gd name="connsiteY36" fmla="*/ 181928 h 309657"/>
                    <a:gd name="connsiteX37" fmla="*/ 162115 w 277844"/>
                    <a:gd name="connsiteY37" fmla="*/ 267557 h 309657"/>
                    <a:gd name="connsiteX38" fmla="*/ 184785 w 277844"/>
                    <a:gd name="connsiteY38" fmla="*/ 267557 h 309657"/>
                    <a:gd name="connsiteX39" fmla="*/ 184785 w 277844"/>
                    <a:gd name="connsiteY39" fmla="*/ 269081 h 309657"/>
                    <a:gd name="connsiteX40" fmla="*/ 160591 w 277844"/>
                    <a:gd name="connsiteY40" fmla="*/ 309658 h 309657"/>
                    <a:gd name="connsiteX41" fmla="*/ 153067 w 277844"/>
                    <a:gd name="connsiteY41" fmla="*/ 308134 h 309657"/>
                    <a:gd name="connsiteX42" fmla="*/ 0 w 277844"/>
                    <a:gd name="connsiteY42" fmla="*/ 214979 h 3096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</a:cxnLst>
                  <a:rect l="l" t="t" r="r" b="b"/>
                  <a:pathLst>
                    <a:path w="277844" h="309657">
                      <a:moveTo>
                        <a:pt x="0" y="214979"/>
                      </a:moveTo>
                      <a:cubicBezTo>
                        <a:pt x="1238" y="197453"/>
                        <a:pt x="39243" y="137922"/>
                        <a:pt x="50959" y="127730"/>
                      </a:cubicBezTo>
                      <a:lnTo>
                        <a:pt x="54007" y="129159"/>
                      </a:lnTo>
                      <a:cubicBezTo>
                        <a:pt x="55531" y="133731"/>
                        <a:pt x="56959" y="138208"/>
                        <a:pt x="58579" y="142780"/>
                      </a:cubicBezTo>
                      <a:cubicBezTo>
                        <a:pt x="87249" y="150304"/>
                        <a:pt x="115443" y="160306"/>
                        <a:pt x="148685" y="162306"/>
                      </a:cubicBezTo>
                      <a:cubicBezTo>
                        <a:pt x="145732" y="151924"/>
                        <a:pt x="95536" y="109061"/>
                        <a:pt x="85630" y="105156"/>
                      </a:cubicBezTo>
                      <a:cubicBezTo>
                        <a:pt x="73533" y="100584"/>
                        <a:pt x="68675" y="108680"/>
                        <a:pt x="61627" y="102203"/>
                      </a:cubicBezTo>
                      <a:cubicBezTo>
                        <a:pt x="74295" y="70390"/>
                        <a:pt x="87535" y="26194"/>
                        <a:pt x="108204" y="0"/>
                      </a:cubicBezTo>
                      <a:cubicBezTo>
                        <a:pt x="124015" y="667"/>
                        <a:pt x="146495" y="10954"/>
                        <a:pt x="156210" y="19621"/>
                      </a:cubicBezTo>
                      <a:cubicBezTo>
                        <a:pt x="155162" y="21050"/>
                        <a:pt x="154114" y="22670"/>
                        <a:pt x="153162" y="24098"/>
                      </a:cubicBezTo>
                      <a:cubicBezTo>
                        <a:pt x="124492" y="21050"/>
                        <a:pt x="116014" y="13430"/>
                        <a:pt x="100489" y="39243"/>
                      </a:cubicBezTo>
                      <a:cubicBezTo>
                        <a:pt x="100965" y="42291"/>
                        <a:pt x="101441" y="45244"/>
                        <a:pt x="101917" y="48387"/>
                      </a:cubicBezTo>
                      <a:cubicBezTo>
                        <a:pt x="119348" y="57721"/>
                        <a:pt x="141161" y="71247"/>
                        <a:pt x="163639" y="73724"/>
                      </a:cubicBezTo>
                      <a:cubicBezTo>
                        <a:pt x="166021" y="70771"/>
                        <a:pt x="165545" y="71723"/>
                        <a:pt x="166592" y="66389"/>
                      </a:cubicBezTo>
                      <a:cubicBezTo>
                        <a:pt x="161639" y="54388"/>
                        <a:pt x="154400" y="52292"/>
                        <a:pt x="147066" y="43815"/>
                      </a:cubicBezTo>
                      <a:cubicBezTo>
                        <a:pt x="147542" y="42958"/>
                        <a:pt x="148019" y="41815"/>
                        <a:pt x="148495" y="40862"/>
                      </a:cubicBezTo>
                      <a:cubicBezTo>
                        <a:pt x="165163" y="41910"/>
                        <a:pt x="214027" y="60484"/>
                        <a:pt x="219075" y="73819"/>
                      </a:cubicBezTo>
                      <a:cubicBezTo>
                        <a:pt x="205169" y="73247"/>
                        <a:pt x="194786" y="72676"/>
                        <a:pt x="183071" y="75343"/>
                      </a:cubicBezTo>
                      <a:cubicBezTo>
                        <a:pt x="182594" y="76391"/>
                        <a:pt x="182118" y="77438"/>
                        <a:pt x="181642" y="78391"/>
                      </a:cubicBezTo>
                      <a:lnTo>
                        <a:pt x="181642" y="81439"/>
                      </a:lnTo>
                      <a:cubicBezTo>
                        <a:pt x="199834" y="93440"/>
                        <a:pt x="223742" y="106299"/>
                        <a:pt x="249269" y="110014"/>
                      </a:cubicBezTo>
                      <a:cubicBezTo>
                        <a:pt x="251841" y="106394"/>
                        <a:pt x="254222" y="102870"/>
                        <a:pt x="256699" y="99441"/>
                      </a:cubicBezTo>
                      <a:cubicBezTo>
                        <a:pt x="268129" y="77533"/>
                        <a:pt x="241935" y="64294"/>
                        <a:pt x="234220" y="51245"/>
                      </a:cubicBezTo>
                      <a:cubicBezTo>
                        <a:pt x="242792" y="45625"/>
                        <a:pt x="270796" y="62008"/>
                        <a:pt x="277844" y="69342"/>
                      </a:cubicBezTo>
                      <a:cubicBezTo>
                        <a:pt x="277844" y="86773"/>
                        <a:pt x="255937" y="139256"/>
                        <a:pt x="246316" y="146018"/>
                      </a:cubicBezTo>
                      <a:cubicBezTo>
                        <a:pt x="244792" y="146495"/>
                        <a:pt x="243364" y="146971"/>
                        <a:pt x="241649" y="147447"/>
                      </a:cubicBezTo>
                      <a:cubicBezTo>
                        <a:pt x="232696" y="130969"/>
                        <a:pt x="100870" y="70485"/>
                        <a:pt x="82391" y="78391"/>
                      </a:cubicBezTo>
                      <a:cubicBezTo>
                        <a:pt x="81344" y="79820"/>
                        <a:pt x="80391" y="81439"/>
                        <a:pt x="79438" y="82772"/>
                      </a:cubicBezTo>
                      <a:lnTo>
                        <a:pt x="79438" y="88773"/>
                      </a:lnTo>
                      <a:cubicBezTo>
                        <a:pt x="110585" y="114014"/>
                        <a:pt x="141541" y="139541"/>
                        <a:pt x="174117" y="164116"/>
                      </a:cubicBezTo>
                      <a:cubicBezTo>
                        <a:pt x="189643" y="177165"/>
                        <a:pt x="205169" y="190119"/>
                        <a:pt x="220694" y="203073"/>
                      </a:cubicBezTo>
                      <a:lnTo>
                        <a:pt x="220694" y="209074"/>
                      </a:lnTo>
                      <a:lnTo>
                        <a:pt x="217741" y="209074"/>
                      </a:lnTo>
                      <a:cubicBezTo>
                        <a:pt x="209264" y="211455"/>
                        <a:pt x="201739" y="204978"/>
                        <a:pt x="192119" y="203073"/>
                      </a:cubicBezTo>
                      <a:cubicBezTo>
                        <a:pt x="151829" y="195263"/>
                        <a:pt x="68199" y="161449"/>
                        <a:pt x="31242" y="172974"/>
                      </a:cubicBezTo>
                      <a:lnTo>
                        <a:pt x="31242" y="174498"/>
                      </a:lnTo>
                      <a:lnTo>
                        <a:pt x="31242" y="181928"/>
                      </a:lnTo>
                      <a:cubicBezTo>
                        <a:pt x="35147" y="193834"/>
                        <a:pt x="145828" y="263366"/>
                        <a:pt x="162115" y="267557"/>
                      </a:cubicBezTo>
                      <a:lnTo>
                        <a:pt x="184785" y="267557"/>
                      </a:lnTo>
                      <a:lnTo>
                        <a:pt x="184785" y="269081"/>
                      </a:lnTo>
                      <a:cubicBezTo>
                        <a:pt x="182689" y="283083"/>
                        <a:pt x="169545" y="301562"/>
                        <a:pt x="160591" y="309658"/>
                      </a:cubicBezTo>
                      <a:cubicBezTo>
                        <a:pt x="158115" y="309182"/>
                        <a:pt x="155638" y="308705"/>
                        <a:pt x="153067" y="308134"/>
                      </a:cubicBezTo>
                      <a:cubicBezTo>
                        <a:pt x="151543" y="283464"/>
                        <a:pt x="26765" y="213170"/>
                        <a:pt x="0" y="214979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18" name="任意多边形: 形状 1117">
                  <a:extLst>
                    <a:ext uri="{FF2B5EF4-FFF2-40B4-BE49-F238E27FC236}">
                      <a16:creationId xmlns:a16="http://schemas.microsoft.com/office/drawing/2014/main" id="{68C87D89-D49D-49A5-BC0D-DB28BBE62D45}"/>
                    </a:ext>
                  </a:extLst>
                </p:cNvPr>
                <p:cNvSpPr/>
                <p:nvPr/>
              </p:nvSpPr>
              <p:spPr>
                <a:xfrm>
                  <a:off x="2366549" y="5692235"/>
                  <a:ext cx="180593" cy="126396"/>
                </a:xfrm>
                <a:custGeom>
                  <a:avLst/>
                  <a:gdLst>
                    <a:gd name="connsiteX0" fmla="*/ 162401 w 180593"/>
                    <a:gd name="connsiteY0" fmla="*/ 94 h 126396"/>
                    <a:gd name="connsiteX1" fmla="*/ 180594 w 180593"/>
                    <a:gd name="connsiteY1" fmla="*/ 3143 h 126396"/>
                    <a:gd name="connsiteX2" fmla="*/ 46672 w 180593"/>
                    <a:gd name="connsiteY2" fmla="*/ 126396 h 126396"/>
                    <a:gd name="connsiteX3" fmla="*/ 37624 w 180593"/>
                    <a:gd name="connsiteY3" fmla="*/ 123443 h 126396"/>
                    <a:gd name="connsiteX4" fmla="*/ 27051 w 180593"/>
                    <a:gd name="connsiteY4" fmla="*/ 85915 h 126396"/>
                    <a:gd name="connsiteX5" fmla="*/ 66294 w 180593"/>
                    <a:gd name="connsiteY5" fmla="*/ 66293 h 126396"/>
                    <a:gd name="connsiteX6" fmla="*/ 55626 w 180593"/>
                    <a:gd name="connsiteY6" fmla="*/ 40576 h 126396"/>
                    <a:gd name="connsiteX7" fmla="*/ 7620 w 180593"/>
                    <a:gd name="connsiteY7" fmla="*/ 57244 h 126396"/>
                    <a:gd name="connsiteX8" fmla="*/ 0 w 180593"/>
                    <a:gd name="connsiteY8" fmla="*/ 40576 h 126396"/>
                    <a:gd name="connsiteX9" fmla="*/ 2953 w 180593"/>
                    <a:gd name="connsiteY9" fmla="*/ 37623 h 126396"/>
                    <a:gd name="connsiteX10" fmla="*/ 162401 w 180593"/>
                    <a:gd name="connsiteY10" fmla="*/ 94 h 126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80593" h="126396">
                      <a:moveTo>
                        <a:pt x="162401" y="94"/>
                      </a:moveTo>
                      <a:cubicBezTo>
                        <a:pt x="170402" y="-191"/>
                        <a:pt x="176498" y="-1"/>
                        <a:pt x="180594" y="3143"/>
                      </a:cubicBezTo>
                      <a:cubicBezTo>
                        <a:pt x="144018" y="47910"/>
                        <a:pt x="73247" y="73628"/>
                        <a:pt x="46672" y="126396"/>
                      </a:cubicBezTo>
                      <a:cubicBezTo>
                        <a:pt x="43720" y="125348"/>
                        <a:pt x="40672" y="124491"/>
                        <a:pt x="37624" y="123443"/>
                      </a:cubicBezTo>
                      <a:cubicBezTo>
                        <a:pt x="34576" y="111442"/>
                        <a:pt x="20574" y="96011"/>
                        <a:pt x="27051" y="85915"/>
                      </a:cubicBezTo>
                      <a:cubicBezTo>
                        <a:pt x="44387" y="93535"/>
                        <a:pt x="59722" y="78866"/>
                        <a:pt x="66294" y="66293"/>
                      </a:cubicBezTo>
                      <a:cubicBezTo>
                        <a:pt x="65056" y="54863"/>
                        <a:pt x="60484" y="48291"/>
                        <a:pt x="55626" y="40576"/>
                      </a:cubicBezTo>
                      <a:cubicBezTo>
                        <a:pt x="27242" y="40100"/>
                        <a:pt x="25051" y="51625"/>
                        <a:pt x="7620" y="57244"/>
                      </a:cubicBezTo>
                      <a:cubicBezTo>
                        <a:pt x="5144" y="51625"/>
                        <a:pt x="2572" y="46196"/>
                        <a:pt x="0" y="40576"/>
                      </a:cubicBezTo>
                      <a:cubicBezTo>
                        <a:pt x="857" y="39719"/>
                        <a:pt x="2095" y="38766"/>
                        <a:pt x="2953" y="37623"/>
                      </a:cubicBezTo>
                      <a:cubicBezTo>
                        <a:pt x="28956" y="38194"/>
                        <a:pt x="148019" y="10286"/>
                        <a:pt x="162401" y="94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19" name="任意多边形: 形状 1118">
                  <a:extLst>
                    <a:ext uri="{FF2B5EF4-FFF2-40B4-BE49-F238E27FC236}">
                      <a16:creationId xmlns:a16="http://schemas.microsoft.com/office/drawing/2014/main" id="{E50FB67B-1EB6-4517-AEE6-BFB4939518B9}"/>
                    </a:ext>
                  </a:extLst>
                </p:cNvPr>
                <p:cNvSpPr/>
                <p:nvPr/>
              </p:nvSpPr>
              <p:spPr>
                <a:xfrm>
                  <a:off x="2434272" y="5713475"/>
                  <a:ext cx="48196" cy="34385"/>
                </a:xfrm>
                <a:custGeom>
                  <a:avLst/>
                  <a:gdLst>
                    <a:gd name="connsiteX0" fmla="*/ 42196 w 48196"/>
                    <a:gd name="connsiteY0" fmla="*/ 0 h 34385"/>
                    <a:gd name="connsiteX1" fmla="*/ 1619 w 48196"/>
                    <a:gd name="connsiteY1" fmla="*/ 12002 h 34385"/>
                    <a:gd name="connsiteX2" fmla="*/ 0 w 48196"/>
                    <a:gd name="connsiteY2" fmla="*/ 14954 h 34385"/>
                    <a:gd name="connsiteX3" fmla="*/ 12097 w 48196"/>
                    <a:gd name="connsiteY3" fmla="*/ 34385 h 34385"/>
                    <a:gd name="connsiteX4" fmla="*/ 16669 w 48196"/>
                    <a:gd name="connsiteY4" fmla="*/ 32957 h 34385"/>
                    <a:gd name="connsiteX5" fmla="*/ 48196 w 48196"/>
                    <a:gd name="connsiteY5" fmla="*/ 2953 h 34385"/>
                    <a:gd name="connsiteX6" fmla="*/ 42196 w 48196"/>
                    <a:gd name="connsiteY6" fmla="*/ 0 h 343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8196" h="34385">
                      <a:moveTo>
                        <a:pt x="42196" y="0"/>
                      </a:moveTo>
                      <a:cubicBezTo>
                        <a:pt x="28480" y="4000"/>
                        <a:pt x="14954" y="7906"/>
                        <a:pt x="1619" y="12002"/>
                      </a:cubicBezTo>
                      <a:cubicBezTo>
                        <a:pt x="1143" y="12954"/>
                        <a:pt x="571" y="13907"/>
                        <a:pt x="0" y="14954"/>
                      </a:cubicBezTo>
                      <a:cubicBezTo>
                        <a:pt x="3238" y="23336"/>
                        <a:pt x="6572" y="28670"/>
                        <a:pt x="12097" y="34385"/>
                      </a:cubicBezTo>
                      <a:cubicBezTo>
                        <a:pt x="13621" y="33909"/>
                        <a:pt x="15050" y="33433"/>
                        <a:pt x="16669" y="32957"/>
                      </a:cubicBezTo>
                      <a:cubicBezTo>
                        <a:pt x="27051" y="22860"/>
                        <a:pt x="37624" y="12954"/>
                        <a:pt x="48196" y="2953"/>
                      </a:cubicBezTo>
                      <a:cubicBezTo>
                        <a:pt x="46101" y="1905"/>
                        <a:pt x="44196" y="953"/>
                        <a:pt x="4219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20" name="任意多边形: 形状 1119">
                  <a:extLst>
                    <a:ext uri="{FF2B5EF4-FFF2-40B4-BE49-F238E27FC236}">
                      <a16:creationId xmlns:a16="http://schemas.microsoft.com/office/drawing/2014/main" id="{6A7721DD-0CA7-490C-95C4-797C6499FA4B}"/>
                    </a:ext>
                  </a:extLst>
                </p:cNvPr>
                <p:cNvSpPr/>
                <p:nvPr/>
              </p:nvSpPr>
              <p:spPr>
                <a:xfrm>
                  <a:off x="2436953" y="5765986"/>
                  <a:ext cx="180866" cy="144706"/>
                </a:xfrm>
                <a:custGeom>
                  <a:avLst/>
                  <a:gdLst>
                    <a:gd name="connsiteX0" fmla="*/ 108667 w 180866"/>
                    <a:gd name="connsiteY0" fmla="*/ 67 h 144706"/>
                    <a:gd name="connsiteX1" fmla="*/ 164293 w 180866"/>
                    <a:gd name="connsiteY1" fmla="*/ 18165 h 144706"/>
                    <a:gd name="connsiteX2" fmla="*/ 180866 w 180866"/>
                    <a:gd name="connsiteY2" fmla="*/ 52645 h 144706"/>
                    <a:gd name="connsiteX3" fmla="*/ 177913 w 180866"/>
                    <a:gd name="connsiteY3" fmla="*/ 57217 h 144706"/>
                    <a:gd name="connsiteX4" fmla="*/ 138766 w 180866"/>
                    <a:gd name="connsiteY4" fmla="*/ 81220 h 144706"/>
                    <a:gd name="connsiteX5" fmla="*/ 137242 w 180866"/>
                    <a:gd name="connsiteY5" fmla="*/ 78267 h 144706"/>
                    <a:gd name="connsiteX6" fmla="*/ 158197 w 180866"/>
                    <a:gd name="connsiteY6" fmla="*/ 25594 h 144706"/>
                    <a:gd name="connsiteX7" fmla="*/ 149243 w 180866"/>
                    <a:gd name="connsiteY7" fmla="*/ 18165 h 144706"/>
                    <a:gd name="connsiteX8" fmla="*/ 7892 w 180866"/>
                    <a:gd name="connsiteY8" fmla="*/ 114272 h 144706"/>
                    <a:gd name="connsiteX9" fmla="*/ 21322 w 180866"/>
                    <a:gd name="connsiteY9" fmla="*/ 126369 h 144706"/>
                    <a:gd name="connsiteX10" fmla="*/ 73900 w 180866"/>
                    <a:gd name="connsiteY10" fmla="*/ 87126 h 144706"/>
                    <a:gd name="connsiteX11" fmla="*/ 76948 w 180866"/>
                    <a:gd name="connsiteY11" fmla="*/ 88840 h 144706"/>
                    <a:gd name="connsiteX12" fmla="*/ 95046 w 180866"/>
                    <a:gd name="connsiteY12" fmla="*/ 124749 h 144706"/>
                    <a:gd name="connsiteX13" fmla="*/ 25799 w 180866"/>
                    <a:gd name="connsiteY13" fmla="*/ 144276 h 144706"/>
                    <a:gd name="connsiteX14" fmla="*/ 49897 w 180866"/>
                    <a:gd name="connsiteY14" fmla="*/ 24070 h 144706"/>
                    <a:gd name="connsiteX15" fmla="*/ 108667 w 180866"/>
                    <a:gd name="connsiteY15" fmla="*/ 67 h 1447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80866" h="144706">
                      <a:moveTo>
                        <a:pt x="108667" y="67"/>
                      </a:moveTo>
                      <a:cubicBezTo>
                        <a:pt x="138575" y="-790"/>
                        <a:pt x="148291" y="6639"/>
                        <a:pt x="164293" y="18165"/>
                      </a:cubicBezTo>
                      <a:cubicBezTo>
                        <a:pt x="164864" y="39786"/>
                        <a:pt x="167531" y="42358"/>
                        <a:pt x="180866" y="52645"/>
                      </a:cubicBezTo>
                      <a:cubicBezTo>
                        <a:pt x="179818" y="54169"/>
                        <a:pt x="178771" y="55598"/>
                        <a:pt x="177913" y="57217"/>
                      </a:cubicBezTo>
                      <a:cubicBezTo>
                        <a:pt x="164864" y="65313"/>
                        <a:pt x="151910" y="73219"/>
                        <a:pt x="138766" y="81220"/>
                      </a:cubicBezTo>
                      <a:cubicBezTo>
                        <a:pt x="138194" y="80268"/>
                        <a:pt x="137718" y="79315"/>
                        <a:pt x="137242" y="78267"/>
                      </a:cubicBezTo>
                      <a:cubicBezTo>
                        <a:pt x="143909" y="59217"/>
                        <a:pt x="156292" y="51502"/>
                        <a:pt x="158197" y="25594"/>
                      </a:cubicBezTo>
                      <a:cubicBezTo>
                        <a:pt x="155244" y="23118"/>
                        <a:pt x="152196" y="20736"/>
                        <a:pt x="149243" y="18165"/>
                      </a:cubicBezTo>
                      <a:cubicBezTo>
                        <a:pt x="114477" y="1401"/>
                        <a:pt x="9321" y="82173"/>
                        <a:pt x="7892" y="114272"/>
                      </a:cubicBezTo>
                      <a:cubicBezTo>
                        <a:pt x="11512" y="120558"/>
                        <a:pt x="14941" y="122940"/>
                        <a:pt x="21322" y="126369"/>
                      </a:cubicBezTo>
                      <a:cubicBezTo>
                        <a:pt x="47230" y="119892"/>
                        <a:pt x="60184" y="105795"/>
                        <a:pt x="73900" y="87126"/>
                      </a:cubicBezTo>
                      <a:cubicBezTo>
                        <a:pt x="75043" y="87697"/>
                        <a:pt x="75901" y="88269"/>
                        <a:pt x="76948" y="88840"/>
                      </a:cubicBezTo>
                      <a:cubicBezTo>
                        <a:pt x="82187" y="102651"/>
                        <a:pt x="93141" y="107414"/>
                        <a:pt x="95046" y="124749"/>
                      </a:cubicBezTo>
                      <a:cubicBezTo>
                        <a:pt x="64756" y="119320"/>
                        <a:pt x="55327" y="148562"/>
                        <a:pt x="25799" y="144276"/>
                      </a:cubicBezTo>
                      <a:cubicBezTo>
                        <a:pt x="-27350" y="107223"/>
                        <a:pt x="12178" y="49311"/>
                        <a:pt x="49897" y="24070"/>
                      </a:cubicBezTo>
                      <a:cubicBezTo>
                        <a:pt x="69519" y="16069"/>
                        <a:pt x="89045" y="8068"/>
                        <a:pt x="108667" y="67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21" name="任意多边形: 形状 1120">
                  <a:extLst>
                    <a:ext uri="{FF2B5EF4-FFF2-40B4-BE49-F238E27FC236}">
                      <a16:creationId xmlns:a16="http://schemas.microsoft.com/office/drawing/2014/main" id="{A9FAE0D3-E119-4F5F-9E9E-BEBBAF31E65B}"/>
                    </a:ext>
                  </a:extLst>
                </p:cNvPr>
                <p:cNvSpPr/>
                <p:nvPr/>
              </p:nvSpPr>
              <p:spPr>
                <a:xfrm>
                  <a:off x="4418425" y="5773578"/>
                  <a:ext cx="272033" cy="253057"/>
                </a:xfrm>
                <a:custGeom>
                  <a:avLst/>
                  <a:gdLst>
                    <a:gd name="connsiteX0" fmla="*/ 118777 w 272033"/>
                    <a:gd name="connsiteY0" fmla="*/ 0 h 253057"/>
                    <a:gd name="connsiteX1" fmla="*/ 126206 w 272033"/>
                    <a:gd name="connsiteY1" fmla="*/ 3048 h 253057"/>
                    <a:gd name="connsiteX2" fmla="*/ 272034 w 272033"/>
                    <a:gd name="connsiteY2" fmla="*/ 114300 h 253057"/>
                    <a:gd name="connsiteX3" fmla="*/ 272034 w 272033"/>
                    <a:gd name="connsiteY3" fmla="*/ 118872 h 253057"/>
                    <a:gd name="connsiteX4" fmla="*/ 270415 w 272033"/>
                    <a:gd name="connsiteY4" fmla="*/ 121825 h 253057"/>
                    <a:gd name="connsiteX5" fmla="*/ 129159 w 272033"/>
                    <a:gd name="connsiteY5" fmla="*/ 99346 h 253057"/>
                    <a:gd name="connsiteX6" fmla="*/ 127730 w 272033"/>
                    <a:gd name="connsiteY6" fmla="*/ 100775 h 253057"/>
                    <a:gd name="connsiteX7" fmla="*/ 127730 w 272033"/>
                    <a:gd name="connsiteY7" fmla="*/ 102299 h 253057"/>
                    <a:gd name="connsiteX8" fmla="*/ 205740 w 272033"/>
                    <a:gd name="connsiteY8" fmla="*/ 159258 h 253057"/>
                    <a:gd name="connsiteX9" fmla="*/ 234315 w 272033"/>
                    <a:gd name="connsiteY9" fmla="*/ 165354 h 253057"/>
                    <a:gd name="connsiteX10" fmla="*/ 219361 w 272033"/>
                    <a:gd name="connsiteY10" fmla="*/ 187928 h 253057"/>
                    <a:gd name="connsiteX11" fmla="*/ 198406 w 272033"/>
                    <a:gd name="connsiteY11" fmla="*/ 162401 h 253057"/>
                    <a:gd name="connsiteX12" fmla="*/ 70485 w 272033"/>
                    <a:gd name="connsiteY12" fmla="*/ 91726 h 253057"/>
                    <a:gd name="connsiteX13" fmla="*/ 70485 w 272033"/>
                    <a:gd name="connsiteY13" fmla="*/ 93250 h 253057"/>
                    <a:gd name="connsiteX14" fmla="*/ 178784 w 272033"/>
                    <a:gd name="connsiteY14" fmla="*/ 190976 h 253057"/>
                    <a:gd name="connsiteX15" fmla="*/ 168307 w 272033"/>
                    <a:gd name="connsiteY15" fmla="*/ 251174 h 253057"/>
                    <a:gd name="connsiteX16" fmla="*/ 38957 w 272033"/>
                    <a:gd name="connsiteY16" fmla="*/ 178975 h 253057"/>
                    <a:gd name="connsiteX17" fmla="*/ 0 w 272033"/>
                    <a:gd name="connsiteY17" fmla="*/ 156401 h 253057"/>
                    <a:gd name="connsiteX18" fmla="*/ 31528 w 272033"/>
                    <a:gd name="connsiteY18" fmla="*/ 123349 h 253057"/>
                    <a:gd name="connsiteX19" fmla="*/ 34576 w 272033"/>
                    <a:gd name="connsiteY19" fmla="*/ 124873 h 253057"/>
                    <a:gd name="connsiteX20" fmla="*/ 159258 w 272033"/>
                    <a:gd name="connsiteY20" fmla="*/ 233077 h 253057"/>
                    <a:gd name="connsiteX21" fmla="*/ 177451 w 272033"/>
                    <a:gd name="connsiteY21" fmla="*/ 224028 h 253057"/>
                    <a:gd name="connsiteX22" fmla="*/ 45053 w 272033"/>
                    <a:gd name="connsiteY22" fmla="*/ 108299 h 253057"/>
                    <a:gd name="connsiteX23" fmla="*/ 46577 w 272033"/>
                    <a:gd name="connsiteY23" fmla="*/ 102299 h 253057"/>
                    <a:gd name="connsiteX24" fmla="*/ 81153 w 272033"/>
                    <a:gd name="connsiteY24" fmla="*/ 60198 h 253057"/>
                    <a:gd name="connsiteX25" fmla="*/ 189452 w 272033"/>
                    <a:gd name="connsiteY25" fmla="*/ 76676 h 253057"/>
                    <a:gd name="connsiteX26" fmla="*/ 189452 w 272033"/>
                    <a:gd name="connsiteY26" fmla="*/ 73628 h 253057"/>
                    <a:gd name="connsiteX27" fmla="*/ 103632 w 272033"/>
                    <a:gd name="connsiteY27" fmla="*/ 28575 h 253057"/>
                    <a:gd name="connsiteX28" fmla="*/ 103632 w 272033"/>
                    <a:gd name="connsiteY28" fmla="*/ 24003 h 253057"/>
                    <a:gd name="connsiteX29" fmla="*/ 118777 w 272033"/>
                    <a:gd name="connsiteY29" fmla="*/ 0 h 253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272033" h="253057">
                      <a:moveTo>
                        <a:pt x="118777" y="0"/>
                      </a:moveTo>
                      <a:cubicBezTo>
                        <a:pt x="121158" y="857"/>
                        <a:pt x="123730" y="2000"/>
                        <a:pt x="126206" y="3048"/>
                      </a:cubicBezTo>
                      <a:cubicBezTo>
                        <a:pt x="127730" y="21812"/>
                        <a:pt x="250698" y="108776"/>
                        <a:pt x="272034" y="114300"/>
                      </a:cubicBezTo>
                      <a:lnTo>
                        <a:pt x="272034" y="118872"/>
                      </a:lnTo>
                      <a:cubicBezTo>
                        <a:pt x="271558" y="119825"/>
                        <a:pt x="271177" y="120777"/>
                        <a:pt x="270415" y="121825"/>
                      </a:cubicBezTo>
                      <a:cubicBezTo>
                        <a:pt x="223361" y="114300"/>
                        <a:pt x="176308" y="106680"/>
                        <a:pt x="129159" y="99346"/>
                      </a:cubicBezTo>
                      <a:lnTo>
                        <a:pt x="127730" y="100775"/>
                      </a:lnTo>
                      <a:lnTo>
                        <a:pt x="127730" y="102299"/>
                      </a:lnTo>
                      <a:cubicBezTo>
                        <a:pt x="153829" y="121349"/>
                        <a:pt x="179642" y="140399"/>
                        <a:pt x="205740" y="159258"/>
                      </a:cubicBezTo>
                      <a:cubicBezTo>
                        <a:pt x="215360" y="161354"/>
                        <a:pt x="224885" y="163449"/>
                        <a:pt x="234315" y="165354"/>
                      </a:cubicBezTo>
                      <a:cubicBezTo>
                        <a:pt x="232124" y="179165"/>
                        <a:pt x="224790" y="178784"/>
                        <a:pt x="219361" y="187928"/>
                      </a:cubicBezTo>
                      <a:cubicBezTo>
                        <a:pt x="209169" y="183642"/>
                        <a:pt x="207645" y="168402"/>
                        <a:pt x="198406" y="162401"/>
                      </a:cubicBezTo>
                      <a:cubicBezTo>
                        <a:pt x="175832" y="148304"/>
                        <a:pt x="96965" y="85439"/>
                        <a:pt x="70485" y="91726"/>
                      </a:cubicBezTo>
                      <a:lnTo>
                        <a:pt x="70485" y="93250"/>
                      </a:lnTo>
                      <a:cubicBezTo>
                        <a:pt x="81534" y="127254"/>
                        <a:pt x="155638" y="160972"/>
                        <a:pt x="178784" y="190976"/>
                      </a:cubicBezTo>
                      <a:cubicBezTo>
                        <a:pt x="193358" y="209836"/>
                        <a:pt x="192024" y="242888"/>
                        <a:pt x="168307" y="251174"/>
                      </a:cubicBezTo>
                      <a:cubicBezTo>
                        <a:pt x="119063" y="265081"/>
                        <a:pt x="67437" y="198025"/>
                        <a:pt x="38957" y="178975"/>
                      </a:cubicBezTo>
                      <a:cubicBezTo>
                        <a:pt x="30290" y="173069"/>
                        <a:pt x="4382" y="165830"/>
                        <a:pt x="0" y="156401"/>
                      </a:cubicBezTo>
                      <a:cubicBezTo>
                        <a:pt x="10859" y="147447"/>
                        <a:pt x="21622" y="133636"/>
                        <a:pt x="31528" y="123349"/>
                      </a:cubicBezTo>
                      <a:cubicBezTo>
                        <a:pt x="32480" y="123825"/>
                        <a:pt x="33433" y="124301"/>
                        <a:pt x="34576" y="124873"/>
                      </a:cubicBezTo>
                      <a:cubicBezTo>
                        <a:pt x="32290" y="157258"/>
                        <a:pt x="129921" y="218789"/>
                        <a:pt x="159258" y="233077"/>
                      </a:cubicBezTo>
                      <a:cubicBezTo>
                        <a:pt x="165259" y="230219"/>
                        <a:pt x="171260" y="227076"/>
                        <a:pt x="177451" y="224028"/>
                      </a:cubicBezTo>
                      <a:cubicBezTo>
                        <a:pt x="179642" y="186404"/>
                        <a:pt x="80105" y="112395"/>
                        <a:pt x="45053" y="108299"/>
                      </a:cubicBezTo>
                      <a:cubicBezTo>
                        <a:pt x="45625" y="106204"/>
                        <a:pt x="46196" y="104394"/>
                        <a:pt x="46577" y="102299"/>
                      </a:cubicBezTo>
                      <a:cubicBezTo>
                        <a:pt x="58103" y="88202"/>
                        <a:pt x="69628" y="74200"/>
                        <a:pt x="81153" y="60198"/>
                      </a:cubicBezTo>
                      <a:cubicBezTo>
                        <a:pt x="117158" y="65627"/>
                        <a:pt x="153257" y="71247"/>
                        <a:pt x="189452" y="76676"/>
                      </a:cubicBezTo>
                      <a:lnTo>
                        <a:pt x="189452" y="73628"/>
                      </a:lnTo>
                      <a:cubicBezTo>
                        <a:pt x="158496" y="58769"/>
                        <a:pt x="147638" y="27623"/>
                        <a:pt x="103632" y="28575"/>
                      </a:cubicBezTo>
                      <a:lnTo>
                        <a:pt x="103632" y="24003"/>
                      </a:lnTo>
                      <a:lnTo>
                        <a:pt x="118777" y="0"/>
                      </a:ln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22" name="任意多边形: 形状 1121">
                  <a:extLst>
                    <a:ext uri="{FF2B5EF4-FFF2-40B4-BE49-F238E27FC236}">
                      <a16:creationId xmlns:a16="http://schemas.microsoft.com/office/drawing/2014/main" id="{17691216-8C04-40BC-B934-3A9E882950FB}"/>
                    </a:ext>
                  </a:extLst>
                </p:cNvPr>
                <p:cNvSpPr/>
                <p:nvPr/>
              </p:nvSpPr>
              <p:spPr>
                <a:xfrm>
                  <a:off x="2483993" y="5839777"/>
                  <a:ext cx="177240" cy="184880"/>
                </a:xfrm>
                <a:custGeom>
                  <a:avLst/>
                  <a:gdLst>
                    <a:gd name="connsiteX0" fmla="*/ 141161 w 177240"/>
                    <a:gd name="connsiteY0" fmla="*/ 0 h 184880"/>
                    <a:gd name="connsiteX1" fmla="*/ 151733 w 177240"/>
                    <a:gd name="connsiteY1" fmla="*/ 103632 h 184880"/>
                    <a:gd name="connsiteX2" fmla="*/ 100489 w 177240"/>
                    <a:gd name="connsiteY2" fmla="*/ 115633 h 184880"/>
                    <a:gd name="connsiteX3" fmla="*/ 61531 w 177240"/>
                    <a:gd name="connsiteY3" fmla="*/ 184880 h 184880"/>
                    <a:gd name="connsiteX4" fmla="*/ 52483 w 177240"/>
                    <a:gd name="connsiteY4" fmla="*/ 178879 h 184880"/>
                    <a:gd name="connsiteX5" fmla="*/ 42005 w 177240"/>
                    <a:gd name="connsiteY5" fmla="*/ 166878 h 184880"/>
                    <a:gd name="connsiteX6" fmla="*/ 78105 w 177240"/>
                    <a:gd name="connsiteY6" fmla="*/ 100679 h 184880"/>
                    <a:gd name="connsiteX7" fmla="*/ 75152 w 177240"/>
                    <a:gd name="connsiteY7" fmla="*/ 97631 h 184880"/>
                    <a:gd name="connsiteX8" fmla="*/ 28575 w 177240"/>
                    <a:gd name="connsiteY8" fmla="*/ 139732 h 184880"/>
                    <a:gd name="connsiteX9" fmla="*/ 22574 w 177240"/>
                    <a:gd name="connsiteY9" fmla="*/ 139732 h 184880"/>
                    <a:gd name="connsiteX10" fmla="*/ 0 w 177240"/>
                    <a:gd name="connsiteY10" fmla="*/ 105156 h 184880"/>
                    <a:gd name="connsiteX11" fmla="*/ 141161 w 177240"/>
                    <a:gd name="connsiteY11" fmla="*/ 0 h 1848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77240" h="184880">
                      <a:moveTo>
                        <a:pt x="141161" y="0"/>
                      </a:moveTo>
                      <a:cubicBezTo>
                        <a:pt x="181642" y="12859"/>
                        <a:pt x="192024" y="83439"/>
                        <a:pt x="151733" y="103632"/>
                      </a:cubicBezTo>
                      <a:cubicBezTo>
                        <a:pt x="136874" y="111062"/>
                        <a:pt x="112871" y="107537"/>
                        <a:pt x="100489" y="115633"/>
                      </a:cubicBezTo>
                      <a:cubicBezTo>
                        <a:pt x="90773" y="140208"/>
                        <a:pt x="68390" y="157258"/>
                        <a:pt x="61531" y="184880"/>
                      </a:cubicBezTo>
                      <a:cubicBezTo>
                        <a:pt x="53340" y="184023"/>
                        <a:pt x="54864" y="185356"/>
                        <a:pt x="52483" y="178879"/>
                      </a:cubicBezTo>
                      <a:cubicBezTo>
                        <a:pt x="47530" y="175927"/>
                        <a:pt x="45148" y="171450"/>
                        <a:pt x="42005" y="166878"/>
                      </a:cubicBezTo>
                      <a:cubicBezTo>
                        <a:pt x="44482" y="140875"/>
                        <a:pt x="66199" y="120205"/>
                        <a:pt x="78105" y="100679"/>
                      </a:cubicBezTo>
                      <a:cubicBezTo>
                        <a:pt x="77057" y="99727"/>
                        <a:pt x="76105" y="98584"/>
                        <a:pt x="75152" y="97631"/>
                      </a:cubicBezTo>
                      <a:cubicBezTo>
                        <a:pt x="56293" y="105442"/>
                        <a:pt x="35242" y="119063"/>
                        <a:pt x="28575" y="139732"/>
                      </a:cubicBezTo>
                      <a:lnTo>
                        <a:pt x="22574" y="139732"/>
                      </a:lnTo>
                      <a:cubicBezTo>
                        <a:pt x="14192" y="130873"/>
                        <a:pt x="3238" y="118396"/>
                        <a:pt x="0" y="105156"/>
                      </a:cubicBezTo>
                      <a:cubicBezTo>
                        <a:pt x="28575" y="105442"/>
                        <a:pt x="137160" y="22384"/>
                        <a:pt x="141161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23" name="任意多边形: 形状 1122">
                  <a:extLst>
                    <a:ext uri="{FF2B5EF4-FFF2-40B4-BE49-F238E27FC236}">
                      <a16:creationId xmlns:a16="http://schemas.microsoft.com/office/drawing/2014/main" id="{817E7C46-43E8-484A-AA01-17BC38FDEC3E}"/>
                    </a:ext>
                  </a:extLst>
                </p:cNvPr>
                <p:cNvSpPr/>
                <p:nvPr/>
              </p:nvSpPr>
              <p:spPr>
                <a:xfrm>
                  <a:off x="2583148" y="5877210"/>
                  <a:ext cx="64674" cy="51703"/>
                </a:xfrm>
                <a:custGeom>
                  <a:avLst/>
                  <a:gdLst>
                    <a:gd name="connsiteX0" fmla="*/ 57055 w 64674"/>
                    <a:gd name="connsiteY0" fmla="*/ 0 h 51703"/>
                    <a:gd name="connsiteX1" fmla="*/ 0 w 64674"/>
                    <a:gd name="connsiteY1" fmla="*/ 42101 h 51703"/>
                    <a:gd name="connsiteX2" fmla="*/ 64675 w 64674"/>
                    <a:gd name="connsiteY2" fmla="*/ 4477 h 51703"/>
                    <a:gd name="connsiteX3" fmla="*/ 57055 w 64674"/>
                    <a:gd name="connsiteY3" fmla="*/ 0 h 517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4674" h="51703">
                      <a:moveTo>
                        <a:pt x="57055" y="0"/>
                      </a:moveTo>
                      <a:cubicBezTo>
                        <a:pt x="36671" y="9620"/>
                        <a:pt x="11335" y="23717"/>
                        <a:pt x="0" y="42101"/>
                      </a:cubicBezTo>
                      <a:cubicBezTo>
                        <a:pt x="16288" y="71152"/>
                        <a:pt x="63151" y="27146"/>
                        <a:pt x="64675" y="4477"/>
                      </a:cubicBezTo>
                      <a:cubicBezTo>
                        <a:pt x="62103" y="3048"/>
                        <a:pt x="59627" y="1619"/>
                        <a:pt x="57055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24" name="任意多边形: 形状 1123">
                  <a:extLst>
                    <a:ext uri="{FF2B5EF4-FFF2-40B4-BE49-F238E27FC236}">
                      <a16:creationId xmlns:a16="http://schemas.microsoft.com/office/drawing/2014/main" id="{058D84F4-DFCB-4420-A73A-C4FAFFF9706B}"/>
                    </a:ext>
                  </a:extLst>
                </p:cNvPr>
                <p:cNvSpPr/>
                <p:nvPr/>
              </p:nvSpPr>
              <p:spPr>
                <a:xfrm>
                  <a:off x="2550191" y="5923883"/>
                  <a:ext cx="169830" cy="142875"/>
                </a:xfrm>
                <a:custGeom>
                  <a:avLst/>
                  <a:gdLst>
                    <a:gd name="connsiteX0" fmla="*/ 138208 w 169830"/>
                    <a:gd name="connsiteY0" fmla="*/ 0 h 142875"/>
                    <a:gd name="connsiteX1" fmla="*/ 169831 w 169830"/>
                    <a:gd name="connsiteY1" fmla="*/ 33147 h 142875"/>
                    <a:gd name="connsiteX2" fmla="*/ 165259 w 169830"/>
                    <a:gd name="connsiteY2" fmla="*/ 37624 h 142875"/>
                    <a:gd name="connsiteX3" fmla="*/ 51054 w 169830"/>
                    <a:gd name="connsiteY3" fmla="*/ 117348 h 142875"/>
                    <a:gd name="connsiteX4" fmla="*/ 27051 w 169830"/>
                    <a:gd name="connsiteY4" fmla="*/ 142875 h 142875"/>
                    <a:gd name="connsiteX5" fmla="*/ 25527 w 169830"/>
                    <a:gd name="connsiteY5" fmla="*/ 142875 h 142875"/>
                    <a:gd name="connsiteX6" fmla="*/ 0 w 169830"/>
                    <a:gd name="connsiteY6" fmla="*/ 114300 h 142875"/>
                    <a:gd name="connsiteX7" fmla="*/ 2953 w 169830"/>
                    <a:gd name="connsiteY7" fmla="*/ 109919 h 142875"/>
                    <a:gd name="connsiteX8" fmla="*/ 138208 w 169830"/>
                    <a:gd name="connsiteY8" fmla="*/ 0 h 142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9830" h="142875">
                      <a:moveTo>
                        <a:pt x="138208" y="0"/>
                      </a:moveTo>
                      <a:cubicBezTo>
                        <a:pt x="152400" y="4286"/>
                        <a:pt x="160782" y="22955"/>
                        <a:pt x="169831" y="33147"/>
                      </a:cubicBezTo>
                      <a:cubicBezTo>
                        <a:pt x="168212" y="34576"/>
                        <a:pt x="166878" y="36290"/>
                        <a:pt x="165259" y="37624"/>
                      </a:cubicBezTo>
                      <a:cubicBezTo>
                        <a:pt x="143637" y="32576"/>
                        <a:pt x="69628" y="102584"/>
                        <a:pt x="51054" y="117348"/>
                      </a:cubicBezTo>
                      <a:cubicBezTo>
                        <a:pt x="42386" y="124301"/>
                        <a:pt x="38005" y="138970"/>
                        <a:pt x="27051" y="142875"/>
                      </a:cubicBezTo>
                      <a:lnTo>
                        <a:pt x="25527" y="142875"/>
                      </a:lnTo>
                      <a:cubicBezTo>
                        <a:pt x="16954" y="133445"/>
                        <a:pt x="8573" y="123920"/>
                        <a:pt x="0" y="114300"/>
                      </a:cubicBezTo>
                      <a:cubicBezTo>
                        <a:pt x="952" y="112871"/>
                        <a:pt x="1905" y="111347"/>
                        <a:pt x="2953" y="109919"/>
                      </a:cubicBezTo>
                      <a:cubicBezTo>
                        <a:pt x="30194" y="113252"/>
                        <a:pt x="130683" y="25241"/>
                        <a:pt x="138208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25" name="任意多边形: 形状 1124">
                  <a:extLst>
                    <a:ext uri="{FF2B5EF4-FFF2-40B4-BE49-F238E27FC236}">
                      <a16:creationId xmlns:a16="http://schemas.microsoft.com/office/drawing/2014/main" id="{3CA25C57-3543-4EDA-9EA6-39C77684C3DC}"/>
                    </a:ext>
                  </a:extLst>
                </p:cNvPr>
                <p:cNvSpPr/>
                <p:nvPr/>
              </p:nvSpPr>
              <p:spPr>
                <a:xfrm>
                  <a:off x="4316126" y="5964459"/>
                  <a:ext cx="183356" cy="175831"/>
                </a:xfrm>
                <a:custGeom>
                  <a:avLst/>
                  <a:gdLst>
                    <a:gd name="connsiteX0" fmla="*/ 67628 w 183356"/>
                    <a:gd name="connsiteY0" fmla="*/ 0 h 175831"/>
                    <a:gd name="connsiteX1" fmla="*/ 72199 w 183356"/>
                    <a:gd name="connsiteY1" fmla="*/ 0 h 175831"/>
                    <a:gd name="connsiteX2" fmla="*/ 117253 w 183356"/>
                    <a:gd name="connsiteY2" fmla="*/ 94774 h 175831"/>
                    <a:gd name="connsiteX3" fmla="*/ 163830 w 183356"/>
                    <a:gd name="connsiteY3" fmla="*/ 136874 h 175831"/>
                    <a:gd name="connsiteX4" fmla="*/ 183356 w 183356"/>
                    <a:gd name="connsiteY4" fmla="*/ 142875 h 175831"/>
                    <a:gd name="connsiteX5" fmla="*/ 181832 w 183356"/>
                    <a:gd name="connsiteY5" fmla="*/ 148780 h 175831"/>
                    <a:gd name="connsiteX6" fmla="*/ 147256 w 183356"/>
                    <a:gd name="connsiteY6" fmla="*/ 175831 h 175831"/>
                    <a:gd name="connsiteX7" fmla="*/ 144208 w 183356"/>
                    <a:gd name="connsiteY7" fmla="*/ 174403 h 175831"/>
                    <a:gd name="connsiteX8" fmla="*/ 0 w 183356"/>
                    <a:gd name="connsiteY8" fmla="*/ 67532 h 175831"/>
                    <a:gd name="connsiteX9" fmla="*/ 0 w 183356"/>
                    <a:gd name="connsiteY9" fmla="*/ 66104 h 175831"/>
                    <a:gd name="connsiteX10" fmla="*/ 34576 w 183356"/>
                    <a:gd name="connsiteY10" fmla="*/ 34576 h 175831"/>
                    <a:gd name="connsiteX11" fmla="*/ 96203 w 183356"/>
                    <a:gd name="connsiteY11" fmla="*/ 84106 h 175831"/>
                    <a:gd name="connsiteX12" fmla="*/ 99251 w 183356"/>
                    <a:gd name="connsiteY12" fmla="*/ 82487 h 175831"/>
                    <a:gd name="connsiteX13" fmla="*/ 66199 w 183356"/>
                    <a:gd name="connsiteY13" fmla="*/ 20860 h 175831"/>
                    <a:gd name="connsiteX14" fmla="*/ 49530 w 183356"/>
                    <a:gd name="connsiteY14" fmla="*/ 16383 h 175831"/>
                    <a:gd name="connsiteX15" fmla="*/ 51149 w 183356"/>
                    <a:gd name="connsiteY15" fmla="*/ 11811 h 175831"/>
                    <a:gd name="connsiteX16" fmla="*/ 67628 w 183356"/>
                    <a:gd name="connsiteY16" fmla="*/ 0 h 1758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83356" h="175831">
                      <a:moveTo>
                        <a:pt x="67628" y="0"/>
                      </a:moveTo>
                      <a:lnTo>
                        <a:pt x="72199" y="0"/>
                      </a:lnTo>
                      <a:cubicBezTo>
                        <a:pt x="87249" y="31623"/>
                        <a:pt x="102298" y="63151"/>
                        <a:pt x="117253" y="94774"/>
                      </a:cubicBezTo>
                      <a:cubicBezTo>
                        <a:pt x="132779" y="108680"/>
                        <a:pt x="148399" y="122777"/>
                        <a:pt x="163830" y="136874"/>
                      </a:cubicBezTo>
                      <a:cubicBezTo>
                        <a:pt x="170497" y="140779"/>
                        <a:pt x="178308" y="138017"/>
                        <a:pt x="183356" y="142875"/>
                      </a:cubicBezTo>
                      <a:cubicBezTo>
                        <a:pt x="182880" y="144875"/>
                        <a:pt x="182213" y="146780"/>
                        <a:pt x="181832" y="148780"/>
                      </a:cubicBezTo>
                      <a:cubicBezTo>
                        <a:pt x="167735" y="155257"/>
                        <a:pt x="162020" y="168973"/>
                        <a:pt x="147256" y="175831"/>
                      </a:cubicBezTo>
                      <a:cubicBezTo>
                        <a:pt x="146304" y="175355"/>
                        <a:pt x="145352" y="174784"/>
                        <a:pt x="144208" y="174403"/>
                      </a:cubicBezTo>
                      <a:cubicBezTo>
                        <a:pt x="143923" y="115919"/>
                        <a:pt x="41338" y="84772"/>
                        <a:pt x="0" y="67532"/>
                      </a:cubicBezTo>
                      <a:lnTo>
                        <a:pt x="0" y="66104"/>
                      </a:lnTo>
                      <a:cubicBezTo>
                        <a:pt x="3620" y="52197"/>
                        <a:pt x="20288" y="37624"/>
                        <a:pt x="34576" y="34576"/>
                      </a:cubicBezTo>
                      <a:cubicBezTo>
                        <a:pt x="36576" y="62960"/>
                        <a:pt x="76200" y="73438"/>
                        <a:pt x="96203" y="84106"/>
                      </a:cubicBezTo>
                      <a:cubicBezTo>
                        <a:pt x="97155" y="83629"/>
                        <a:pt x="98203" y="83248"/>
                        <a:pt x="99251" y="82487"/>
                      </a:cubicBezTo>
                      <a:cubicBezTo>
                        <a:pt x="96583" y="65056"/>
                        <a:pt x="79724" y="28575"/>
                        <a:pt x="66199" y="20860"/>
                      </a:cubicBezTo>
                      <a:cubicBezTo>
                        <a:pt x="60579" y="19526"/>
                        <a:pt x="55150" y="17812"/>
                        <a:pt x="49530" y="16383"/>
                      </a:cubicBezTo>
                      <a:cubicBezTo>
                        <a:pt x="50102" y="14954"/>
                        <a:pt x="50578" y="13430"/>
                        <a:pt x="51149" y="11811"/>
                      </a:cubicBezTo>
                      <a:cubicBezTo>
                        <a:pt x="56579" y="8001"/>
                        <a:pt x="62103" y="4000"/>
                        <a:pt x="67628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26" name="任意多边形: 形状 1125">
                  <a:extLst>
                    <a:ext uri="{FF2B5EF4-FFF2-40B4-BE49-F238E27FC236}">
                      <a16:creationId xmlns:a16="http://schemas.microsoft.com/office/drawing/2014/main" id="{C94C167F-4DD3-4568-818A-AF21D04CB562}"/>
                    </a:ext>
                  </a:extLst>
                </p:cNvPr>
                <p:cNvSpPr/>
                <p:nvPr/>
              </p:nvSpPr>
              <p:spPr>
                <a:xfrm>
                  <a:off x="2617958" y="5982886"/>
                  <a:ext cx="243129" cy="226332"/>
                </a:xfrm>
                <a:custGeom>
                  <a:avLst/>
                  <a:gdLst>
                    <a:gd name="connsiteX0" fmla="*/ 130449 w 243129"/>
                    <a:gd name="connsiteY0" fmla="*/ 76348 h 226332"/>
                    <a:gd name="connsiteX1" fmla="*/ 139498 w 243129"/>
                    <a:gd name="connsiteY1" fmla="*/ 17673 h 226332"/>
                    <a:gd name="connsiteX2" fmla="*/ 127401 w 243129"/>
                    <a:gd name="connsiteY2" fmla="*/ 11577 h 226332"/>
                    <a:gd name="connsiteX3" fmla="*/ 67298 w 243129"/>
                    <a:gd name="connsiteY3" fmla="*/ 141022 h 226332"/>
                    <a:gd name="connsiteX4" fmla="*/ 64345 w 243129"/>
                    <a:gd name="connsiteY4" fmla="*/ 148452 h 226332"/>
                    <a:gd name="connsiteX5" fmla="*/ 100350 w 243129"/>
                    <a:gd name="connsiteY5" fmla="*/ 1290 h 226332"/>
                    <a:gd name="connsiteX6" fmla="*/ 204077 w 243129"/>
                    <a:gd name="connsiteY6" fmla="*/ 68823 h 226332"/>
                    <a:gd name="connsiteX7" fmla="*/ 204077 w 243129"/>
                    <a:gd name="connsiteY7" fmla="*/ 74823 h 226332"/>
                    <a:gd name="connsiteX8" fmla="*/ 112447 w 243129"/>
                    <a:gd name="connsiteY8" fmla="*/ 165025 h 226332"/>
                    <a:gd name="connsiteX9" fmla="*/ 100350 w 243129"/>
                    <a:gd name="connsiteY9" fmla="*/ 203982 h 226332"/>
                    <a:gd name="connsiteX10" fmla="*/ 106446 w 243129"/>
                    <a:gd name="connsiteY10" fmla="*/ 211602 h 226332"/>
                    <a:gd name="connsiteX11" fmla="*/ 127401 w 243129"/>
                    <a:gd name="connsiteY11" fmla="*/ 212936 h 226332"/>
                    <a:gd name="connsiteX12" fmla="*/ 177026 w 243129"/>
                    <a:gd name="connsiteY12" fmla="*/ 161977 h 226332"/>
                    <a:gd name="connsiteX13" fmla="*/ 225127 w 243129"/>
                    <a:gd name="connsiteY13" fmla="*/ 89778 h 226332"/>
                    <a:gd name="connsiteX14" fmla="*/ 243130 w 243129"/>
                    <a:gd name="connsiteY14" fmla="*/ 103398 h 226332"/>
                    <a:gd name="connsiteX15" fmla="*/ 91301 w 243129"/>
                    <a:gd name="connsiteY15" fmla="*/ 220651 h 226332"/>
                    <a:gd name="connsiteX16" fmla="*/ 163501 w 243129"/>
                    <a:gd name="connsiteY16" fmla="*/ 59679 h 226332"/>
                    <a:gd name="connsiteX17" fmla="*/ 161977 w 243129"/>
                    <a:gd name="connsiteY17" fmla="*/ 56821 h 226332"/>
                    <a:gd name="connsiteX18" fmla="*/ 137974 w 243129"/>
                    <a:gd name="connsiteY18" fmla="*/ 76348 h 226332"/>
                    <a:gd name="connsiteX19" fmla="*/ 130449 w 243129"/>
                    <a:gd name="connsiteY19" fmla="*/ 76348 h 2263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43129" h="226332">
                      <a:moveTo>
                        <a:pt x="130449" y="76348"/>
                      </a:moveTo>
                      <a:cubicBezTo>
                        <a:pt x="133306" y="55869"/>
                        <a:pt x="150737" y="40152"/>
                        <a:pt x="139498" y="17673"/>
                      </a:cubicBezTo>
                      <a:cubicBezTo>
                        <a:pt x="135497" y="15673"/>
                        <a:pt x="131497" y="13673"/>
                        <a:pt x="127401" y="11577"/>
                      </a:cubicBezTo>
                      <a:cubicBezTo>
                        <a:pt x="95302" y="23769"/>
                        <a:pt x="-63671" y="146928"/>
                        <a:pt x="67298" y="141022"/>
                      </a:cubicBezTo>
                      <a:cubicBezTo>
                        <a:pt x="66250" y="143499"/>
                        <a:pt x="65298" y="145975"/>
                        <a:pt x="64345" y="148452"/>
                      </a:cubicBezTo>
                      <a:cubicBezTo>
                        <a:pt x="-71195" y="164358"/>
                        <a:pt x="40247" y="14340"/>
                        <a:pt x="100350" y="1290"/>
                      </a:cubicBezTo>
                      <a:cubicBezTo>
                        <a:pt x="149785" y="-9664"/>
                        <a:pt x="167882" y="52249"/>
                        <a:pt x="204077" y="68823"/>
                      </a:cubicBezTo>
                      <a:lnTo>
                        <a:pt x="204077" y="74823"/>
                      </a:lnTo>
                      <a:cubicBezTo>
                        <a:pt x="170644" y="74633"/>
                        <a:pt x="129401" y="142451"/>
                        <a:pt x="112447" y="165025"/>
                      </a:cubicBezTo>
                      <a:cubicBezTo>
                        <a:pt x="106351" y="173026"/>
                        <a:pt x="93587" y="193600"/>
                        <a:pt x="100350" y="203982"/>
                      </a:cubicBezTo>
                      <a:cubicBezTo>
                        <a:pt x="102445" y="208650"/>
                        <a:pt x="102445" y="208935"/>
                        <a:pt x="106446" y="211602"/>
                      </a:cubicBezTo>
                      <a:cubicBezTo>
                        <a:pt x="113113" y="214460"/>
                        <a:pt x="117590" y="213317"/>
                        <a:pt x="127401" y="212936"/>
                      </a:cubicBezTo>
                      <a:cubicBezTo>
                        <a:pt x="143974" y="195982"/>
                        <a:pt x="160548" y="179027"/>
                        <a:pt x="177026" y="161977"/>
                      </a:cubicBezTo>
                      <a:cubicBezTo>
                        <a:pt x="194838" y="138450"/>
                        <a:pt x="206935" y="113495"/>
                        <a:pt x="225127" y="89778"/>
                      </a:cubicBezTo>
                      <a:cubicBezTo>
                        <a:pt x="233128" y="92064"/>
                        <a:pt x="240463" y="95398"/>
                        <a:pt x="243130" y="103398"/>
                      </a:cubicBezTo>
                      <a:cubicBezTo>
                        <a:pt x="199696" y="107685"/>
                        <a:pt x="150547" y="256941"/>
                        <a:pt x="91301" y="220651"/>
                      </a:cubicBezTo>
                      <a:cubicBezTo>
                        <a:pt x="39009" y="188552"/>
                        <a:pt x="150642" y="82539"/>
                        <a:pt x="163501" y="59679"/>
                      </a:cubicBezTo>
                      <a:cubicBezTo>
                        <a:pt x="162929" y="58821"/>
                        <a:pt x="162358" y="57678"/>
                        <a:pt x="161977" y="56821"/>
                      </a:cubicBezTo>
                      <a:cubicBezTo>
                        <a:pt x="152356" y="59679"/>
                        <a:pt x="144451" y="69775"/>
                        <a:pt x="137974" y="76348"/>
                      </a:cubicBezTo>
                      <a:lnTo>
                        <a:pt x="130449" y="76348"/>
                      </a:ln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27" name="任意多边形: 形状 1126">
                  <a:extLst>
                    <a:ext uri="{FF2B5EF4-FFF2-40B4-BE49-F238E27FC236}">
                      <a16:creationId xmlns:a16="http://schemas.microsoft.com/office/drawing/2014/main" id="{65FEC0A3-450D-4C76-A9F5-08E383020588}"/>
                    </a:ext>
                  </a:extLst>
                </p:cNvPr>
                <p:cNvSpPr/>
                <p:nvPr/>
              </p:nvSpPr>
              <p:spPr>
                <a:xfrm>
                  <a:off x="4160925" y="6050034"/>
                  <a:ext cx="269405" cy="222368"/>
                </a:xfrm>
                <a:custGeom>
                  <a:avLst/>
                  <a:gdLst>
                    <a:gd name="connsiteX0" fmla="*/ 123674 w 269405"/>
                    <a:gd name="connsiteY0" fmla="*/ 55 h 222368"/>
                    <a:gd name="connsiteX1" fmla="*/ 189777 w 269405"/>
                    <a:gd name="connsiteY1" fmla="*/ 70921 h 222368"/>
                    <a:gd name="connsiteX2" fmla="*/ 269406 w 269405"/>
                    <a:gd name="connsiteY2" fmla="*/ 115879 h 222368"/>
                    <a:gd name="connsiteX3" fmla="*/ 267977 w 269405"/>
                    <a:gd name="connsiteY3" fmla="*/ 120356 h 222368"/>
                    <a:gd name="connsiteX4" fmla="*/ 245308 w 269405"/>
                    <a:gd name="connsiteY4" fmla="*/ 135501 h 222368"/>
                    <a:gd name="connsiteX5" fmla="*/ 179109 w 269405"/>
                    <a:gd name="connsiteY5" fmla="*/ 100925 h 222368"/>
                    <a:gd name="connsiteX6" fmla="*/ 179109 w 269405"/>
                    <a:gd name="connsiteY6" fmla="*/ 102259 h 222368"/>
                    <a:gd name="connsiteX7" fmla="*/ 225782 w 269405"/>
                    <a:gd name="connsiteY7" fmla="*/ 148931 h 222368"/>
                    <a:gd name="connsiteX8" fmla="*/ 194159 w 269405"/>
                    <a:gd name="connsiteY8" fmla="*/ 177506 h 222368"/>
                    <a:gd name="connsiteX9" fmla="*/ 185205 w 269405"/>
                    <a:gd name="connsiteY9" fmla="*/ 175887 h 222368"/>
                    <a:gd name="connsiteX10" fmla="*/ 101194 w 269405"/>
                    <a:gd name="connsiteY10" fmla="*/ 57301 h 222368"/>
                    <a:gd name="connsiteX11" fmla="*/ 99575 w 269405"/>
                    <a:gd name="connsiteY11" fmla="*/ 57301 h 222368"/>
                    <a:gd name="connsiteX12" fmla="*/ 104147 w 269405"/>
                    <a:gd name="connsiteY12" fmla="*/ 75208 h 222368"/>
                    <a:gd name="connsiteX13" fmla="*/ 101194 w 269405"/>
                    <a:gd name="connsiteY13" fmla="*/ 76827 h 222368"/>
                    <a:gd name="connsiteX14" fmla="*/ 60523 w 269405"/>
                    <a:gd name="connsiteY14" fmla="*/ 48157 h 222368"/>
                    <a:gd name="connsiteX15" fmla="*/ 55951 w 269405"/>
                    <a:gd name="connsiteY15" fmla="*/ 52633 h 222368"/>
                    <a:gd name="connsiteX16" fmla="*/ 55951 w 269405"/>
                    <a:gd name="connsiteY16" fmla="*/ 58634 h 222368"/>
                    <a:gd name="connsiteX17" fmla="*/ 155201 w 269405"/>
                    <a:gd name="connsiteY17" fmla="*/ 195508 h 222368"/>
                    <a:gd name="connsiteX18" fmla="*/ 155201 w 269405"/>
                    <a:gd name="connsiteY18" fmla="*/ 201414 h 222368"/>
                    <a:gd name="connsiteX19" fmla="*/ 111577 w 269405"/>
                    <a:gd name="connsiteY19" fmla="*/ 222369 h 222368"/>
                    <a:gd name="connsiteX20" fmla="*/ 108529 w 269405"/>
                    <a:gd name="connsiteY20" fmla="*/ 219511 h 222368"/>
                    <a:gd name="connsiteX21" fmla="*/ 31948 w 269405"/>
                    <a:gd name="connsiteY21" fmla="*/ 72160 h 222368"/>
                    <a:gd name="connsiteX22" fmla="*/ 22899 w 269405"/>
                    <a:gd name="connsiteY22" fmla="*/ 73684 h 222368"/>
                    <a:gd name="connsiteX23" fmla="*/ 18422 w 269405"/>
                    <a:gd name="connsiteY23" fmla="*/ 82732 h 222368"/>
                    <a:gd name="connsiteX24" fmla="*/ 27471 w 269405"/>
                    <a:gd name="connsiteY24" fmla="*/ 117118 h 222368"/>
                    <a:gd name="connsiteX25" fmla="*/ 24518 w 269405"/>
                    <a:gd name="connsiteY25" fmla="*/ 120166 h 222368"/>
                    <a:gd name="connsiteX26" fmla="*/ 19851 w 269405"/>
                    <a:gd name="connsiteY26" fmla="*/ 118737 h 222368"/>
                    <a:gd name="connsiteX27" fmla="*/ 1849 w 269405"/>
                    <a:gd name="connsiteY27" fmla="*/ 70635 h 222368"/>
                    <a:gd name="connsiteX28" fmla="*/ 123674 w 269405"/>
                    <a:gd name="connsiteY28" fmla="*/ 55 h 2223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269405" h="222368">
                      <a:moveTo>
                        <a:pt x="123674" y="55"/>
                      </a:moveTo>
                      <a:cubicBezTo>
                        <a:pt x="177871" y="-1374"/>
                        <a:pt x="182443" y="25011"/>
                        <a:pt x="189777" y="70921"/>
                      </a:cubicBezTo>
                      <a:cubicBezTo>
                        <a:pt x="216352" y="85971"/>
                        <a:pt x="242831" y="101020"/>
                        <a:pt x="269406" y="115879"/>
                      </a:cubicBezTo>
                      <a:cubicBezTo>
                        <a:pt x="268930" y="117308"/>
                        <a:pt x="268453" y="118927"/>
                        <a:pt x="267977" y="120356"/>
                      </a:cubicBezTo>
                      <a:cubicBezTo>
                        <a:pt x="260357" y="125309"/>
                        <a:pt x="252833" y="130452"/>
                        <a:pt x="245308" y="135501"/>
                      </a:cubicBezTo>
                      <a:cubicBezTo>
                        <a:pt x="223210" y="123976"/>
                        <a:pt x="201207" y="112450"/>
                        <a:pt x="179109" y="100925"/>
                      </a:cubicBezTo>
                      <a:lnTo>
                        <a:pt x="179109" y="102259"/>
                      </a:lnTo>
                      <a:cubicBezTo>
                        <a:pt x="187491" y="127024"/>
                        <a:pt x="206541" y="134834"/>
                        <a:pt x="225782" y="148931"/>
                      </a:cubicBezTo>
                      <a:cubicBezTo>
                        <a:pt x="219685" y="161599"/>
                        <a:pt x="204160" y="168362"/>
                        <a:pt x="194159" y="177506"/>
                      </a:cubicBezTo>
                      <a:cubicBezTo>
                        <a:pt x="191206" y="177030"/>
                        <a:pt x="188253" y="176553"/>
                        <a:pt x="185205" y="175887"/>
                      </a:cubicBezTo>
                      <a:cubicBezTo>
                        <a:pt x="186443" y="152551"/>
                        <a:pt x="119673" y="68159"/>
                        <a:pt x="101194" y="57301"/>
                      </a:cubicBezTo>
                      <a:lnTo>
                        <a:pt x="99575" y="57301"/>
                      </a:lnTo>
                      <a:cubicBezTo>
                        <a:pt x="101194" y="63206"/>
                        <a:pt x="102528" y="69207"/>
                        <a:pt x="104147" y="75208"/>
                      </a:cubicBezTo>
                      <a:cubicBezTo>
                        <a:pt x="103004" y="75779"/>
                        <a:pt x="102052" y="76255"/>
                        <a:pt x="101194" y="76827"/>
                      </a:cubicBezTo>
                      <a:cubicBezTo>
                        <a:pt x="86812" y="67207"/>
                        <a:pt x="80716" y="52443"/>
                        <a:pt x="60523" y="48157"/>
                      </a:cubicBezTo>
                      <a:cubicBezTo>
                        <a:pt x="58904" y="49585"/>
                        <a:pt x="57570" y="51204"/>
                        <a:pt x="55951" y="52633"/>
                      </a:cubicBezTo>
                      <a:lnTo>
                        <a:pt x="55951" y="58634"/>
                      </a:lnTo>
                      <a:cubicBezTo>
                        <a:pt x="80144" y="89114"/>
                        <a:pt x="117577" y="187888"/>
                        <a:pt x="155201" y="195508"/>
                      </a:cubicBezTo>
                      <a:lnTo>
                        <a:pt x="155201" y="201414"/>
                      </a:lnTo>
                      <a:cubicBezTo>
                        <a:pt x="140628" y="208558"/>
                        <a:pt x="126150" y="215511"/>
                        <a:pt x="111577" y="222369"/>
                      </a:cubicBezTo>
                      <a:cubicBezTo>
                        <a:pt x="110624" y="221511"/>
                        <a:pt x="109672" y="220559"/>
                        <a:pt x="108529" y="219511"/>
                      </a:cubicBezTo>
                      <a:cubicBezTo>
                        <a:pt x="122435" y="190365"/>
                        <a:pt x="44140" y="102640"/>
                        <a:pt x="31948" y="72160"/>
                      </a:cubicBezTo>
                      <a:cubicBezTo>
                        <a:pt x="28995" y="72636"/>
                        <a:pt x="25947" y="73112"/>
                        <a:pt x="22899" y="73684"/>
                      </a:cubicBezTo>
                      <a:cubicBezTo>
                        <a:pt x="21470" y="76732"/>
                        <a:pt x="19946" y="79589"/>
                        <a:pt x="18422" y="82732"/>
                      </a:cubicBezTo>
                      <a:cubicBezTo>
                        <a:pt x="21470" y="94162"/>
                        <a:pt x="24518" y="105687"/>
                        <a:pt x="27471" y="117118"/>
                      </a:cubicBezTo>
                      <a:cubicBezTo>
                        <a:pt x="26423" y="118260"/>
                        <a:pt x="25376" y="119213"/>
                        <a:pt x="24518" y="120166"/>
                      </a:cubicBezTo>
                      <a:cubicBezTo>
                        <a:pt x="22899" y="119689"/>
                        <a:pt x="21470" y="119213"/>
                        <a:pt x="19851" y="118737"/>
                      </a:cubicBezTo>
                      <a:cubicBezTo>
                        <a:pt x="13565" y="104068"/>
                        <a:pt x="-6057" y="88543"/>
                        <a:pt x="1849" y="70635"/>
                      </a:cubicBezTo>
                      <a:cubicBezTo>
                        <a:pt x="42902" y="53491"/>
                        <a:pt x="89765" y="26535"/>
                        <a:pt x="123674" y="55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2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28" name="任意多边形: 形状 1127">
                  <a:extLst>
                    <a:ext uri="{FF2B5EF4-FFF2-40B4-BE49-F238E27FC236}">
                      <a16:creationId xmlns:a16="http://schemas.microsoft.com/office/drawing/2014/main" id="{F7CAF22E-5FD3-42B1-B59C-986E8C58F2FE}"/>
                    </a:ext>
                  </a:extLst>
                </p:cNvPr>
                <p:cNvSpPr/>
                <p:nvPr/>
              </p:nvSpPr>
              <p:spPr>
                <a:xfrm>
                  <a:off x="4274121" y="6062186"/>
                  <a:ext cx="55625" cy="64674"/>
                </a:xfrm>
                <a:custGeom>
                  <a:avLst/>
                  <a:gdLst>
                    <a:gd name="connsiteX0" fmla="*/ 10478 w 55625"/>
                    <a:gd name="connsiteY0" fmla="*/ 0 h 64674"/>
                    <a:gd name="connsiteX1" fmla="*/ 0 w 55625"/>
                    <a:gd name="connsiteY1" fmla="*/ 1524 h 64674"/>
                    <a:gd name="connsiteX2" fmla="*/ 0 w 55625"/>
                    <a:gd name="connsiteY2" fmla="*/ 7525 h 64674"/>
                    <a:gd name="connsiteX3" fmla="*/ 45053 w 55625"/>
                    <a:gd name="connsiteY3" fmla="*/ 64675 h 64674"/>
                    <a:gd name="connsiteX4" fmla="*/ 51054 w 55625"/>
                    <a:gd name="connsiteY4" fmla="*/ 61627 h 64674"/>
                    <a:gd name="connsiteX5" fmla="*/ 55626 w 55625"/>
                    <a:gd name="connsiteY5" fmla="*/ 48006 h 64674"/>
                    <a:gd name="connsiteX6" fmla="*/ 10478 w 55625"/>
                    <a:gd name="connsiteY6" fmla="*/ 0 h 646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5625" h="64674">
                      <a:moveTo>
                        <a:pt x="10478" y="0"/>
                      </a:moveTo>
                      <a:cubicBezTo>
                        <a:pt x="6858" y="571"/>
                        <a:pt x="3524" y="1048"/>
                        <a:pt x="0" y="1524"/>
                      </a:cubicBezTo>
                      <a:lnTo>
                        <a:pt x="0" y="7525"/>
                      </a:lnTo>
                      <a:cubicBezTo>
                        <a:pt x="16669" y="24955"/>
                        <a:pt x="25241" y="50387"/>
                        <a:pt x="45053" y="64675"/>
                      </a:cubicBezTo>
                      <a:cubicBezTo>
                        <a:pt x="47149" y="63627"/>
                        <a:pt x="49149" y="62579"/>
                        <a:pt x="51054" y="61627"/>
                      </a:cubicBezTo>
                      <a:cubicBezTo>
                        <a:pt x="52578" y="56959"/>
                        <a:pt x="54102" y="52483"/>
                        <a:pt x="55626" y="48006"/>
                      </a:cubicBezTo>
                      <a:cubicBezTo>
                        <a:pt x="43434" y="26956"/>
                        <a:pt x="37910" y="6001"/>
                        <a:pt x="10478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29" name="任意多边形: 形状 1128">
                  <a:extLst>
                    <a:ext uri="{FF2B5EF4-FFF2-40B4-BE49-F238E27FC236}">
                      <a16:creationId xmlns:a16="http://schemas.microsoft.com/office/drawing/2014/main" id="{4F99517D-76D5-4B0F-BB6B-16EE7A068A2A}"/>
                    </a:ext>
                  </a:extLst>
                </p:cNvPr>
                <p:cNvSpPr/>
                <p:nvPr/>
              </p:nvSpPr>
              <p:spPr>
                <a:xfrm>
                  <a:off x="2766599" y="6086284"/>
                  <a:ext cx="139731" cy="196881"/>
                </a:xfrm>
                <a:custGeom>
                  <a:avLst/>
                  <a:gdLst>
                    <a:gd name="connsiteX0" fmla="*/ 96107 w 139731"/>
                    <a:gd name="connsiteY0" fmla="*/ 0 h 196881"/>
                    <a:gd name="connsiteX1" fmla="*/ 139732 w 139731"/>
                    <a:gd name="connsiteY1" fmla="*/ 25432 h 196881"/>
                    <a:gd name="connsiteX2" fmla="*/ 139732 w 139731"/>
                    <a:gd name="connsiteY2" fmla="*/ 26956 h 196881"/>
                    <a:gd name="connsiteX3" fmla="*/ 36004 w 139731"/>
                    <a:gd name="connsiteY3" fmla="*/ 160782 h 196881"/>
                    <a:gd name="connsiteX4" fmla="*/ 43529 w 139731"/>
                    <a:gd name="connsiteY4" fmla="*/ 174212 h 196881"/>
                    <a:gd name="connsiteX5" fmla="*/ 100679 w 139731"/>
                    <a:gd name="connsiteY5" fmla="*/ 153162 h 196881"/>
                    <a:gd name="connsiteX6" fmla="*/ 105156 w 139731"/>
                    <a:gd name="connsiteY6" fmla="*/ 154781 h 196881"/>
                    <a:gd name="connsiteX7" fmla="*/ 99155 w 139731"/>
                    <a:gd name="connsiteY7" fmla="*/ 160782 h 196881"/>
                    <a:gd name="connsiteX8" fmla="*/ 63151 w 139731"/>
                    <a:gd name="connsiteY8" fmla="*/ 196882 h 196881"/>
                    <a:gd name="connsiteX9" fmla="*/ 0 w 139731"/>
                    <a:gd name="connsiteY9" fmla="*/ 151829 h 196881"/>
                    <a:gd name="connsiteX10" fmla="*/ 96107 w 139731"/>
                    <a:gd name="connsiteY10" fmla="*/ 0 h 1968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39731" h="196881">
                      <a:moveTo>
                        <a:pt x="96107" y="0"/>
                      </a:moveTo>
                      <a:cubicBezTo>
                        <a:pt x="112967" y="3143"/>
                        <a:pt x="128969" y="15335"/>
                        <a:pt x="139732" y="25432"/>
                      </a:cubicBezTo>
                      <a:lnTo>
                        <a:pt x="139732" y="26956"/>
                      </a:lnTo>
                      <a:cubicBezTo>
                        <a:pt x="95155" y="53245"/>
                        <a:pt x="60579" y="114967"/>
                        <a:pt x="36004" y="160782"/>
                      </a:cubicBezTo>
                      <a:cubicBezTo>
                        <a:pt x="38576" y="165259"/>
                        <a:pt x="41053" y="169831"/>
                        <a:pt x="43529" y="174212"/>
                      </a:cubicBezTo>
                      <a:cubicBezTo>
                        <a:pt x="75152" y="176498"/>
                        <a:pt x="82486" y="166592"/>
                        <a:pt x="100679" y="153162"/>
                      </a:cubicBezTo>
                      <a:lnTo>
                        <a:pt x="105156" y="154781"/>
                      </a:lnTo>
                      <a:cubicBezTo>
                        <a:pt x="103251" y="156591"/>
                        <a:pt x="101251" y="158782"/>
                        <a:pt x="99155" y="160782"/>
                      </a:cubicBezTo>
                      <a:cubicBezTo>
                        <a:pt x="93917" y="172307"/>
                        <a:pt x="76867" y="194024"/>
                        <a:pt x="63151" y="196882"/>
                      </a:cubicBezTo>
                      <a:cubicBezTo>
                        <a:pt x="42100" y="181832"/>
                        <a:pt x="21050" y="166783"/>
                        <a:pt x="0" y="151829"/>
                      </a:cubicBezTo>
                      <a:cubicBezTo>
                        <a:pt x="26003" y="128111"/>
                        <a:pt x="104965" y="41338"/>
                        <a:pt x="96107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30" name="任意多边形: 形状 1129">
                  <a:extLst>
                    <a:ext uri="{FF2B5EF4-FFF2-40B4-BE49-F238E27FC236}">
                      <a16:creationId xmlns:a16="http://schemas.microsoft.com/office/drawing/2014/main" id="{19CD5DD5-EEFD-4B80-9C4D-84C5F6F443BC}"/>
                    </a:ext>
                  </a:extLst>
                </p:cNvPr>
                <p:cNvSpPr/>
                <p:nvPr/>
              </p:nvSpPr>
              <p:spPr>
                <a:xfrm>
                  <a:off x="4254595" y="6098285"/>
                  <a:ext cx="5905" cy="7429"/>
                </a:xfrm>
                <a:custGeom>
                  <a:avLst/>
                  <a:gdLst>
                    <a:gd name="connsiteX0" fmla="*/ 0 w 5905"/>
                    <a:gd name="connsiteY0" fmla="*/ 0 h 7429"/>
                    <a:gd name="connsiteX1" fmla="*/ 2953 w 5905"/>
                    <a:gd name="connsiteY1" fmla="*/ 7429 h 7429"/>
                    <a:gd name="connsiteX2" fmla="*/ 5905 w 5905"/>
                    <a:gd name="connsiteY2" fmla="*/ 7429 h 7429"/>
                    <a:gd name="connsiteX3" fmla="*/ 5905 w 5905"/>
                    <a:gd name="connsiteY3" fmla="*/ 1429 h 7429"/>
                    <a:gd name="connsiteX4" fmla="*/ 0 w 5905"/>
                    <a:gd name="connsiteY4" fmla="*/ 0 h 74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05" h="7429">
                      <a:moveTo>
                        <a:pt x="0" y="0"/>
                      </a:moveTo>
                      <a:cubicBezTo>
                        <a:pt x="857" y="2572"/>
                        <a:pt x="2000" y="5144"/>
                        <a:pt x="2953" y="7429"/>
                      </a:cubicBezTo>
                      <a:lnTo>
                        <a:pt x="5905" y="7429"/>
                      </a:lnTo>
                      <a:lnTo>
                        <a:pt x="5905" y="1429"/>
                      </a:lnTo>
                      <a:cubicBezTo>
                        <a:pt x="4000" y="953"/>
                        <a:pt x="2000" y="476"/>
                        <a:pt x="0" y="0"/>
                      </a:cubicBezTo>
                      <a:close/>
                    </a:path>
                  </a:pathLst>
                </a:custGeom>
                <a:noFill/>
                <a:ln w="2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31" name="任意多边形: 形状 1130">
                  <a:extLst>
                    <a:ext uri="{FF2B5EF4-FFF2-40B4-BE49-F238E27FC236}">
                      <a16:creationId xmlns:a16="http://schemas.microsoft.com/office/drawing/2014/main" id="{F40FFB82-90F4-4709-8466-9FB0D50AB8EB}"/>
                    </a:ext>
                  </a:extLst>
                </p:cNvPr>
                <p:cNvSpPr/>
                <p:nvPr/>
              </p:nvSpPr>
              <p:spPr>
                <a:xfrm>
                  <a:off x="4100170" y="6129813"/>
                  <a:ext cx="123802" cy="195357"/>
                </a:xfrm>
                <a:custGeom>
                  <a:avLst/>
                  <a:gdLst>
                    <a:gd name="connsiteX0" fmla="*/ 44697 w 123802"/>
                    <a:gd name="connsiteY0" fmla="*/ 0 h 195357"/>
                    <a:gd name="connsiteX1" fmla="*/ 71748 w 123802"/>
                    <a:gd name="connsiteY1" fmla="*/ 43529 h 195357"/>
                    <a:gd name="connsiteX2" fmla="*/ 70224 w 123802"/>
                    <a:gd name="connsiteY2" fmla="*/ 45053 h 195357"/>
                    <a:gd name="connsiteX3" fmla="*/ 64223 w 123802"/>
                    <a:gd name="connsiteY3" fmla="*/ 45053 h 195357"/>
                    <a:gd name="connsiteX4" fmla="*/ 29742 w 123802"/>
                    <a:gd name="connsiteY4" fmla="*/ 18098 h 195357"/>
                    <a:gd name="connsiteX5" fmla="*/ 19170 w 123802"/>
                    <a:gd name="connsiteY5" fmla="*/ 21146 h 195357"/>
                    <a:gd name="connsiteX6" fmla="*/ 89845 w 123802"/>
                    <a:gd name="connsiteY6" fmla="*/ 84201 h 195357"/>
                    <a:gd name="connsiteX7" fmla="*/ 119754 w 123802"/>
                    <a:gd name="connsiteY7" fmla="*/ 132302 h 195357"/>
                    <a:gd name="connsiteX8" fmla="*/ 119754 w 123802"/>
                    <a:gd name="connsiteY8" fmla="*/ 171355 h 195357"/>
                    <a:gd name="connsiteX9" fmla="*/ 74796 w 123802"/>
                    <a:gd name="connsiteY9" fmla="*/ 195358 h 195357"/>
                    <a:gd name="connsiteX10" fmla="*/ 71748 w 123802"/>
                    <a:gd name="connsiteY10" fmla="*/ 193929 h 195357"/>
                    <a:gd name="connsiteX11" fmla="*/ 49173 w 123802"/>
                    <a:gd name="connsiteY11" fmla="*/ 148685 h 195357"/>
                    <a:gd name="connsiteX12" fmla="*/ 52126 w 123802"/>
                    <a:gd name="connsiteY12" fmla="*/ 145733 h 195357"/>
                    <a:gd name="connsiteX13" fmla="*/ 56698 w 123802"/>
                    <a:gd name="connsiteY13" fmla="*/ 145733 h 195357"/>
                    <a:gd name="connsiteX14" fmla="*/ 95655 w 123802"/>
                    <a:gd name="connsiteY14" fmla="*/ 175927 h 195357"/>
                    <a:gd name="connsiteX15" fmla="*/ 109181 w 123802"/>
                    <a:gd name="connsiteY15" fmla="*/ 163925 h 195357"/>
                    <a:gd name="connsiteX16" fmla="*/ 32505 w 123802"/>
                    <a:gd name="connsiteY16" fmla="*/ 105251 h 195357"/>
                    <a:gd name="connsiteX17" fmla="*/ 8406 w 123802"/>
                    <a:gd name="connsiteY17" fmla="*/ 66008 h 195357"/>
                    <a:gd name="connsiteX18" fmla="*/ 977 w 123802"/>
                    <a:gd name="connsiteY18" fmla="*/ 30004 h 195357"/>
                    <a:gd name="connsiteX19" fmla="*/ 44697 w 123802"/>
                    <a:gd name="connsiteY19" fmla="*/ 0 h 1953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23802" h="195357">
                      <a:moveTo>
                        <a:pt x="44697" y="0"/>
                      </a:moveTo>
                      <a:cubicBezTo>
                        <a:pt x="57460" y="4382"/>
                        <a:pt x="69176" y="29146"/>
                        <a:pt x="71748" y="43529"/>
                      </a:cubicBezTo>
                      <a:cubicBezTo>
                        <a:pt x="71176" y="44101"/>
                        <a:pt x="70795" y="44672"/>
                        <a:pt x="70224" y="45053"/>
                      </a:cubicBezTo>
                      <a:lnTo>
                        <a:pt x="64223" y="45053"/>
                      </a:lnTo>
                      <a:cubicBezTo>
                        <a:pt x="54888" y="32480"/>
                        <a:pt x="42601" y="27242"/>
                        <a:pt x="29742" y="18098"/>
                      </a:cubicBezTo>
                      <a:lnTo>
                        <a:pt x="19170" y="21146"/>
                      </a:lnTo>
                      <a:cubicBezTo>
                        <a:pt x="3453" y="72390"/>
                        <a:pt x="60127" y="64961"/>
                        <a:pt x="89845" y="84201"/>
                      </a:cubicBezTo>
                      <a:cubicBezTo>
                        <a:pt x="104895" y="94012"/>
                        <a:pt x="113943" y="112871"/>
                        <a:pt x="119754" y="132302"/>
                      </a:cubicBezTo>
                      <a:cubicBezTo>
                        <a:pt x="123468" y="143828"/>
                        <a:pt x="126612" y="159353"/>
                        <a:pt x="119754" y="171355"/>
                      </a:cubicBezTo>
                      <a:cubicBezTo>
                        <a:pt x="111562" y="185928"/>
                        <a:pt x="88226" y="186214"/>
                        <a:pt x="74796" y="195358"/>
                      </a:cubicBezTo>
                      <a:lnTo>
                        <a:pt x="71748" y="193929"/>
                      </a:lnTo>
                      <a:cubicBezTo>
                        <a:pt x="64223" y="178879"/>
                        <a:pt x="56793" y="163830"/>
                        <a:pt x="49173" y="148685"/>
                      </a:cubicBezTo>
                      <a:cubicBezTo>
                        <a:pt x="50221" y="147828"/>
                        <a:pt x="51174" y="146780"/>
                        <a:pt x="52126" y="145733"/>
                      </a:cubicBezTo>
                      <a:lnTo>
                        <a:pt x="56698" y="145733"/>
                      </a:lnTo>
                      <a:cubicBezTo>
                        <a:pt x="66414" y="161258"/>
                        <a:pt x="77082" y="168783"/>
                        <a:pt x="95655" y="175927"/>
                      </a:cubicBezTo>
                      <a:cubicBezTo>
                        <a:pt x="102037" y="171831"/>
                        <a:pt x="105657" y="171164"/>
                        <a:pt x="109181" y="163925"/>
                      </a:cubicBezTo>
                      <a:cubicBezTo>
                        <a:pt x="117087" y="116586"/>
                        <a:pt x="58413" y="124206"/>
                        <a:pt x="32505" y="105251"/>
                      </a:cubicBezTo>
                      <a:cubicBezTo>
                        <a:pt x="19741" y="95917"/>
                        <a:pt x="14979" y="82106"/>
                        <a:pt x="8406" y="66008"/>
                      </a:cubicBezTo>
                      <a:cubicBezTo>
                        <a:pt x="4692" y="56864"/>
                        <a:pt x="-2643" y="43529"/>
                        <a:pt x="977" y="30004"/>
                      </a:cubicBezTo>
                      <a:cubicBezTo>
                        <a:pt x="6882" y="7620"/>
                        <a:pt x="33267" y="15431"/>
                        <a:pt x="44697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32" name="任意多边形: 形状 1131">
                  <a:extLst>
                    <a:ext uri="{FF2B5EF4-FFF2-40B4-BE49-F238E27FC236}">
                      <a16:creationId xmlns:a16="http://schemas.microsoft.com/office/drawing/2014/main" id="{BE924228-CFFC-41F4-A907-280C8B854FC7}"/>
                    </a:ext>
                  </a:extLst>
                </p:cNvPr>
                <p:cNvSpPr/>
                <p:nvPr/>
              </p:nvSpPr>
              <p:spPr>
                <a:xfrm>
                  <a:off x="2874708" y="6140291"/>
                  <a:ext cx="186404" cy="232095"/>
                </a:xfrm>
                <a:custGeom>
                  <a:avLst/>
                  <a:gdLst>
                    <a:gd name="connsiteX0" fmla="*/ 67627 w 186404"/>
                    <a:gd name="connsiteY0" fmla="*/ 0 h 232095"/>
                    <a:gd name="connsiteX1" fmla="*/ 186404 w 186404"/>
                    <a:gd name="connsiteY1" fmla="*/ 58674 h 232095"/>
                    <a:gd name="connsiteX2" fmla="*/ 183451 w 186404"/>
                    <a:gd name="connsiteY2" fmla="*/ 63246 h 232095"/>
                    <a:gd name="connsiteX3" fmla="*/ 120301 w 186404"/>
                    <a:gd name="connsiteY3" fmla="*/ 212122 h 232095"/>
                    <a:gd name="connsiteX4" fmla="*/ 136874 w 186404"/>
                    <a:gd name="connsiteY4" fmla="*/ 227171 h 232095"/>
                    <a:gd name="connsiteX5" fmla="*/ 160782 w 186404"/>
                    <a:gd name="connsiteY5" fmla="*/ 216503 h 232095"/>
                    <a:gd name="connsiteX6" fmla="*/ 160782 w 186404"/>
                    <a:gd name="connsiteY6" fmla="*/ 222504 h 232095"/>
                    <a:gd name="connsiteX7" fmla="*/ 159448 w 186404"/>
                    <a:gd name="connsiteY7" fmla="*/ 225457 h 232095"/>
                    <a:gd name="connsiteX8" fmla="*/ 102203 w 186404"/>
                    <a:gd name="connsiteY8" fmla="*/ 213360 h 232095"/>
                    <a:gd name="connsiteX9" fmla="*/ 132302 w 186404"/>
                    <a:gd name="connsiteY9" fmla="*/ 82677 h 232095"/>
                    <a:gd name="connsiteX10" fmla="*/ 120206 w 186404"/>
                    <a:gd name="connsiteY10" fmla="*/ 85630 h 232095"/>
                    <a:gd name="connsiteX11" fmla="*/ 117253 w 186404"/>
                    <a:gd name="connsiteY11" fmla="*/ 34576 h 232095"/>
                    <a:gd name="connsiteX12" fmla="*/ 39148 w 186404"/>
                    <a:gd name="connsiteY12" fmla="*/ 171450 h 232095"/>
                    <a:gd name="connsiteX13" fmla="*/ 40577 w 186404"/>
                    <a:gd name="connsiteY13" fmla="*/ 190976 h 232095"/>
                    <a:gd name="connsiteX14" fmla="*/ 0 w 186404"/>
                    <a:gd name="connsiteY14" fmla="*/ 168497 h 232095"/>
                    <a:gd name="connsiteX15" fmla="*/ 1524 w 186404"/>
                    <a:gd name="connsiteY15" fmla="*/ 162496 h 232095"/>
                    <a:gd name="connsiteX16" fmla="*/ 16573 w 186404"/>
                    <a:gd name="connsiteY16" fmla="*/ 160972 h 232095"/>
                    <a:gd name="connsiteX17" fmla="*/ 88773 w 186404"/>
                    <a:gd name="connsiteY17" fmla="*/ 18097 h 232095"/>
                    <a:gd name="connsiteX18" fmla="*/ 85820 w 186404"/>
                    <a:gd name="connsiteY18" fmla="*/ 16669 h 232095"/>
                    <a:gd name="connsiteX19" fmla="*/ 76771 w 186404"/>
                    <a:gd name="connsiteY19" fmla="*/ 15145 h 232095"/>
                    <a:gd name="connsiteX20" fmla="*/ 48196 w 186404"/>
                    <a:gd name="connsiteY20" fmla="*/ 40672 h 232095"/>
                    <a:gd name="connsiteX21" fmla="*/ 45244 w 186404"/>
                    <a:gd name="connsiteY21" fmla="*/ 39338 h 232095"/>
                    <a:gd name="connsiteX22" fmla="*/ 45244 w 186404"/>
                    <a:gd name="connsiteY22" fmla="*/ 34671 h 232095"/>
                    <a:gd name="connsiteX23" fmla="*/ 67627 w 186404"/>
                    <a:gd name="connsiteY23" fmla="*/ 0 h 2320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86404" h="232095">
                      <a:moveTo>
                        <a:pt x="67627" y="0"/>
                      </a:moveTo>
                      <a:cubicBezTo>
                        <a:pt x="78391" y="1238"/>
                        <a:pt x="177927" y="51245"/>
                        <a:pt x="186404" y="58674"/>
                      </a:cubicBezTo>
                      <a:cubicBezTo>
                        <a:pt x="185547" y="60198"/>
                        <a:pt x="184499" y="61627"/>
                        <a:pt x="183451" y="63246"/>
                      </a:cubicBezTo>
                      <a:cubicBezTo>
                        <a:pt x="166497" y="64961"/>
                        <a:pt x="113062" y="190214"/>
                        <a:pt x="120301" y="212122"/>
                      </a:cubicBezTo>
                      <a:cubicBezTo>
                        <a:pt x="123920" y="220789"/>
                        <a:pt x="128683" y="223076"/>
                        <a:pt x="136874" y="227171"/>
                      </a:cubicBezTo>
                      <a:cubicBezTo>
                        <a:pt x="144875" y="223552"/>
                        <a:pt x="152971" y="220028"/>
                        <a:pt x="160782" y="216503"/>
                      </a:cubicBezTo>
                      <a:lnTo>
                        <a:pt x="160782" y="222504"/>
                      </a:lnTo>
                      <a:cubicBezTo>
                        <a:pt x="160306" y="223456"/>
                        <a:pt x="159925" y="224600"/>
                        <a:pt x="159448" y="225457"/>
                      </a:cubicBezTo>
                      <a:cubicBezTo>
                        <a:pt x="136684" y="233267"/>
                        <a:pt x="113348" y="239078"/>
                        <a:pt x="102203" y="213360"/>
                      </a:cubicBezTo>
                      <a:cubicBezTo>
                        <a:pt x="87154" y="163735"/>
                        <a:pt x="126778" y="125444"/>
                        <a:pt x="132302" y="82677"/>
                      </a:cubicBezTo>
                      <a:lnTo>
                        <a:pt x="120206" y="85630"/>
                      </a:lnTo>
                      <a:cubicBezTo>
                        <a:pt x="121729" y="64961"/>
                        <a:pt x="131350" y="47149"/>
                        <a:pt x="117253" y="34576"/>
                      </a:cubicBezTo>
                      <a:cubicBezTo>
                        <a:pt x="103727" y="43053"/>
                        <a:pt x="42577" y="152114"/>
                        <a:pt x="39148" y="171450"/>
                      </a:cubicBezTo>
                      <a:cubicBezTo>
                        <a:pt x="39624" y="177927"/>
                        <a:pt x="40005" y="184404"/>
                        <a:pt x="40577" y="190976"/>
                      </a:cubicBezTo>
                      <a:cubicBezTo>
                        <a:pt x="27146" y="183547"/>
                        <a:pt x="13525" y="175831"/>
                        <a:pt x="0" y="168497"/>
                      </a:cubicBezTo>
                      <a:cubicBezTo>
                        <a:pt x="571" y="166402"/>
                        <a:pt x="1048" y="164306"/>
                        <a:pt x="1524" y="162496"/>
                      </a:cubicBezTo>
                      <a:cubicBezTo>
                        <a:pt x="6572" y="161925"/>
                        <a:pt x="11525" y="161354"/>
                        <a:pt x="16573" y="160972"/>
                      </a:cubicBezTo>
                      <a:cubicBezTo>
                        <a:pt x="31337" y="121920"/>
                        <a:pt x="84868" y="62579"/>
                        <a:pt x="88773" y="18097"/>
                      </a:cubicBezTo>
                      <a:cubicBezTo>
                        <a:pt x="87725" y="17526"/>
                        <a:pt x="86677" y="17145"/>
                        <a:pt x="85820" y="16669"/>
                      </a:cubicBezTo>
                      <a:cubicBezTo>
                        <a:pt x="82772" y="16193"/>
                        <a:pt x="79819" y="15716"/>
                        <a:pt x="76771" y="15145"/>
                      </a:cubicBezTo>
                      <a:cubicBezTo>
                        <a:pt x="66389" y="23813"/>
                        <a:pt x="57817" y="31623"/>
                        <a:pt x="48196" y="40672"/>
                      </a:cubicBezTo>
                      <a:cubicBezTo>
                        <a:pt x="47149" y="40291"/>
                        <a:pt x="46196" y="39814"/>
                        <a:pt x="45244" y="39338"/>
                      </a:cubicBezTo>
                      <a:lnTo>
                        <a:pt x="45244" y="34671"/>
                      </a:lnTo>
                      <a:cubicBezTo>
                        <a:pt x="52578" y="23051"/>
                        <a:pt x="60198" y="11525"/>
                        <a:pt x="67627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33" name="任意多边形: 形状 1132">
                  <a:extLst>
                    <a:ext uri="{FF2B5EF4-FFF2-40B4-BE49-F238E27FC236}">
                      <a16:creationId xmlns:a16="http://schemas.microsoft.com/office/drawing/2014/main" id="{4E399FE6-D818-4F7B-88B9-F0F97D3A6B6D}"/>
                    </a:ext>
                  </a:extLst>
                </p:cNvPr>
                <p:cNvSpPr/>
                <p:nvPr/>
              </p:nvSpPr>
              <p:spPr>
                <a:xfrm>
                  <a:off x="3997420" y="6169902"/>
                  <a:ext cx="151996" cy="198894"/>
                </a:xfrm>
                <a:custGeom>
                  <a:avLst/>
                  <a:gdLst>
                    <a:gd name="connsiteX0" fmla="*/ 112871 w 151996"/>
                    <a:gd name="connsiteY0" fmla="*/ 126885 h 198894"/>
                    <a:gd name="connsiteX1" fmla="*/ 103823 w 151996"/>
                    <a:gd name="connsiteY1" fmla="*/ 125266 h 198894"/>
                    <a:gd name="connsiteX2" fmla="*/ 79820 w 151996"/>
                    <a:gd name="connsiteY2" fmla="*/ 104311 h 198894"/>
                    <a:gd name="connsiteX3" fmla="*/ 76772 w 151996"/>
                    <a:gd name="connsiteY3" fmla="*/ 107263 h 198894"/>
                    <a:gd name="connsiteX4" fmla="*/ 103823 w 151996"/>
                    <a:gd name="connsiteY4" fmla="*/ 171843 h 198894"/>
                    <a:gd name="connsiteX5" fmla="*/ 135350 w 151996"/>
                    <a:gd name="connsiteY5" fmla="*/ 129838 h 198894"/>
                    <a:gd name="connsiteX6" fmla="*/ 142780 w 151996"/>
                    <a:gd name="connsiteY6" fmla="*/ 129838 h 198894"/>
                    <a:gd name="connsiteX7" fmla="*/ 145828 w 151996"/>
                    <a:gd name="connsiteY7" fmla="*/ 131267 h 198894"/>
                    <a:gd name="connsiteX8" fmla="*/ 148781 w 151996"/>
                    <a:gd name="connsiteY8" fmla="*/ 171843 h 198894"/>
                    <a:gd name="connsiteX9" fmla="*/ 72200 w 151996"/>
                    <a:gd name="connsiteY9" fmla="*/ 198894 h 198894"/>
                    <a:gd name="connsiteX10" fmla="*/ 69247 w 151996"/>
                    <a:gd name="connsiteY10" fmla="*/ 194417 h 198894"/>
                    <a:gd name="connsiteX11" fmla="*/ 0 w 151996"/>
                    <a:gd name="connsiteY11" fmla="*/ 31921 h 198894"/>
                    <a:gd name="connsiteX12" fmla="*/ 1524 w 151996"/>
                    <a:gd name="connsiteY12" fmla="*/ 25920 h 198894"/>
                    <a:gd name="connsiteX13" fmla="*/ 84201 w 151996"/>
                    <a:gd name="connsiteY13" fmla="*/ 393 h 198894"/>
                    <a:gd name="connsiteX14" fmla="*/ 100775 w 151996"/>
                    <a:gd name="connsiteY14" fmla="*/ 42589 h 198894"/>
                    <a:gd name="connsiteX15" fmla="*/ 99155 w 151996"/>
                    <a:gd name="connsiteY15" fmla="*/ 44018 h 198894"/>
                    <a:gd name="connsiteX16" fmla="*/ 93154 w 151996"/>
                    <a:gd name="connsiteY16" fmla="*/ 44018 h 198894"/>
                    <a:gd name="connsiteX17" fmla="*/ 72200 w 151996"/>
                    <a:gd name="connsiteY17" fmla="*/ 19919 h 198894"/>
                    <a:gd name="connsiteX18" fmla="*/ 45149 w 151996"/>
                    <a:gd name="connsiteY18" fmla="*/ 24586 h 198894"/>
                    <a:gd name="connsiteX19" fmla="*/ 42196 w 151996"/>
                    <a:gd name="connsiteY19" fmla="*/ 28968 h 198894"/>
                    <a:gd name="connsiteX20" fmla="*/ 69152 w 151996"/>
                    <a:gd name="connsiteY20" fmla="*/ 89071 h 198894"/>
                    <a:gd name="connsiteX21" fmla="*/ 70675 w 151996"/>
                    <a:gd name="connsiteY21" fmla="*/ 89071 h 198894"/>
                    <a:gd name="connsiteX22" fmla="*/ 75152 w 151996"/>
                    <a:gd name="connsiteY22" fmla="*/ 83070 h 198894"/>
                    <a:gd name="connsiteX23" fmla="*/ 76676 w 151996"/>
                    <a:gd name="connsiteY23" fmla="*/ 55924 h 198894"/>
                    <a:gd name="connsiteX24" fmla="*/ 84201 w 151996"/>
                    <a:gd name="connsiteY24" fmla="*/ 57543 h 198894"/>
                    <a:gd name="connsiteX25" fmla="*/ 112871 w 151996"/>
                    <a:gd name="connsiteY25" fmla="*/ 126885 h 1988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151996" h="198894">
                      <a:moveTo>
                        <a:pt x="112871" y="126885"/>
                      </a:moveTo>
                      <a:cubicBezTo>
                        <a:pt x="109823" y="126313"/>
                        <a:pt x="106871" y="125837"/>
                        <a:pt x="103823" y="125266"/>
                      </a:cubicBezTo>
                      <a:cubicBezTo>
                        <a:pt x="100203" y="114217"/>
                        <a:pt x="92202" y="106502"/>
                        <a:pt x="79820" y="104311"/>
                      </a:cubicBezTo>
                      <a:cubicBezTo>
                        <a:pt x="78677" y="105263"/>
                        <a:pt x="77819" y="106406"/>
                        <a:pt x="76772" y="107263"/>
                      </a:cubicBezTo>
                      <a:cubicBezTo>
                        <a:pt x="79629" y="128980"/>
                        <a:pt x="92964" y="155936"/>
                        <a:pt x="103823" y="171843"/>
                      </a:cubicBezTo>
                      <a:cubicBezTo>
                        <a:pt x="132017" y="172414"/>
                        <a:pt x="131445" y="152507"/>
                        <a:pt x="135350" y="129838"/>
                      </a:cubicBezTo>
                      <a:lnTo>
                        <a:pt x="142780" y="129838"/>
                      </a:lnTo>
                      <a:cubicBezTo>
                        <a:pt x="143828" y="130219"/>
                        <a:pt x="144875" y="130695"/>
                        <a:pt x="145828" y="131267"/>
                      </a:cubicBezTo>
                      <a:cubicBezTo>
                        <a:pt x="147542" y="148030"/>
                        <a:pt x="156782" y="158318"/>
                        <a:pt x="148781" y="171843"/>
                      </a:cubicBezTo>
                      <a:cubicBezTo>
                        <a:pt x="119253" y="173748"/>
                        <a:pt x="100965" y="195751"/>
                        <a:pt x="72200" y="198894"/>
                      </a:cubicBezTo>
                      <a:cubicBezTo>
                        <a:pt x="71247" y="197465"/>
                        <a:pt x="70199" y="195846"/>
                        <a:pt x="69247" y="194417"/>
                      </a:cubicBezTo>
                      <a:cubicBezTo>
                        <a:pt x="83153" y="159746"/>
                        <a:pt x="19907" y="54685"/>
                        <a:pt x="0" y="31921"/>
                      </a:cubicBezTo>
                      <a:cubicBezTo>
                        <a:pt x="572" y="30111"/>
                        <a:pt x="1143" y="28016"/>
                        <a:pt x="1524" y="25920"/>
                      </a:cubicBezTo>
                      <a:cubicBezTo>
                        <a:pt x="29147" y="21634"/>
                        <a:pt x="54769" y="-3417"/>
                        <a:pt x="84201" y="393"/>
                      </a:cubicBezTo>
                      <a:cubicBezTo>
                        <a:pt x="89725" y="14490"/>
                        <a:pt x="95250" y="28492"/>
                        <a:pt x="100775" y="42589"/>
                      </a:cubicBezTo>
                      <a:cubicBezTo>
                        <a:pt x="100203" y="43065"/>
                        <a:pt x="99536" y="43446"/>
                        <a:pt x="99155" y="44018"/>
                      </a:cubicBezTo>
                      <a:lnTo>
                        <a:pt x="93154" y="44018"/>
                      </a:lnTo>
                      <a:cubicBezTo>
                        <a:pt x="87535" y="35254"/>
                        <a:pt x="81153" y="25349"/>
                        <a:pt x="72200" y="19919"/>
                      </a:cubicBezTo>
                      <a:cubicBezTo>
                        <a:pt x="63818" y="14966"/>
                        <a:pt x="50102" y="17062"/>
                        <a:pt x="45149" y="24586"/>
                      </a:cubicBezTo>
                      <a:cubicBezTo>
                        <a:pt x="44196" y="25920"/>
                        <a:pt x="43053" y="27444"/>
                        <a:pt x="42196" y="28968"/>
                      </a:cubicBezTo>
                      <a:cubicBezTo>
                        <a:pt x="45529" y="51161"/>
                        <a:pt x="58483" y="72974"/>
                        <a:pt x="69152" y="89071"/>
                      </a:cubicBezTo>
                      <a:lnTo>
                        <a:pt x="70675" y="89071"/>
                      </a:lnTo>
                      <a:cubicBezTo>
                        <a:pt x="72104" y="87070"/>
                        <a:pt x="73628" y="85070"/>
                        <a:pt x="75152" y="83070"/>
                      </a:cubicBezTo>
                      <a:cubicBezTo>
                        <a:pt x="79439" y="75641"/>
                        <a:pt x="77343" y="66496"/>
                        <a:pt x="76676" y="55924"/>
                      </a:cubicBezTo>
                      <a:cubicBezTo>
                        <a:pt x="79153" y="56495"/>
                        <a:pt x="81534" y="57067"/>
                        <a:pt x="84201" y="57543"/>
                      </a:cubicBezTo>
                      <a:cubicBezTo>
                        <a:pt x="93726" y="80689"/>
                        <a:pt x="103346" y="103739"/>
                        <a:pt x="112871" y="126885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34" name="任意多边形: 形状 1133">
                  <a:extLst>
                    <a:ext uri="{FF2B5EF4-FFF2-40B4-BE49-F238E27FC236}">
                      <a16:creationId xmlns:a16="http://schemas.microsoft.com/office/drawing/2014/main" id="{D93C6E54-6EED-40D0-B60F-73535DD4E8F8}"/>
                    </a:ext>
                  </a:extLst>
                </p:cNvPr>
                <p:cNvSpPr/>
                <p:nvPr/>
              </p:nvSpPr>
              <p:spPr>
                <a:xfrm>
                  <a:off x="3043205" y="6204870"/>
                  <a:ext cx="146514" cy="213645"/>
                </a:xfrm>
                <a:custGeom>
                  <a:avLst/>
                  <a:gdLst>
                    <a:gd name="connsiteX0" fmla="*/ 38957 w 146514"/>
                    <a:gd name="connsiteY0" fmla="*/ 0 h 213645"/>
                    <a:gd name="connsiteX1" fmla="*/ 82582 w 146514"/>
                    <a:gd name="connsiteY1" fmla="*/ 15145 h 213645"/>
                    <a:gd name="connsiteX2" fmla="*/ 123254 w 146514"/>
                    <a:gd name="connsiteY2" fmla="*/ 24098 h 213645"/>
                    <a:gd name="connsiteX3" fmla="*/ 108204 w 146514"/>
                    <a:gd name="connsiteY3" fmla="*/ 123349 h 213645"/>
                    <a:gd name="connsiteX4" fmla="*/ 117253 w 146514"/>
                    <a:gd name="connsiteY4" fmla="*/ 213646 h 213645"/>
                    <a:gd name="connsiteX5" fmla="*/ 106680 w 146514"/>
                    <a:gd name="connsiteY5" fmla="*/ 213646 h 213645"/>
                    <a:gd name="connsiteX6" fmla="*/ 88678 w 146514"/>
                    <a:gd name="connsiteY6" fmla="*/ 207645 h 213645"/>
                    <a:gd name="connsiteX7" fmla="*/ 79629 w 146514"/>
                    <a:gd name="connsiteY7" fmla="*/ 129350 h 213645"/>
                    <a:gd name="connsiteX8" fmla="*/ 76676 w 146514"/>
                    <a:gd name="connsiteY8" fmla="*/ 128016 h 213645"/>
                    <a:gd name="connsiteX9" fmla="*/ 60198 w 146514"/>
                    <a:gd name="connsiteY9" fmla="*/ 172974 h 213645"/>
                    <a:gd name="connsiteX10" fmla="*/ 63151 w 146514"/>
                    <a:gd name="connsiteY10" fmla="*/ 200025 h 213645"/>
                    <a:gd name="connsiteX11" fmla="*/ 61627 w 146514"/>
                    <a:gd name="connsiteY11" fmla="*/ 200025 h 213645"/>
                    <a:gd name="connsiteX12" fmla="*/ 18002 w 146514"/>
                    <a:gd name="connsiteY12" fmla="*/ 184976 h 213645"/>
                    <a:gd name="connsiteX13" fmla="*/ 19621 w 146514"/>
                    <a:gd name="connsiteY13" fmla="*/ 180594 h 213645"/>
                    <a:gd name="connsiteX14" fmla="*/ 75152 w 146514"/>
                    <a:gd name="connsiteY14" fmla="*/ 27146 h 213645"/>
                    <a:gd name="connsiteX15" fmla="*/ 64675 w 146514"/>
                    <a:gd name="connsiteY15" fmla="*/ 16669 h 213645"/>
                    <a:gd name="connsiteX16" fmla="*/ 2953 w 146514"/>
                    <a:gd name="connsiteY16" fmla="*/ 139922 h 213645"/>
                    <a:gd name="connsiteX17" fmla="*/ 0 w 146514"/>
                    <a:gd name="connsiteY17" fmla="*/ 138398 h 213645"/>
                    <a:gd name="connsiteX18" fmla="*/ 45053 w 146514"/>
                    <a:gd name="connsiteY18" fmla="*/ 22670 h 213645"/>
                    <a:gd name="connsiteX19" fmla="*/ 38957 w 146514"/>
                    <a:gd name="connsiteY19" fmla="*/ 0 h 2136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46514" h="213645">
                      <a:moveTo>
                        <a:pt x="38957" y="0"/>
                      </a:moveTo>
                      <a:cubicBezTo>
                        <a:pt x="54388" y="1238"/>
                        <a:pt x="69533" y="11144"/>
                        <a:pt x="82582" y="15145"/>
                      </a:cubicBezTo>
                      <a:cubicBezTo>
                        <a:pt x="96202" y="18193"/>
                        <a:pt x="109538" y="21146"/>
                        <a:pt x="123254" y="24098"/>
                      </a:cubicBezTo>
                      <a:cubicBezTo>
                        <a:pt x="173355" y="46387"/>
                        <a:pt x="130207" y="105823"/>
                        <a:pt x="108204" y="123349"/>
                      </a:cubicBezTo>
                      <a:cubicBezTo>
                        <a:pt x="111252" y="153543"/>
                        <a:pt x="114205" y="183547"/>
                        <a:pt x="117253" y="213646"/>
                      </a:cubicBezTo>
                      <a:lnTo>
                        <a:pt x="106680" y="213646"/>
                      </a:lnTo>
                      <a:cubicBezTo>
                        <a:pt x="100679" y="211550"/>
                        <a:pt x="94679" y="209645"/>
                        <a:pt x="88678" y="207645"/>
                      </a:cubicBezTo>
                      <a:cubicBezTo>
                        <a:pt x="85725" y="181546"/>
                        <a:pt x="82677" y="155448"/>
                        <a:pt x="79629" y="129350"/>
                      </a:cubicBezTo>
                      <a:cubicBezTo>
                        <a:pt x="78772" y="128969"/>
                        <a:pt x="77724" y="128492"/>
                        <a:pt x="76676" y="128016"/>
                      </a:cubicBezTo>
                      <a:cubicBezTo>
                        <a:pt x="71152" y="142970"/>
                        <a:pt x="65722" y="158020"/>
                        <a:pt x="60198" y="172974"/>
                      </a:cubicBezTo>
                      <a:cubicBezTo>
                        <a:pt x="57817" y="186309"/>
                        <a:pt x="65056" y="189833"/>
                        <a:pt x="63151" y="200025"/>
                      </a:cubicBezTo>
                      <a:lnTo>
                        <a:pt x="61627" y="200025"/>
                      </a:lnTo>
                      <a:cubicBezTo>
                        <a:pt x="46482" y="198215"/>
                        <a:pt x="29146" y="191738"/>
                        <a:pt x="18002" y="184976"/>
                      </a:cubicBezTo>
                      <a:cubicBezTo>
                        <a:pt x="18574" y="183547"/>
                        <a:pt x="19050" y="181928"/>
                        <a:pt x="19621" y="180594"/>
                      </a:cubicBezTo>
                      <a:cubicBezTo>
                        <a:pt x="42767" y="167354"/>
                        <a:pt x="70485" y="62008"/>
                        <a:pt x="75152" y="27146"/>
                      </a:cubicBezTo>
                      <a:cubicBezTo>
                        <a:pt x="71342" y="22479"/>
                        <a:pt x="70104" y="19907"/>
                        <a:pt x="64675" y="16669"/>
                      </a:cubicBezTo>
                      <a:cubicBezTo>
                        <a:pt x="26670" y="39719"/>
                        <a:pt x="35433" y="111252"/>
                        <a:pt x="2953" y="139922"/>
                      </a:cubicBezTo>
                      <a:lnTo>
                        <a:pt x="0" y="138398"/>
                      </a:lnTo>
                      <a:cubicBezTo>
                        <a:pt x="15050" y="99822"/>
                        <a:pt x="30099" y="61341"/>
                        <a:pt x="45053" y="22670"/>
                      </a:cubicBezTo>
                      <a:cubicBezTo>
                        <a:pt x="46196" y="12573"/>
                        <a:pt x="38195" y="8192"/>
                        <a:pt x="38957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35" name="任意多边形: 形状 1134">
                  <a:extLst>
                    <a:ext uri="{FF2B5EF4-FFF2-40B4-BE49-F238E27FC236}">
                      <a16:creationId xmlns:a16="http://schemas.microsoft.com/office/drawing/2014/main" id="{F94E0FDC-7F32-4619-95CC-5CBAA3E56AD2}"/>
                    </a:ext>
                  </a:extLst>
                </p:cNvPr>
                <p:cNvSpPr/>
                <p:nvPr/>
              </p:nvSpPr>
              <p:spPr>
                <a:xfrm>
                  <a:off x="3905694" y="6212581"/>
                  <a:ext cx="147256" cy="189186"/>
                </a:xfrm>
                <a:custGeom>
                  <a:avLst/>
                  <a:gdLst>
                    <a:gd name="connsiteX0" fmla="*/ 40672 w 147256"/>
                    <a:gd name="connsiteY0" fmla="*/ 4 h 189186"/>
                    <a:gd name="connsiteX1" fmla="*/ 102298 w 147256"/>
                    <a:gd name="connsiteY1" fmla="*/ 69061 h 189186"/>
                    <a:gd name="connsiteX2" fmla="*/ 94679 w 147256"/>
                    <a:gd name="connsiteY2" fmla="*/ 91635 h 189186"/>
                    <a:gd name="connsiteX3" fmla="*/ 147256 w 147256"/>
                    <a:gd name="connsiteY3" fmla="*/ 157834 h 189186"/>
                    <a:gd name="connsiteX4" fmla="*/ 145828 w 147256"/>
                    <a:gd name="connsiteY4" fmla="*/ 165168 h 189186"/>
                    <a:gd name="connsiteX5" fmla="*/ 124777 w 147256"/>
                    <a:gd name="connsiteY5" fmla="*/ 171264 h 189186"/>
                    <a:gd name="connsiteX6" fmla="*/ 69247 w 147256"/>
                    <a:gd name="connsiteY6" fmla="*/ 108113 h 189186"/>
                    <a:gd name="connsiteX7" fmla="*/ 66104 w 147256"/>
                    <a:gd name="connsiteY7" fmla="*/ 111257 h 189186"/>
                    <a:gd name="connsiteX8" fmla="*/ 96202 w 147256"/>
                    <a:gd name="connsiteY8" fmla="*/ 174217 h 189186"/>
                    <a:gd name="connsiteX9" fmla="*/ 48101 w 147256"/>
                    <a:gd name="connsiteY9" fmla="*/ 186313 h 189186"/>
                    <a:gd name="connsiteX10" fmla="*/ 0 w 147256"/>
                    <a:gd name="connsiteY10" fmla="*/ 18007 h 189186"/>
                    <a:gd name="connsiteX11" fmla="*/ 0 w 147256"/>
                    <a:gd name="connsiteY11" fmla="*/ 13435 h 189186"/>
                    <a:gd name="connsiteX12" fmla="*/ 40672 w 147256"/>
                    <a:gd name="connsiteY12" fmla="*/ 4 h 1891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47256" h="189186">
                      <a:moveTo>
                        <a:pt x="40672" y="4"/>
                      </a:moveTo>
                      <a:cubicBezTo>
                        <a:pt x="83344" y="-376"/>
                        <a:pt x="117062" y="24579"/>
                        <a:pt x="102298" y="69061"/>
                      </a:cubicBezTo>
                      <a:cubicBezTo>
                        <a:pt x="100489" y="74585"/>
                        <a:pt x="91250" y="81062"/>
                        <a:pt x="94679" y="91635"/>
                      </a:cubicBezTo>
                      <a:cubicBezTo>
                        <a:pt x="102489" y="115066"/>
                        <a:pt x="131635" y="139832"/>
                        <a:pt x="147256" y="157834"/>
                      </a:cubicBezTo>
                      <a:cubicBezTo>
                        <a:pt x="146780" y="160310"/>
                        <a:pt x="146304" y="162787"/>
                        <a:pt x="145828" y="165168"/>
                      </a:cubicBezTo>
                      <a:cubicBezTo>
                        <a:pt x="134398" y="165358"/>
                        <a:pt x="132112" y="167835"/>
                        <a:pt x="124777" y="171264"/>
                      </a:cubicBezTo>
                      <a:cubicBezTo>
                        <a:pt x="100203" y="159643"/>
                        <a:pt x="88582" y="125925"/>
                        <a:pt x="69247" y="108113"/>
                      </a:cubicBezTo>
                      <a:cubicBezTo>
                        <a:pt x="68008" y="109161"/>
                        <a:pt x="67151" y="110113"/>
                        <a:pt x="66104" y="111257"/>
                      </a:cubicBezTo>
                      <a:cubicBezTo>
                        <a:pt x="73533" y="137069"/>
                        <a:pt x="81058" y="157167"/>
                        <a:pt x="96202" y="174217"/>
                      </a:cubicBezTo>
                      <a:cubicBezTo>
                        <a:pt x="90202" y="182313"/>
                        <a:pt x="59626" y="194886"/>
                        <a:pt x="48101" y="186313"/>
                      </a:cubicBezTo>
                      <a:cubicBezTo>
                        <a:pt x="63246" y="157548"/>
                        <a:pt x="18669" y="36390"/>
                        <a:pt x="0" y="18007"/>
                      </a:cubicBezTo>
                      <a:lnTo>
                        <a:pt x="0" y="13435"/>
                      </a:lnTo>
                      <a:cubicBezTo>
                        <a:pt x="13716" y="8958"/>
                        <a:pt x="27146" y="4386"/>
                        <a:pt x="40672" y="4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36" name="任意多边形: 形状 1135">
                  <a:extLst>
                    <a:ext uri="{FF2B5EF4-FFF2-40B4-BE49-F238E27FC236}">
                      <a16:creationId xmlns:a16="http://schemas.microsoft.com/office/drawing/2014/main" id="{BFADD5A6-E3F6-4EF4-B876-98620CCB15EB}"/>
                    </a:ext>
                  </a:extLst>
                </p:cNvPr>
                <p:cNvSpPr/>
                <p:nvPr/>
              </p:nvSpPr>
              <p:spPr>
                <a:xfrm>
                  <a:off x="3946366" y="6222968"/>
                  <a:ext cx="38351" cy="75152"/>
                </a:xfrm>
                <a:custGeom>
                  <a:avLst/>
                  <a:gdLst>
                    <a:gd name="connsiteX0" fmla="*/ 9049 w 38351"/>
                    <a:gd name="connsiteY0" fmla="*/ 0 h 75152"/>
                    <a:gd name="connsiteX1" fmla="*/ 0 w 38351"/>
                    <a:gd name="connsiteY1" fmla="*/ 7620 h 75152"/>
                    <a:gd name="connsiteX2" fmla="*/ 21050 w 38351"/>
                    <a:gd name="connsiteY2" fmla="*/ 75152 h 75152"/>
                    <a:gd name="connsiteX3" fmla="*/ 34576 w 38351"/>
                    <a:gd name="connsiteY3" fmla="*/ 66104 h 75152"/>
                    <a:gd name="connsiteX4" fmla="*/ 9049 w 38351"/>
                    <a:gd name="connsiteY4" fmla="*/ 0 h 751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351" h="75152">
                      <a:moveTo>
                        <a:pt x="9049" y="0"/>
                      </a:moveTo>
                      <a:cubicBezTo>
                        <a:pt x="6096" y="2477"/>
                        <a:pt x="3143" y="5048"/>
                        <a:pt x="0" y="7620"/>
                      </a:cubicBezTo>
                      <a:cubicBezTo>
                        <a:pt x="1429" y="27146"/>
                        <a:pt x="10097" y="62579"/>
                        <a:pt x="21050" y="75152"/>
                      </a:cubicBezTo>
                      <a:cubicBezTo>
                        <a:pt x="27718" y="73152"/>
                        <a:pt x="31433" y="71723"/>
                        <a:pt x="34576" y="66104"/>
                      </a:cubicBezTo>
                      <a:cubicBezTo>
                        <a:pt x="47435" y="44577"/>
                        <a:pt x="24575" y="5810"/>
                        <a:pt x="9049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37" name="任意多边形: 形状 1136">
                  <a:extLst>
                    <a:ext uri="{FF2B5EF4-FFF2-40B4-BE49-F238E27FC236}">
                      <a16:creationId xmlns:a16="http://schemas.microsoft.com/office/drawing/2014/main" id="{065F66FA-0311-4210-B0DD-F8FDB84725B3}"/>
                    </a:ext>
                  </a:extLst>
                </p:cNvPr>
                <p:cNvSpPr/>
                <p:nvPr/>
              </p:nvSpPr>
              <p:spPr>
                <a:xfrm>
                  <a:off x="3812729" y="6236570"/>
                  <a:ext cx="114907" cy="188613"/>
                </a:xfrm>
                <a:custGeom>
                  <a:avLst/>
                  <a:gdLst>
                    <a:gd name="connsiteX0" fmla="*/ 30005 w 114907"/>
                    <a:gd name="connsiteY0" fmla="*/ 19 h 188613"/>
                    <a:gd name="connsiteX1" fmla="*/ 82583 w 114907"/>
                    <a:gd name="connsiteY1" fmla="*/ 186518 h 188613"/>
                    <a:gd name="connsiteX2" fmla="*/ 30005 w 114907"/>
                    <a:gd name="connsiteY2" fmla="*/ 19 h 1886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907" h="188613">
                      <a:moveTo>
                        <a:pt x="30005" y="19"/>
                      </a:moveTo>
                      <a:cubicBezTo>
                        <a:pt x="111253" y="-1982"/>
                        <a:pt x="145067" y="157657"/>
                        <a:pt x="82583" y="186518"/>
                      </a:cubicBezTo>
                      <a:cubicBezTo>
                        <a:pt x="2192" y="209188"/>
                        <a:pt x="-27717" y="41357"/>
                        <a:pt x="30005" y="19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38" name="任意多边形: 形状 1137">
                  <a:extLst>
                    <a:ext uri="{FF2B5EF4-FFF2-40B4-BE49-F238E27FC236}">
                      <a16:creationId xmlns:a16="http://schemas.microsoft.com/office/drawing/2014/main" id="{1DEA1860-1803-4C14-8C13-37CFFAEC17B9}"/>
                    </a:ext>
                  </a:extLst>
                </p:cNvPr>
                <p:cNvSpPr/>
                <p:nvPr/>
              </p:nvSpPr>
              <p:spPr>
                <a:xfrm>
                  <a:off x="3125787" y="6238208"/>
                  <a:ext cx="39607" cy="71913"/>
                </a:xfrm>
                <a:custGeom>
                  <a:avLst/>
                  <a:gdLst>
                    <a:gd name="connsiteX0" fmla="*/ 22574 w 39607"/>
                    <a:gd name="connsiteY0" fmla="*/ 0 h 71913"/>
                    <a:gd name="connsiteX1" fmla="*/ 0 w 39607"/>
                    <a:gd name="connsiteY1" fmla="*/ 69056 h 71913"/>
                    <a:gd name="connsiteX2" fmla="*/ 16574 w 39607"/>
                    <a:gd name="connsiteY2" fmla="*/ 71914 h 71913"/>
                    <a:gd name="connsiteX3" fmla="*/ 28670 w 39607"/>
                    <a:gd name="connsiteY3" fmla="*/ 1334 h 71913"/>
                    <a:gd name="connsiteX4" fmla="*/ 22574 w 39607"/>
                    <a:gd name="connsiteY4" fmla="*/ 0 h 71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607" h="71913">
                      <a:moveTo>
                        <a:pt x="22574" y="0"/>
                      </a:moveTo>
                      <a:cubicBezTo>
                        <a:pt x="10763" y="16193"/>
                        <a:pt x="3524" y="46006"/>
                        <a:pt x="0" y="69056"/>
                      </a:cubicBezTo>
                      <a:cubicBezTo>
                        <a:pt x="4572" y="71247"/>
                        <a:pt x="8572" y="71914"/>
                        <a:pt x="16574" y="71914"/>
                      </a:cubicBezTo>
                      <a:cubicBezTo>
                        <a:pt x="25813" y="60579"/>
                        <a:pt x="55436" y="14764"/>
                        <a:pt x="28670" y="1334"/>
                      </a:cubicBezTo>
                      <a:cubicBezTo>
                        <a:pt x="26575" y="857"/>
                        <a:pt x="24479" y="381"/>
                        <a:pt x="22574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39" name="任意多边形: 形状 1138">
                  <a:extLst>
                    <a:ext uri="{FF2B5EF4-FFF2-40B4-BE49-F238E27FC236}">
                      <a16:creationId xmlns:a16="http://schemas.microsoft.com/office/drawing/2014/main" id="{FB53FF02-5996-42C1-A6D4-8B54B47F6990}"/>
                    </a:ext>
                  </a:extLst>
                </p:cNvPr>
                <p:cNvSpPr/>
                <p:nvPr/>
              </p:nvSpPr>
              <p:spPr>
                <a:xfrm>
                  <a:off x="3175317" y="6244113"/>
                  <a:ext cx="123253" cy="195287"/>
                </a:xfrm>
                <a:custGeom>
                  <a:avLst/>
                  <a:gdLst>
                    <a:gd name="connsiteX0" fmla="*/ 42100 w 123253"/>
                    <a:gd name="connsiteY0" fmla="*/ 0 h 195287"/>
                    <a:gd name="connsiteX1" fmla="*/ 123254 w 123253"/>
                    <a:gd name="connsiteY1" fmla="*/ 19431 h 195287"/>
                    <a:gd name="connsiteX2" fmla="*/ 117253 w 123253"/>
                    <a:gd name="connsiteY2" fmla="*/ 48006 h 195287"/>
                    <a:gd name="connsiteX3" fmla="*/ 108204 w 123253"/>
                    <a:gd name="connsiteY3" fmla="*/ 48006 h 195287"/>
                    <a:gd name="connsiteX4" fmla="*/ 90202 w 123253"/>
                    <a:gd name="connsiteY4" fmla="*/ 16478 h 195287"/>
                    <a:gd name="connsiteX5" fmla="*/ 72200 w 123253"/>
                    <a:gd name="connsiteY5" fmla="*/ 22479 h 195287"/>
                    <a:gd name="connsiteX6" fmla="*/ 61627 w 123253"/>
                    <a:gd name="connsiteY6" fmla="*/ 84106 h 195287"/>
                    <a:gd name="connsiteX7" fmla="*/ 72200 w 123253"/>
                    <a:gd name="connsiteY7" fmla="*/ 84106 h 195287"/>
                    <a:gd name="connsiteX8" fmla="*/ 93154 w 123253"/>
                    <a:gd name="connsiteY8" fmla="*/ 58674 h 195287"/>
                    <a:gd name="connsiteX9" fmla="*/ 93154 w 123253"/>
                    <a:gd name="connsiteY9" fmla="*/ 60103 h 195287"/>
                    <a:gd name="connsiteX10" fmla="*/ 75152 w 123253"/>
                    <a:gd name="connsiteY10" fmla="*/ 139827 h 195287"/>
                    <a:gd name="connsiteX11" fmla="*/ 73628 w 123253"/>
                    <a:gd name="connsiteY11" fmla="*/ 139827 h 195287"/>
                    <a:gd name="connsiteX12" fmla="*/ 70580 w 123253"/>
                    <a:gd name="connsiteY12" fmla="*/ 138398 h 195287"/>
                    <a:gd name="connsiteX13" fmla="*/ 58579 w 123253"/>
                    <a:gd name="connsiteY13" fmla="*/ 100775 h 195287"/>
                    <a:gd name="connsiteX14" fmla="*/ 54007 w 123253"/>
                    <a:gd name="connsiteY14" fmla="*/ 103727 h 195287"/>
                    <a:gd name="connsiteX15" fmla="*/ 46577 w 123253"/>
                    <a:gd name="connsiteY15" fmla="*/ 178975 h 195287"/>
                    <a:gd name="connsiteX16" fmla="*/ 94679 w 123253"/>
                    <a:gd name="connsiteY16" fmla="*/ 153353 h 195287"/>
                    <a:gd name="connsiteX17" fmla="*/ 97631 w 123253"/>
                    <a:gd name="connsiteY17" fmla="*/ 160782 h 195287"/>
                    <a:gd name="connsiteX18" fmla="*/ 85630 w 123253"/>
                    <a:gd name="connsiteY18" fmla="*/ 195263 h 195287"/>
                    <a:gd name="connsiteX19" fmla="*/ 0 w 123253"/>
                    <a:gd name="connsiteY19" fmla="*/ 177260 h 195287"/>
                    <a:gd name="connsiteX20" fmla="*/ 0 w 123253"/>
                    <a:gd name="connsiteY20" fmla="*/ 174403 h 195287"/>
                    <a:gd name="connsiteX21" fmla="*/ 45053 w 123253"/>
                    <a:gd name="connsiteY21" fmla="*/ 27051 h 195287"/>
                    <a:gd name="connsiteX22" fmla="*/ 42100 w 123253"/>
                    <a:gd name="connsiteY22" fmla="*/ 0 h 195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23253" h="195287">
                      <a:moveTo>
                        <a:pt x="42100" y="0"/>
                      </a:moveTo>
                      <a:cubicBezTo>
                        <a:pt x="70866" y="1810"/>
                        <a:pt x="103727" y="7334"/>
                        <a:pt x="123254" y="19431"/>
                      </a:cubicBezTo>
                      <a:cubicBezTo>
                        <a:pt x="121158" y="29146"/>
                        <a:pt x="119348" y="38576"/>
                        <a:pt x="117253" y="48006"/>
                      </a:cubicBezTo>
                      <a:lnTo>
                        <a:pt x="108204" y="48006"/>
                      </a:lnTo>
                      <a:cubicBezTo>
                        <a:pt x="108395" y="28099"/>
                        <a:pt x="100298" y="25432"/>
                        <a:pt x="90202" y="16478"/>
                      </a:cubicBezTo>
                      <a:cubicBezTo>
                        <a:pt x="79153" y="16478"/>
                        <a:pt x="78010" y="18288"/>
                        <a:pt x="72200" y="22479"/>
                      </a:cubicBezTo>
                      <a:cubicBezTo>
                        <a:pt x="68675" y="43053"/>
                        <a:pt x="65151" y="63627"/>
                        <a:pt x="61627" y="84106"/>
                      </a:cubicBezTo>
                      <a:lnTo>
                        <a:pt x="72200" y="84106"/>
                      </a:lnTo>
                      <a:cubicBezTo>
                        <a:pt x="81725" y="77058"/>
                        <a:pt x="82296" y="59722"/>
                        <a:pt x="93154" y="58674"/>
                      </a:cubicBezTo>
                      <a:lnTo>
                        <a:pt x="93154" y="60103"/>
                      </a:lnTo>
                      <a:cubicBezTo>
                        <a:pt x="87154" y="86678"/>
                        <a:pt x="81153" y="113252"/>
                        <a:pt x="75152" y="139827"/>
                      </a:cubicBezTo>
                      <a:lnTo>
                        <a:pt x="73628" y="139827"/>
                      </a:lnTo>
                      <a:cubicBezTo>
                        <a:pt x="72581" y="139351"/>
                        <a:pt x="71533" y="138875"/>
                        <a:pt x="70580" y="138398"/>
                      </a:cubicBezTo>
                      <a:cubicBezTo>
                        <a:pt x="71723" y="118682"/>
                        <a:pt x="70009" y="107728"/>
                        <a:pt x="58579" y="100775"/>
                      </a:cubicBezTo>
                      <a:cubicBezTo>
                        <a:pt x="57055" y="101727"/>
                        <a:pt x="55626" y="102870"/>
                        <a:pt x="54007" y="103727"/>
                      </a:cubicBezTo>
                      <a:cubicBezTo>
                        <a:pt x="50292" y="125159"/>
                        <a:pt x="34481" y="158306"/>
                        <a:pt x="46577" y="178975"/>
                      </a:cubicBezTo>
                      <a:cubicBezTo>
                        <a:pt x="77057" y="182023"/>
                        <a:pt x="77438" y="165545"/>
                        <a:pt x="94679" y="153353"/>
                      </a:cubicBezTo>
                      <a:cubicBezTo>
                        <a:pt x="96774" y="156496"/>
                        <a:pt x="96583" y="155543"/>
                        <a:pt x="97631" y="160782"/>
                      </a:cubicBezTo>
                      <a:lnTo>
                        <a:pt x="85630" y="195263"/>
                      </a:lnTo>
                      <a:cubicBezTo>
                        <a:pt x="56293" y="195834"/>
                        <a:pt x="23050" y="186595"/>
                        <a:pt x="0" y="177260"/>
                      </a:cubicBezTo>
                      <a:lnTo>
                        <a:pt x="0" y="174403"/>
                      </a:lnTo>
                      <a:cubicBezTo>
                        <a:pt x="28861" y="146114"/>
                        <a:pt x="36957" y="73724"/>
                        <a:pt x="45053" y="27051"/>
                      </a:cubicBezTo>
                      <a:cubicBezTo>
                        <a:pt x="47911" y="11525"/>
                        <a:pt x="39053" y="8192"/>
                        <a:pt x="42100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40" name="任意多边形: 形状 1139">
                  <a:extLst>
                    <a:ext uri="{FF2B5EF4-FFF2-40B4-BE49-F238E27FC236}">
                      <a16:creationId xmlns:a16="http://schemas.microsoft.com/office/drawing/2014/main" id="{273B1854-E460-49DA-ACF0-BF3CFFB4CE8D}"/>
                    </a:ext>
                  </a:extLst>
                </p:cNvPr>
                <p:cNvSpPr/>
                <p:nvPr/>
              </p:nvSpPr>
              <p:spPr>
                <a:xfrm>
                  <a:off x="3837000" y="6245637"/>
                  <a:ext cx="64512" cy="169735"/>
                </a:xfrm>
                <a:custGeom>
                  <a:avLst/>
                  <a:gdLst>
                    <a:gd name="connsiteX0" fmla="*/ 14687 w 64512"/>
                    <a:gd name="connsiteY0" fmla="*/ 0 h 169735"/>
                    <a:gd name="connsiteX1" fmla="*/ 1161 w 64512"/>
                    <a:gd name="connsiteY1" fmla="*/ 8954 h 169735"/>
                    <a:gd name="connsiteX2" fmla="*/ 40119 w 64512"/>
                    <a:gd name="connsiteY2" fmla="*/ 169736 h 169735"/>
                    <a:gd name="connsiteX3" fmla="*/ 55263 w 64512"/>
                    <a:gd name="connsiteY3" fmla="*/ 166878 h 169735"/>
                    <a:gd name="connsiteX4" fmla="*/ 14687 w 64512"/>
                    <a:gd name="connsiteY4" fmla="*/ 0 h 1697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4512" h="169735">
                      <a:moveTo>
                        <a:pt x="14687" y="0"/>
                      </a:moveTo>
                      <a:cubicBezTo>
                        <a:pt x="10210" y="2858"/>
                        <a:pt x="5733" y="5905"/>
                        <a:pt x="1161" y="8954"/>
                      </a:cubicBezTo>
                      <a:cubicBezTo>
                        <a:pt x="-4173" y="72104"/>
                        <a:pt x="8877" y="134493"/>
                        <a:pt x="40119" y="169736"/>
                      </a:cubicBezTo>
                      <a:cubicBezTo>
                        <a:pt x="45167" y="168878"/>
                        <a:pt x="50215" y="167735"/>
                        <a:pt x="55263" y="166878"/>
                      </a:cubicBezTo>
                      <a:cubicBezTo>
                        <a:pt x="79552" y="119253"/>
                        <a:pt x="52501" y="16669"/>
                        <a:pt x="1468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41" name="任意多边形: 形状 1140">
                  <a:extLst>
                    <a:ext uri="{FF2B5EF4-FFF2-40B4-BE49-F238E27FC236}">
                      <a16:creationId xmlns:a16="http://schemas.microsoft.com/office/drawing/2014/main" id="{A3FFCA32-8E98-46DA-B530-E6958E69781F}"/>
                    </a:ext>
                  </a:extLst>
                </p:cNvPr>
                <p:cNvSpPr/>
                <p:nvPr/>
              </p:nvSpPr>
              <p:spPr>
                <a:xfrm>
                  <a:off x="3706050" y="6253162"/>
                  <a:ext cx="91054" cy="193042"/>
                </a:xfrm>
                <a:custGeom>
                  <a:avLst/>
                  <a:gdLst>
                    <a:gd name="connsiteX0" fmla="*/ 53912 w 91054"/>
                    <a:gd name="connsiteY0" fmla="*/ 0 h 193042"/>
                    <a:gd name="connsiteX1" fmla="*/ 84106 w 91054"/>
                    <a:gd name="connsiteY1" fmla="*/ 1429 h 193042"/>
                    <a:gd name="connsiteX2" fmla="*/ 90202 w 91054"/>
                    <a:gd name="connsiteY2" fmla="*/ 46672 h 193042"/>
                    <a:gd name="connsiteX3" fmla="*/ 88583 w 91054"/>
                    <a:gd name="connsiteY3" fmla="*/ 46672 h 193042"/>
                    <a:gd name="connsiteX4" fmla="*/ 85630 w 91054"/>
                    <a:gd name="connsiteY4" fmla="*/ 46672 h 193042"/>
                    <a:gd name="connsiteX5" fmla="*/ 42005 w 91054"/>
                    <a:gd name="connsiteY5" fmla="*/ 12097 h 193042"/>
                    <a:gd name="connsiteX6" fmla="*/ 40481 w 91054"/>
                    <a:gd name="connsiteY6" fmla="*/ 15049 h 193042"/>
                    <a:gd name="connsiteX7" fmla="*/ 48006 w 91054"/>
                    <a:gd name="connsiteY7" fmla="*/ 84106 h 193042"/>
                    <a:gd name="connsiteX8" fmla="*/ 50959 w 91054"/>
                    <a:gd name="connsiteY8" fmla="*/ 85630 h 193042"/>
                    <a:gd name="connsiteX9" fmla="*/ 55531 w 91054"/>
                    <a:gd name="connsiteY9" fmla="*/ 84106 h 193042"/>
                    <a:gd name="connsiteX10" fmla="*/ 67628 w 91054"/>
                    <a:gd name="connsiteY10" fmla="*/ 49625 h 193042"/>
                    <a:gd name="connsiteX11" fmla="*/ 70580 w 91054"/>
                    <a:gd name="connsiteY11" fmla="*/ 51054 h 193042"/>
                    <a:gd name="connsiteX12" fmla="*/ 70580 w 91054"/>
                    <a:gd name="connsiteY12" fmla="*/ 54102 h 193042"/>
                    <a:gd name="connsiteX13" fmla="*/ 78200 w 91054"/>
                    <a:gd name="connsiteY13" fmla="*/ 130778 h 193042"/>
                    <a:gd name="connsiteX14" fmla="*/ 75152 w 91054"/>
                    <a:gd name="connsiteY14" fmla="*/ 129349 h 193042"/>
                    <a:gd name="connsiteX15" fmla="*/ 58579 w 91054"/>
                    <a:gd name="connsiteY15" fmla="*/ 100679 h 193042"/>
                    <a:gd name="connsiteX16" fmla="*/ 50959 w 91054"/>
                    <a:gd name="connsiteY16" fmla="*/ 102298 h 193042"/>
                    <a:gd name="connsiteX17" fmla="*/ 58579 w 91054"/>
                    <a:gd name="connsiteY17" fmla="*/ 168307 h 193042"/>
                    <a:gd name="connsiteX18" fmla="*/ 75152 w 91054"/>
                    <a:gd name="connsiteY18" fmla="*/ 186309 h 193042"/>
                    <a:gd name="connsiteX19" fmla="*/ 24003 w 91054"/>
                    <a:gd name="connsiteY19" fmla="*/ 192405 h 193042"/>
                    <a:gd name="connsiteX20" fmla="*/ 24003 w 91054"/>
                    <a:gd name="connsiteY20" fmla="*/ 187928 h 193042"/>
                    <a:gd name="connsiteX21" fmla="*/ 0 w 91054"/>
                    <a:gd name="connsiteY21" fmla="*/ 15049 h 193042"/>
                    <a:gd name="connsiteX22" fmla="*/ 2953 w 91054"/>
                    <a:gd name="connsiteY22" fmla="*/ 7429 h 193042"/>
                    <a:gd name="connsiteX23" fmla="*/ 53912 w 91054"/>
                    <a:gd name="connsiteY23" fmla="*/ 0 h 1930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91054" h="193042">
                      <a:moveTo>
                        <a:pt x="53912" y="0"/>
                      </a:moveTo>
                      <a:cubicBezTo>
                        <a:pt x="64008" y="476"/>
                        <a:pt x="73914" y="953"/>
                        <a:pt x="84106" y="1429"/>
                      </a:cubicBezTo>
                      <a:cubicBezTo>
                        <a:pt x="86582" y="15716"/>
                        <a:pt x="93440" y="33242"/>
                        <a:pt x="90202" y="46672"/>
                      </a:cubicBezTo>
                      <a:lnTo>
                        <a:pt x="88583" y="46672"/>
                      </a:lnTo>
                      <a:lnTo>
                        <a:pt x="85630" y="46672"/>
                      </a:lnTo>
                      <a:cubicBezTo>
                        <a:pt x="79058" y="22860"/>
                        <a:pt x="70771" y="9049"/>
                        <a:pt x="42005" y="12097"/>
                      </a:cubicBezTo>
                      <a:cubicBezTo>
                        <a:pt x="41529" y="13049"/>
                        <a:pt x="41053" y="13906"/>
                        <a:pt x="40481" y="15049"/>
                      </a:cubicBezTo>
                      <a:cubicBezTo>
                        <a:pt x="36290" y="36862"/>
                        <a:pt x="44672" y="62865"/>
                        <a:pt x="48006" y="84106"/>
                      </a:cubicBezTo>
                      <a:cubicBezTo>
                        <a:pt x="49054" y="84677"/>
                        <a:pt x="50006" y="85154"/>
                        <a:pt x="50959" y="85630"/>
                      </a:cubicBezTo>
                      <a:cubicBezTo>
                        <a:pt x="52483" y="85154"/>
                        <a:pt x="53912" y="84677"/>
                        <a:pt x="55531" y="84106"/>
                      </a:cubicBezTo>
                      <a:cubicBezTo>
                        <a:pt x="62008" y="74866"/>
                        <a:pt x="62675" y="62198"/>
                        <a:pt x="67628" y="49625"/>
                      </a:cubicBezTo>
                      <a:cubicBezTo>
                        <a:pt x="68485" y="50197"/>
                        <a:pt x="69628" y="50578"/>
                        <a:pt x="70580" y="51054"/>
                      </a:cubicBezTo>
                      <a:lnTo>
                        <a:pt x="70580" y="54102"/>
                      </a:lnTo>
                      <a:cubicBezTo>
                        <a:pt x="74200" y="62579"/>
                        <a:pt x="81725" y="121634"/>
                        <a:pt x="78200" y="130778"/>
                      </a:cubicBezTo>
                      <a:cubicBezTo>
                        <a:pt x="77153" y="130302"/>
                        <a:pt x="76105" y="129826"/>
                        <a:pt x="75152" y="129349"/>
                      </a:cubicBezTo>
                      <a:cubicBezTo>
                        <a:pt x="72295" y="116681"/>
                        <a:pt x="67532" y="107252"/>
                        <a:pt x="58579" y="100679"/>
                      </a:cubicBezTo>
                      <a:cubicBezTo>
                        <a:pt x="56007" y="101251"/>
                        <a:pt x="53530" y="101727"/>
                        <a:pt x="50959" y="102298"/>
                      </a:cubicBezTo>
                      <a:cubicBezTo>
                        <a:pt x="53435" y="124206"/>
                        <a:pt x="55912" y="146304"/>
                        <a:pt x="58579" y="168307"/>
                      </a:cubicBezTo>
                      <a:cubicBezTo>
                        <a:pt x="62484" y="177641"/>
                        <a:pt x="71723" y="176213"/>
                        <a:pt x="75152" y="186309"/>
                      </a:cubicBezTo>
                      <a:cubicBezTo>
                        <a:pt x="55245" y="186595"/>
                        <a:pt x="38481" y="195453"/>
                        <a:pt x="24003" y="192405"/>
                      </a:cubicBezTo>
                      <a:lnTo>
                        <a:pt x="24003" y="187928"/>
                      </a:lnTo>
                      <a:cubicBezTo>
                        <a:pt x="42958" y="172688"/>
                        <a:pt x="16669" y="21241"/>
                        <a:pt x="0" y="15049"/>
                      </a:cubicBezTo>
                      <a:cubicBezTo>
                        <a:pt x="953" y="9430"/>
                        <a:pt x="571" y="10382"/>
                        <a:pt x="2953" y="7429"/>
                      </a:cubicBezTo>
                      <a:cubicBezTo>
                        <a:pt x="15145" y="9239"/>
                        <a:pt x="40291" y="6572"/>
                        <a:pt x="53912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42" name="任意多边形: 形状 1141">
                  <a:extLst>
                    <a:ext uri="{FF2B5EF4-FFF2-40B4-BE49-F238E27FC236}">
                      <a16:creationId xmlns:a16="http://schemas.microsoft.com/office/drawing/2014/main" id="{6BED7FDE-E283-4175-8D29-9AFBF8AF0120}"/>
                    </a:ext>
                  </a:extLst>
                </p:cNvPr>
                <p:cNvSpPr/>
                <p:nvPr/>
              </p:nvSpPr>
              <p:spPr>
                <a:xfrm>
                  <a:off x="3555650" y="6269425"/>
                  <a:ext cx="107794" cy="186634"/>
                </a:xfrm>
                <a:custGeom>
                  <a:avLst/>
                  <a:gdLst>
                    <a:gd name="connsiteX0" fmla="*/ 10477 w 107794"/>
                    <a:gd name="connsiteY0" fmla="*/ 215 h 186634"/>
                    <a:gd name="connsiteX1" fmla="*/ 94679 w 107794"/>
                    <a:gd name="connsiteY1" fmla="*/ 28695 h 186634"/>
                    <a:gd name="connsiteX2" fmla="*/ 82582 w 107794"/>
                    <a:gd name="connsiteY2" fmla="*/ 176046 h 186634"/>
                    <a:gd name="connsiteX3" fmla="*/ 48006 w 107794"/>
                    <a:gd name="connsiteY3" fmla="*/ 185095 h 186634"/>
                    <a:gd name="connsiteX4" fmla="*/ 8954 w 107794"/>
                    <a:gd name="connsiteY4" fmla="*/ 183666 h 186634"/>
                    <a:gd name="connsiteX5" fmla="*/ 0 w 107794"/>
                    <a:gd name="connsiteY5" fmla="*/ 6216 h 186634"/>
                    <a:gd name="connsiteX6" fmla="*/ 10477 w 107794"/>
                    <a:gd name="connsiteY6" fmla="*/ 215 h 1866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7794" h="186634">
                      <a:moveTo>
                        <a:pt x="10477" y="215"/>
                      </a:moveTo>
                      <a:cubicBezTo>
                        <a:pt x="52483" y="-1023"/>
                        <a:pt x="80772" y="2406"/>
                        <a:pt x="94679" y="28695"/>
                      </a:cubicBezTo>
                      <a:cubicBezTo>
                        <a:pt x="115252" y="67938"/>
                        <a:pt x="111919" y="151853"/>
                        <a:pt x="82582" y="176046"/>
                      </a:cubicBezTo>
                      <a:cubicBezTo>
                        <a:pt x="72961" y="183952"/>
                        <a:pt x="60103" y="183286"/>
                        <a:pt x="48006" y="185095"/>
                      </a:cubicBezTo>
                      <a:cubicBezTo>
                        <a:pt x="37052" y="186905"/>
                        <a:pt x="17907" y="187857"/>
                        <a:pt x="8954" y="183666"/>
                      </a:cubicBezTo>
                      <a:cubicBezTo>
                        <a:pt x="27908" y="158330"/>
                        <a:pt x="16669" y="24123"/>
                        <a:pt x="0" y="6216"/>
                      </a:cubicBezTo>
                      <a:cubicBezTo>
                        <a:pt x="3429" y="4215"/>
                        <a:pt x="6858" y="2215"/>
                        <a:pt x="10477" y="215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43" name="任意多边形: 形状 1142">
                  <a:extLst>
                    <a:ext uri="{FF2B5EF4-FFF2-40B4-BE49-F238E27FC236}">
                      <a16:creationId xmlns:a16="http://schemas.microsoft.com/office/drawing/2014/main" id="{120438ED-1C0F-49CA-BC27-4A92D3371E41}"/>
                    </a:ext>
                  </a:extLst>
                </p:cNvPr>
                <p:cNvSpPr/>
                <p:nvPr/>
              </p:nvSpPr>
              <p:spPr>
                <a:xfrm>
                  <a:off x="3327336" y="6271164"/>
                  <a:ext cx="100488" cy="184879"/>
                </a:xfrm>
                <a:custGeom>
                  <a:avLst/>
                  <a:gdLst>
                    <a:gd name="connsiteX0" fmla="*/ 58388 w 100488"/>
                    <a:gd name="connsiteY0" fmla="*/ 0 h 184879"/>
                    <a:gd name="connsiteX1" fmla="*/ 100489 w 100488"/>
                    <a:gd name="connsiteY1" fmla="*/ 181927 h 184879"/>
                    <a:gd name="connsiteX2" fmla="*/ 98965 w 100488"/>
                    <a:gd name="connsiteY2" fmla="*/ 184880 h 184879"/>
                    <a:gd name="connsiteX3" fmla="*/ 55340 w 100488"/>
                    <a:gd name="connsiteY3" fmla="*/ 183356 h 184879"/>
                    <a:gd name="connsiteX4" fmla="*/ 53816 w 100488"/>
                    <a:gd name="connsiteY4" fmla="*/ 180308 h 184879"/>
                    <a:gd name="connsiteX5" fmla="*/ 64484 w 100488"/>
                    <a:gd name="connsiteY5" fmla="*/ 171355 h 184879"/>
                    <a:gd name="connsiteX6" fmla="*/ 53816 w 100488"/>
                    <a:gd name="connsiteY6" fmla="*/ 129254 h 184879"/>
                    <a:gd name="connsiteX7" fmla="*/ 28289 w 100488"/>
                    <a:gd name="connsiteY7" fmla="*/ 130683 h 184879"/>
                    <a:gd name="connsiteX8" fmla="*/ 17907 w 100488"/>
                    <a:gd name="connsiteY8" fmla="*/ 165354 h 184879"/>
                    <a:gd name="connsiteX9" fmla="*/ 26860 w 100488"/>
                    <a:gd name="connsiteY9" fmla="*/ 181927 h 184879"/>
                    <a:gd name="connsiteX10" fmla="*/ 20860 w 100488"/>
                    <a:gd name="connsiteY10" fmla="*/ 183356 h 184879"/>
                    <a:gd name="connsiteX11" fmla="*/ 0 w 100488"/>
                    <a:gd name="connsiteY11" fmla="*/ 178879 h 184879"/>
                    <a:gd name="connsiteX12" fmla="*/ 0 w 100488"/>
                    <a:gd name="connsiteY12" fmla="*/ 177355 h 184879"/>
                    <a:gd name="connsiteX13" fmla="*/ 58388 w 100488"/>
                    <a:gd name="connsiteY13" fmla="*/ 0 h 1848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0488" h="184879">
                      <a:moveTo>
                        <a:pt x="58388" y="0"/>
                      </a:moveTo>
                      <a:cubicBezTo>
                        <a:pt x="74295" y="13525"/>
                        <a:pt x="83248" y="152019"/>
                        <a:pt x="100489" y="181927"/>
                      </a:cubicBezTo>
                      <a:cubicBezTo>
                        <a:pt x="100013" y="182784"/>
                        <a:pt x="99441" y="183928"/>
                        <a:pt x="98965" y="184880"/>
                      </a:cubicBezTo>
                      <a:cubicBezTo>
                        <a:pt x="84487" y="184404"/>
                        <a:pt x="69913" y="183832"/>
                        <a:pt x="55340" y="183356"/>
                      </a:cubicBezTo>
                      <a:cubicBezTo>
                        <a:pt x="54864" y="182308"/>
                        <a:pt x="54292" y="181451"/>
                        <a:pt x="53816" y="180308"/>
                      </a:cubicBezTo>
                      <a:cubicBezTo>
                        <a:pt x="58102" y="177451"/>
                        <a:pt x="61627" y="176022"/>
                        <a:pt x="64484" y="171355"/>
                      </a:cubicBezTo>
                      <a:cubicBezTo>
                        <a:pt x="69056" y="154876"/>
                        <a:pt x="60865" y="138493"/>
                        <a:pt x="53816" y="129254"/>
                      </a:cubicBezTo>
                      <a:cubicBezTo>
                        <a:pt x="45244" y="129826"/>
                        <a:pt x="36767" y="130302"/>
                        <a:pt x="28289" y="130683"/>
                      </a:cubicBezTo>
                      <a:cubicBezTo>
                        <a:pt x="23336" y="141160"/>
                        <a:pt x="18764" y="150781"/>
                        <a:pt x="17907" y="165354"/>
                      </a:cubicBezTo>
                      <a:cubicBezTo>
                        <a:pt x="20860" y="170878"/>
                        <a:pt x="23908" y="176403"/>
                        <a:pt x="26860" y="181927"/>
                      </a:cubicBezTo>
                      <a:cubicBezTo>
                        <a:pt x="24765" y="182308"/>
                        <a:pt x="22955" y="182784"/>
                        <a:pt x="20860" y="183356"/>
                      </a:cubicBezTo>
                      <a:cubicBezTo>
                        <a:pt x="14097" y="181927"/>
                        <a:pt x="6953" y="180308"/>
                        <a:pt x="0" y="178879"/>
                      </a:cubicBezTo>
                      <a:lnTo>
                        <a:pt x="0" y="177355"/>
                      </a:lnTo>
                      <a:cubicBezTo>
                        <a:pt x="33338" y="130969"/>
                        <a:pt x="31528" y="54292"/>
                        <a:pt x="58388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2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44" name="任意多边形: 形状 1143">
                  <a:extLst>
                    <a:ext uri="{FF2B5EF4-FFF2-40B4-BE49-F238E27FC236}">
                      <a16:creationId xmlns:a16="http://schemas.microsoft.com/office/drawing/2014/main" id="{527AD32B-EE50-4FBA-9924-C397FC2C9983}"/>
                    </a:ext>
                  </a:extLst>
                </p:cNvPr>
                <p:cNvSpPr/>
                <p:nvPr/>
              </p:nvSpPr>
              <p:spPr>
                <a:xfrm>
                  <a:off x="3445922" y="6272498"/>
                  <a:ext cx="99250" cy="185750"/>
                </a:xfrm>
                <a:custGeom>
                  <a:avLst/>
                  <a:gdLst>
                    <a:gd name="connsiteX0" fmla="*/ 88583 w 99250"/>
                    <a:gd name="connsiteY0" fmla="*/ 0 h 185750"/>
                    <a:gd name="connsiteX1" fmla="*/ 99250 w 99250"/>
                    <a:gd name="connsiteY1" fmla="*/ 1619 h 185750"/>
                    <a:gd name="connsiteX2" fmla="*/ 90202 w 99250"/>
                    <a:gd name="connsiteY2" fmla="*/ 18002 h 185750"/>
                    <a:gd name="connsiteX3" fmla="*/ 88678 w 99250"/>
                    <a:gd name="connsiteY3" fmla="*/ 184976 h 185750"/>
                    <a:gd name="connsiteX4" fmla="*/ 22670 w 99250"/>
                    <a:gd name="connsiteY4" fmla="*/ 61627 h 185750"/>
                    <a:gd name="connsiteX5" fmla="*/ 19621 w 99250"/>
                    <a:gd name="connsiteY5" fmla="*/ 63246 h 185750"/>
                    <a:gd name="connsiteX6" fmla="*/ 28575 w 99250"/>
                    <a:gd name="connsiteY6" fmla="*/ 183452 h 185750"/>
                    <a:gd name="connsiteX7" fmla="*/ 27051 w 99250"/>
                    <a:gd name="connsiteY7" fmla="*/ 184880 h 185750"/>
                    <a:gd name="connsiteX8" fmla="*/ 1619 w 99250"/>
                    <a:gd name="connsiteY8" fmla="*/ 181832 h 185750"/>
                    <a:gd name="connsiteX9" fmla="*/ 4572 w 99250"/>
                    <a:gd name="connsiteY9" fmla="*/ 177355 h 185750"/>
                    <a:gd name="connsiteX10" fmla="*/ 10573 w 99250"/>
                    <a:gd name="connsiteY10" fmla="*/ 31528 h 185750"/>
                    <a:gd name="connsiteX11" fmla="*/ 0 w 99250"/>
                    <a:gd name="connsiteY11" fmla="*/ 5905 h 185750"/>
                    <a:gd name="connsiteX12" fmla="*/ 1524 w 99250"/>
                    <a:gd name="connsiteY12" fmla="*/ 4477 h 185750"/>
                    <a:gd name="connsiteX13" fmla="*/ 25527 w 99250"/>
                    <a:gd name="connsiteY13" fmla="*/ 1524 h 185750"/>
                    <a:gd name="connsiteX14" fmla="*/ 78105 w 99250"/>
                    <a:gd name="connsiteY14" fmla="*/ 94774 h 185750"/>
                    <a:gd name="connsiteX15" fmla="*/ 81058 w 99250"/>
                    <a:gd name="connsiteY15" fmla="*/ 90202 h 185750"/>
                    <a:gd name="connsiteX16" fmla="*/ 70580 w 99250"/>
                    <a:gd name="connsiteY16" fmla="*/ 4572 h 185750"/>
                    <a:gd name="connsiteX17" fmla="*/ 72104 w 99250"/>
                    <a:gd name="connsiteY17" fmla="*/ 1619 h 185750"/>
                    <a:gd name="connsiteX18" fmla="*/ 88583 w 99250"/>
                    <a:gd name="connsiteY18" fmla="*/ 0 h 1857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99250" h="185750">
                      <a:moveTo>
                        <a:pt x="88583" y="0"/>
                      </a:moveTo>
                      <a:cubicBezTo>
                        <a:pt x="92202" y="667"/>
                        <a:pt x="95631" y="1143"/>
                        <a:pt x="99250" y="1619"/>
                      </a:cubicBezTo>
                      <a:cubicBezTo>
                        <a:pt x="97155" y="9620"/>
                        <a:pt x="92107" y="10954"/>
                        <a:pt x="90202" y="18002"/>
                      </a:cubicBezTo>
                      <a:cubicBezTo>
                        <a:pt x="79438" y="59341"/>
                        <a:pt x="106204" y="165545"/>
                        <a:pt x="88678" y="184976"/>
                      </a:cubicBezTo>
                      <a:cubicBezTo>
                        <a:pt x="55054" y="156686"/>
                        <a:pt x="54578" y="91916"/>
                        <a:pt x="22670" y="61627"/>
                      </a:cubicBezTo>
                      <a:cubicBezTo>
                        <a:pt x="21622" y="62294"/>
                        <a:pt x="20574" y="62770"/>
                        <a:pt x="19621" y="63246"/>
                      </a:cubicBezTo>
                      <a:cubicBezTo>
                        <a:pt x="18288" y="102584"/>
                        <a:pt x="18669" y="151067"/>
                        <a:pt x="28575" y="183452"/>
                      </a:cubicBezTo>
                      <a:lnTo>
                        <a:pt x="27051" y="184880"/>
                      </a:lnTo>
                      <a:cubicBezTo>
                        <a:pt x="15050" y="185738"/>
                        <a:pt x="7144" y="187262"/>
                        <a:pt x="1619" y="181832"/>
                      </a:cubicBezTo>
                      <a:cubicBezTo>
                        <a:pt x="2572" y="180404"/>
                        <a:pt x="3429" y="178784"/>
                        <a:pt x="4572" y="177355"/>
                      </a:cubicBezTo>
                      <a:cubicBezTo>
                        <a:pt x="13621" y="171355"/>
                        <a:pt x="14192" y="48863"/>
                        <a:pt x="10573" y="31528"/>
                      </a:cubicBezTo>
                      <a:lnTo>
                        <a:pt x="0" y="5905"/>
                      </a:lnTo>
                      <a:cubicBezTo>
                        <a:pt x="476" y="5429"/>
                        <a:pt x="1048" y="5048"/>
                        <a:pt x="1524" y="4477"/>
                      </a:cubicBezTo>
                      <a:cubicBezTo>
                        <a:pt x="11239" y="4858"/>
                        <a:pt x="19526" y="4001"/>
                        <a:pt x="25527" y="1524"/>
                      </a:cubicBezTo>
                      <a:cubicBezTo>
                        <a:pt x="51530" y="23717"/>
                        <a:pt x="52007" y="72676"/>
                        <a:pt x="78105" y="94774"/>
                      </a:cubicBezTo>
                      <a:cubicBezTo>
                        <a:pt x="79058" y="93154"/>
                        <a:pt x="80105" y="91726"/>
                        <a:pt x="81058" y="90202"/>
                      </a:cubicBezTo>
                      <a:cubicBezTo>
                        <a:pt x="92202" y="65627"/>
                        <a:pt x="82487" y="19907"/>
                        <a:pt x="70580" y="4572"/>
                      </a:cubicBezTo>
                      <a:cubicBezTo>
                        <a:pt x="71152" y="3715"/>
                        <a:pt x="71628" y="2572"/>
                        <a:pt x="72104" y="1619"/>
                      </a:cubicBezTo>
                      <a:cubicBezTo>
                        <a:pt x="77629" y="1143"/>
                        <a:pt x="83153" y="667"/>
                        <a:pt x="88583" y="0"/>
                      </a:cubicBezTo>
                      <a:close/>
                    </a:path>
                  </a:pathLst>
                </a:custGeom>
                <a:solidFill>
                  <a:srgbClr val="23181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45" name="任意多边形: 形状 1144">
                  <a:extLst>
                    <a:ext uri="{FF2B5EF4-FFF2-40B4-BE49-F238E27FC236}">
                      <a16:creationId xmlns:a16="http://schemas.microsoft.com/office/drawing/2014/main" id="{ADCB2032-004C-41FF-9E95-3A31A43AA29E}"/>
                    </a:ext>
                  </a:extLst>
                </p:cNvPr>
                <p:cNvSpPr/>
                <p:nvPr/>
              </p:nvSpPr>
              <p:spPr>
                <a:xfrm>
                  <a:off x="3592869" y="6280118"/>
                  <a:ext cx="44135" cy="163959"/>
                </a:xfrm>
                <a:custGeom>
                  <a:avLst/>
                  <a:gdLst>
                    <a:gd name="connsiteX0" fmla="*/ 6406 w 44135"/>
                    <a:gd name="connsiteY0" fmla="*/ 0 h 163959"/>
                    <a:gd name="connsiteX1" fmla="*/ 119 w 44135"/>
                    <a:gd name="connsiteY1" fmla="*/ 6001 h 163959"/>
                    <a:gd name="connsiteX2" fmla="*/ 21360 w 44135"/>
                    <a:gd name="connsiteY2" fmla="*/ 163830 h 163959"/>
                    <a:gd name="connsiteX3" fmla="*/ 6406 w 44135"/>
                    <a:gd name="connsiteY3" fmla="*/ 0 h 1639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4135" h="163959">
                      <a:moveTo>
                        <a:pt x="6406" y="0"/>
                      </a:moveTo>
                      <a:cubicBezTo>
                        <a:pt x="4310" y="2096"/>
                        <a:pt x="2215" y="4001"/>
                        <a:pt x="119" y="6001"/>
                      </a:cubicBezTo>
                      <a:cubicBezTo>
                        <a:pt x="-452" y="35528"/>
                        <a:pt x="214" y="168688"/>
                        <a:pt x="21360" y="163830"/>
                      </a:cubicBezTo>
                      <a:cubicBezTo>
                        <a:pt x="58602" y="145733"/>
                        <a:pt x="47744" y="5429"/>
                        <a:pt x="640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46" name="任意多边形: 形状 1145">
                  <a:extLst>
                    <a:ext uri="{FF2B5EF4-FFF2-40B4-BE49-F238E27FC236}">
                      <a16:creationId xmlns:a16="http://schemas.microsoft.com/office/drawing/2014/main" id="{DEF1F3E4-FD34-4D98-921A-52D0E7E86966}"/>
                    </a:ext>
                  </a:extLst>
                </p:cNvPr>
                <p:cNvSpPr/>
                <p:nvPr/>
              </p:nvSpPr>
              <p:spPr>
                <a:xfrm>
                  <a:off x="3362128" y="6343268"/>
                  <a:ext cx="20643" cy="45148"/>
                </a:xfrm>
                <a:custGeom>
                  <a:avLst/>
                  <a:gdLst>
                    <a:gd name="connsiteX0" fmla="*/ 10071 w 20643"/>
                    <a:gd name="connsiteY0" fmla="*/ 0 h 45148"/>
                    <a:gd name="connsiteX1" fmla="*/ 1117 w 20643"/>
                    <a:gd name="connsiteY1" fmla="*/ 45149 h 45148"/>
                    <a:gd name="connsiteX2" fmla="*/ 19120 w 20643"/>
                    <a:gd name="connsiteY2" fmla="*/ 42196 h 45148"/>
                    <a:gd name="connsiteX3" fmla="*/ 20644 w 20643"/>
                    <a:gd name="connsiteY3" fmla="*/ 37624 h 45148"/>
                    <a:gd name="connsiteX4" fmla="*/ 10071 w 20643"/>
                    <a:gd name="connsiteY4" fmla="*/ 0 h 45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0643" h="45148">
                      <a:moveTo>
                        <a:pt x="10071" y="0"/>
                      </a:moveTo>
                      <a:cubicBezTo>
                        <a:pt x="3975" y="9906"/>
                        <a:pt x="-2693" y="30956"/>
                        <a:pt x="1117" y="45149"/>
                      </a:cubicBezTo>
                      <a:cubicBezTo>
                        <a:pt x="7118" y="44101"/>
                        <a:pt x="13119" y="43053"/>
                        <a:pt x="19120" y="42196"/>
                      </a:cubicBezTo>
                      <a:cubicBezTo>
                        <a:pt x="19691" y="40672"/>
                        <a:pt x="20263" y="39148"/>
                        <a:pt x="20644" y="37624"/>
                      </a:cubicBezTo>
                      <a:cubicBezTo>
                        <a:pt x="19596" y="25527"/>
                        <a:pt x="17310" y="3429"/>
                        <a:pt x="10071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012" name="图形 7">
              <a:extLst>
                <a:ext uri="{FF2B5EF4-FFF2-40B4-BE49-F238E27FC236}">
                  <a16:creationId xmlns:a16="http://schemas.microsoft.com/office/drawing/2014/main" id="{B624884B-0034-475E-97CC-2BA8F30F70CB}"/>
                </a:ext>
              </a:extLst>
            </p:cNvPr>
            <p:cNvGrpSpPr/>
            <p:nvPr/>
          </p:nvGrpSpPr>
          <p:grpSpPr>
            <a:xfrm>
              <a:off x="8282628" y="-820039"/>
              <a:ext cx="1923862" cy="470602"/>
              <a:chOff x="1816114" y="6783404"/>
              <a:chExt cx="3505376" cy="857460"/>
            </a:xfrm>
            <a:solidFill>
              <a:schemeClr val="tx1"/>
            </a:solidFill>
          </p:grpSpPr>
          <p:grpSp>
            <p:nvGrpSpPr>
              <p:cNvPr id="1013" name="图形 7">
                <a:extLst>
                  <a:ext uri="{FF2B5EF4-FFF2-40B4-BE49-F238E27FC236}">
                    <a16:creationId xmlns:a16="http://schemas.microsoft.com/office/drawing/2014/main" id="{CDB23FF1-C2C4-4266-A3FB-0AB43E0291AE}"/>
                  </a:ext>
                </a:extLst>
              </p:cNvPr>
              <p:cNvGrpSpPr/>
              <p:nvPr/>
            </p:nvGrpSpPr>
            <p:grpSpPr>
              <a:xfrm>
                <a:off x="1816114" y="6783404"/>
                <a:ext cx="3467184" cy="594778"/>
                <a:chOff x="1816114" y="6783404"/>
                <a:chExt cx="3467184" cy="594778"/>
              </a:xfrm>
              <a:grpFill/>
            </p:grpSpPr>
            <p:sp>
              <p:nvSpPr>
                <p:cNvPr id="1053" name="任意多边形: 形状 1052">
                  <a:extLst>
                    <a:ext uri="{FF2B5EF4-FFF2-40B4-BE49-F238E27FC236}">
                      <a16:creationId xmlns:a16="http://schemas.microsoft.com/office/drawing/2014/main" id="{CBE4716B-406A-4B18-B575-DD1048BB739E}"/>
                    </a:ext>
                  </a:extLst>
                </p:cNvPr>
                <p:cNvSpPr/>
                <p:nvPr/>
              </p:nvSpPr>
              <p:spPr>
                <a:xfrm>
                  <a:off x="1816114" y="6806036"/>
                  <a:ext cx="395784" cy="572067"/>
                </a:xfrm>
                <a:custGeom>
                  <a:avLst/>
                  <a:gdLst>
                    <a:gd name="connsiteX0" fmla="*/ 380414 w 395784"/>
                    <a:gd name="connsiteY0" fmla="*/ 53 h 572067"/>
                    <a:gd name="connsiteX1" fmla="*/ 291355 w 395784"/>
                    <a:gd name="connsiteY1" fmla="*/ 55107 h 572067"/>
                    <a:gd name="connsiteX2" fmla="*/ 240111 w 395784"/>
                    <a:gd name="connsiteY2" fmla="*/ 97874 h 572067"/>
                    <a:gd name="connsiteX3" fmla="*/ 226490 w 395784"/>
                    <a:gd name="connsiteY3" fmla="*/ 125402 h 572067"/>
                    <a:gd name="connsiteX4" fmla="*/ 155910 w 395784"/>
                    <a:gd name="connsiteY4" fmla="*/ 265229 h 572067"/>
                    <a:gd name="connsiteX5" fmla="*/ 124287 w 395784"/>
                    <a:gd name="connsiteY5" fmla="*/ 333047 h 572067"/>
                    <a:gd name="connsiteX6" fmla="*/ 110666 w 395784"/>
                    <a:gd name="connsiteY6" fmla="*/ 322665 h 572067"/>
                    <a:gd name="connsiteX7" fmla="*/ 128383 w 395784"/>
                    <a:gd name="connsiteY7" fmla="*/ 222747 h 572067"/>
                    <a:gd name="connsiteX8" fmla="*/ 96283 w 395784"/>
                    <a:gd name="connsiteY8" fmla="*/ 220366 h 572067"/>
                    <a:gd name="connsiteX9" fmla="*/ 23417 w 395784"/>
                    <a:gd name="connsiteY9" fmla="*/ 307996 h 572067"/>
                    <a:gd name="connsiteX10" fmla="*/ 75043 w 395784"/>
                    <a:gd name="connsiteY10" fmla="*/ 313330 h 572067"/>
                    <a:gd name="connsiteX11" fmla="*/ 81805 w 395784"/>
                    <a:gd name="connsiteY11" fmla="*/ 295423 h 572067"/>
                    <a:gd name="connsiteX12" fmla="*/ 94759 w 395784"/>
                    <a:gd name="connsiteY12" fmla="*/ 309329 h 572067"/>
                    <a:gd name="connsiteX13" fmla="*/ 90283 w 395784"/>
                    <a:gd name="connsiteY13" fmla="*/ 382862 h 572067"/>
                    <a:gd name="connsiteX14" fmla="*/ 84663 w 395784"/>
                    <a:gd name="connsiteY14" fmla="*/ 393911 h 572067"/>
                    <a:gd name="connsiteX15" fmla="*/ 21036 w 395784"/>
                    <a:gd name="connsiteY15" fmla="*/ 538692 h 572067"/>
                    <a:gd name="connsiteX16" fmla="*/ 33133 w 395784"/>
                    <a:gd name="connsiteY16" fmla="*/ 540596 h 572067"/>
                    <a:gd name="connsiteX17" fmla="*/ 72471 w 395784"/>
                    <a:gd name="connsiteY17" fmla="*/ 500973 h 572067"/>
                    <a:gd name="connsiteX18" fmla="*/ 87520 w 395784"/>
                    <a:gd name="connsiteY18" fmla="*/ 523261 h 572067"/>
                    <a:gd name="connsiteX19" fmla="*/ 98284 w 395784"/>
                    <a:gd name="connsiteY19" fmla="*/ 570315 h 572067"/>
                    <a:gd name="connsiteX20" fmla="*/ 112571 w 395784"/>
                    <a:gd name="connsiteY20" fmla="*/ 491066 h 572067"/>
                    <a:gd name="connsiteX21" fmla="*/ 111619 w 395784"/>
                    <a:gd name="connsiteY21" fmla="*/ 448871 h 572067"/>
                    <a:gd name="connsiteX22" fmla="*/ 122953 w 395784"/>
                    <a:gd name="connsiteY22" fmla="*/ 388101 h 572067"/>
                    <a:gd name="connsiteX23" fmla="*/ 222299 w 395784"/>
                    <a:gd name="connsiteY23" fmla="*/ 189600 h 572067"/>
                    <a:gd name="connsiteX24" fmla="*/ 261542 w 395784"/>
                    <a:gd name="connsiteY24" fmla="*/ 135689 h 572067"/>
                    <a:gd name="connsiteX25" fmla="*/ 265352 w 395784"/>
                    <a:gd name="connsiteY25" fmla="*/ 148928 h 572067"/>
                    <a:gd name="connsiteX26" fmla="*/ 188390 w 395784"/>
                    <a:gd name="connsiteY26" fmla="*/ 285517 h 572067"/>
                    <a:gd name="connsiteX27" fmla="*/ 202201 w 395784"/>
                    <a:gd name="connsiteY27" fmla="*/ 331142 h 572067"/>
                    <a:gd name="connsiteX28" fmla="*/ 220013 w 395784"/>
                    <a:gd name="connsiteY28" fmla="*/ 310282 h 572067"/>
                    <a:gd name="connsiteX29" fmla="*/ 246112 w 395784"/>
                    <a:gd name="connsiteY29" fmla="*/ 255894 h 572067"/>
                    <a:gd name="connsiteX30" fmla="*/ 283831 w 395784"/>
                    <a:gd name="connsiteY30" fmla="*/ 216461 h 572067"/>
                    <a:gd name="connsiteX31" fmla="*/ 282211 w 395784"/>
                    <a:gd name="connsiteY31" fmla="*/ 233034 h 572067"/>
                    <a:gd name="connsiteX32" fmla="*/ 240778 w 395784"/>
                    <a:gd name="connsiteY32" fmla="*/ 297233 h 572067"/>
                    <a:gd name="connsiteX33" fmla="*/ 246112 w 395784"/>
                    <a:gd name="connsiteY33" fmla="*/ 310377 h 572067"/>
                    <a:gd name="connsiteX34" fmla="*/ 298309 w 395784"/>
                    <a:gd name="connsiteY34" fmla="*/ 293423 h 572067"/>
                    <a:gd name="connsiteX35" fmla="*/ 293070 w 395784"/>
                    <a:gd name="connsiteY35" fmla="*/ 282755 h 572067"/>
                    <a:gd name="connsiteX36" fmla="*/ 289927 w 395784"/>
                    <a:gd name="connsiteY36" fmla="*/ 264848 h 572067"/>
                    <a:gd name="connsiteX37" fmla="*/ 353935 w 395784"/>
                    <a:gd name="connsiteY37" fmla="*/ 162073 h 572067"/>
                    <a:gd name="connsiteX38" fmla="*/ 332218 w 395784"/>
                    <a:gd name="connsiteY38" fmla="*/ 144737 h 572067"/>
                    <a:gd name="connsiteX39" fmla="*/ 256970 w 395784"/>
                    <a:gd name="connsiteY39" fmla="*/ 218556 h 572067"/>
                    <a:gd name="connsiteX40" fmla="*/ 243635 w 395784"/>
                    <a:gd name="connsiteY40" fmla="*/ 220461 h 572067"/>
                    <a:gd name="connsiteX41" fmla="*/ 305738 w 395784"/>
                    <a:gd name="connsiteY41" fmla="*/ 128640 h 572067"/>
                    <a:gd name="connsiteX42" fmla="*/ 392035 w 395784"/>
                    <a:gd name="connsiteY42" fmla="*/ 23103 h 572067"/>
                    <a:gd name="connsiteX43" fmla="*/ 380414 w 395784"/>
                    <a:gd name="connsiteY43" fmla="*/ 53 h 5720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</a:cxnLst>
                  <a:rect l="l" t="t" r="r" b="b"/>
                  <a:pathLst>
                    <a:path w="395784" h="572067">
                      <a:moveTo>
                        <a:pt x="380414" y="53"/>
                      </a:moveTo>
                      <a:cubicBezTo>
                        <a:pt x="380414" y="53"/>
                        <a:pt x="313930" y="37772"/>
                        <a:pt x="291355" y="55107"/>
                      </a:cubicBezTo>
                      <a:cubicBezTo>
                        <a:pt x="291355" y="55107"/>
                        <a:pt x="258875" y="88826"/>
                        <a:pt x="240111" y="97874"/>
                      </a:cubicBezTo>
                      <a:cubicBezTo>
                        <a:pt x="240111" y="97874"/>
                        <a:pt x="225823" y="110924"/>
                        <a:pt x="226490" y="125402"/>
                      </a:cubicBezTo>
                      <a:cubicBezTo>
                        <a:pt x="226490" y="125402"/>
                        <a:pt x="176770" y="232272"/>
                        <a:pt x="155910" y="265229"/>
                      </a:cubicBezTo>
                      <a:cubicBezTo>
                        <a:pt x="155910" y="265229"/>
                        <a:pt x="136098" y="313140"/>
                        <a:pt x="124287" y="333047"/>
                      </a:cubicBezTo>
                      <a:cubicBezTo>
                        <a:pt x="124287" y="333047"/>
                        <a:pt x="110571" y="346572"/>
                        <a:pt x="110666" y="322665"/>
                      </a:cubicBezTo>
                      <a:cubicBezTo>
                        <a:pt x="110666" y="322665"/>
                        <a:pt x="126097" y="235225"/>
                        <a:pt x="128383" y="222747"/>
                      </a:cubicBezTo>
                      <a:cubicBezTo>
                        <a:pt x="128383" y="222747"/>
                        <a:pt x="117429" y="201411"/>
                        <a:pt x="96283" y="220366"/>
                      </a:cubicBezTo>
                      <a:cubicBezTo>
                        <a:pt x="96283" y="220366"/>
                        <a:pt x="55897" y="277040"/>
                        <a:pt x="23417" y="307996"/>
                      </a:cubicBezTo>
                      <a:cubicBezTo>
                        <a:pt x="23417" y="307996"/>
                        <a:pt x="31894" y="343048"/>
                        <a:pt x="75043" y="313330"/>
                      </a:cubicBezTo>
                      <a:cubicBezTo>
                        <a:pt x="75043" y="313330"/>
                        <a:pt x="84187" y="306948"/>
                        <a:pt x="81805" y="295423"/>
                      </a:cubicBezTo>
                      <a:cubicBezTo>
                        <a:pt x="81805" y="295423"/>
                        <a:pt x="100665" y="282278"/>
                        <a:pt x="94759" y="309329"/>
                      </a:cubicBezTo>
                      <a:cubicBezTo>
                        <a:pt x="94759" y="309329"/>
                        <a:pt x="102951" y="364575"/>
                        <a:pt x="90283" y="382862"/>
                      </a:cubicBezTo>
                      <a:cubicBezTo>
                        <a:pt x="90283" y="382862"/>
                        <a:pt x="88568" y="392102"/>
                        <a:pt x="84663" y="393911"/>
                      </a:cubicBezTo>
                      <a:cubicBezTo>
                        <a:pt x="84663" y="393911"/>
                        <a:pt x="-50878" y="536310"/>
                        <a:pt x="21036" y="538692"/>
                      </a:cubicBezTo>
                      <a:lnTo>
                        <a:pt x="33133" y="540596"/>
                      </a:lnTo>
                      <a:lnTo>
                        <a:pt x="72471" y="500973"/>
                      </a:lnTo>
                      <a:cubicBezTo>
                        <a:pt x="72471" y="500973"/>
                        <a:pt x="92854" y="483637"/>
                        <a:pt x="87520" y="523261"/>
                      </a:cubicBezTo>
                      <a:cubicBezTo>
                        <a:pt x="87520" y="523261"/>
                        <a:pt x="84663" y="573743"/>
                        <a:pt x="98284" y="570315"/>
                      </a:cubicBezTo>
                      <a:cubicBezTo>
                        <a:pt x="98284" y="570315"/>
                        <a:pt x="114286" y="590888"/>
                        <a:pt x="112571" y="491066"/>
                      </a:cubicBezTo>
                      <a:cubicBezTo>
                        <a:pt x="112571" y="491066"/>
                        <a:pt x="107904" y="455348"/>
                        <a:pt x="111619" y="448871"/>
                      </a:cubicBezTo>
                      <a:cubicBezTo>
                        <a:pt x="115524" y="442584"/>
                        <a:pt x="99236" y="436774"/>
                        <a:pt x="122953" y="388101"/>
                      </a:cubicBezTo>
                      <a:cubicBezTo>
                        <a:pt x="122953" y="388101"/>
                        <a:pt x="161053" y="268943"/>
                        <a:pt x="222299" y="189600"/>
                      </a:cubicBezTo>
                      <a:cubicBezTo>
                        <a:pt x="222299" y="189600"/>
                        <a:pt x="243064" y="146833"/>
                        <a:pt x="261542" y="135689"/>
                      </a:cubicBezTo>
                      <a:cubicBezTo>
                        <a:pt x="261542" y="135689"/>
                        <a:pt x="273448" y="137117"/>
                        <a:pt x="265352" y="148928"/>
                      </a:cubicBezTo>
                      <a:cubicBezTo>
                        <a:pt x="265352" y="148928"/>
                        <a:pt x="196010" y="247798"/>
                        <a:pt x="188390" y="285517"/>
                      </a:cubicBezTo>
                      <a:cubicBezTo>
                        <a:pt x="188390" y="285517"/>
                        <a:pt x="169626" y="340571"/>
                        <a:pt x="202201" y="331142"/>
                      </a:cubicBezTo>
                      <a:cubicBezTo>
                        <a:pt x="202201" y="331142"/>
                        <a:pt x="209250" y="331332"/>
                        <a:pt x="220013" y="310282"/>
                      </a:cubicBezTo>
                      <a:cubicBezTo>
                        <a:pt x="220013" y="310282"/>
                        <a:pt x="239539" y="269134"/>
                        <a:pt x="246112" y="255894"/>
                      </a:cubicBezTo>
                      <a:cubicBezTo>
                        <a:pt x="246112" y="255894"/>
                        <a:pt x="262780" y="227415"/>
                        <a:pt x="283831" y="216461"/>
                      </a:cubicBezTo>
                      <a:cubicBezTo>
                        <a:pt x="283831" y="216461"/>
                        <a:pt x="293546" y="218270"/>
                        <a:pt x="282211" y="233034"/>
                      </a:cubicBezTo>
                      <a:lnTo>
                        <a:pt x="240778" y="297233"/>
                      </a:lnTo>
                      <a:lnTo>
                        <a:pt x="246112" y="310377"/>
                      </a:lnTo>
                      <a:cubicBezTo>
                        <a:pt x="246112" y="310377"/>
                        <a:pt x="302690" y="313997"/>
                        <a:pt x="298309" y="293423"/>
                      </a:cubicBezTo>
                      <a:cubicBezTo>
                        <a:pt x="298309" y="293423"/>
                        <a:pt x="298309" y="284755"/>
                        <a:pt x="293070" y="282755"/>
                      </a:cubicBezTo>
                      <a:cubicBezTo>
                        <a:pt x="293070" y="282755"/>
                        <a:pt x="281449" y="273706"/>
                        <a:pt x="289927" y="264848"/>
                      </a:cubicBezTo>
                      <a:lnTo>
                        <a:pt x="353935" y="162073"/>
                      </a:lnTo>
                      <a:cubicBezTo>
                        <a:pt x="353935" y="162073"/>
                        <a:pt x="350601" y="136832"/>
                        <a:pt x="332218" y="144737"/>
                      </a:cubicBezTo>
                      <a:cubicBezTo>
                        <a:pt x="332218" y="144737"/>
                        <a:pt x="290022" y="159882"/>
                        <a:pt x="256970" y="218556"/>
                      </a:cubicBezTo>
                      <a:cubicBezTo>
                        <a:pt x="256970" y="218556"/>
                        <a:pt x="247445" y="233415"/>
                        <a:pt x="243635" y="220461"/>
                      </a:cubicBezTo>
                      <a:cubicBezTo>
                        <a:pt x="243635" y="220461"/>
                        <a:pt x="297928" y="136832"/>
                        <a:pt x="305738" y="128640"/>
                      </a:cubicBezTo>
                      <a:cubicBezTo>
                        <a:pt x="305738" y="128640"/>
                        <a:pt x="336790" y="67680"/>
                        <a:pt x="392035" y="23103"/>
                      </a:cubicBezTo>
                      <a:cubicBezTo>
                        <a:pt x="391844" y="23199"/>
                        <a:pt x="406036" y="-1281"/>
                        <a:pt x="380414" y="5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54" name="任意多边形: 形状 1053">
                  <a:extLst>
                    <a:ext uri="{FF2B5EF4-FFF2-40B4-BE49-F238E27FC236}">
                      <a16:creationId xmlns:a16="http://schemas.microsoft.com/office/drawing/2014/main" id="{F6A30484-317E-4E75-8815-FB92255B7246}"/>
                    </a:ext>
                  </a:extLst>
                </p:cNvPr>
                <p:cNvSpPr/>
                <p:nvPr/>
              </p:nvSpPr>
              <p:spPr>
                <a:xfrm>
                  <a:off x="1882679" y="6876468"/>
                  <a:ext cx="66975" cy="41062"/>
                </a:xfrm>
                <a:custGeom>
                  <a:avLst/>
                  <a:gdLst>
                    <a:gd name="connsiteX0" fmla="*/ 50673 w 66975"/>
                    <a:gd name="connsiteY0" fmla="*/ 41062 h 41062"/>
                    <a:gd name="connsiteX1" fmla="*/ 58865 w 66975"/>
                    <a:gd name="connsiteY1" fmla="*/ 7534 h 41062"/>
                    <a:gd name="connsiteX2" fmla="*/ 19050 w 66975"/>
                    <a:gd name="connsiteY2" fmla="*/ 105 h 41062"/>
                    <a:gd name="connsiteX3" fmla="*/ 0 w 66975"/>
                    <a:gd name="connsiteY3" fmla="*/ 9344 h 41062"/>
                    <a:gd name="connsiteX4" fmla="*/ 10382 w 66975"/>
                    <a:gd name="connsiteY4" fmla="*/ 28966 h 41062"/>
                    <a:gd name="connsiteX5" fmla="*/ 50673 w 66975"/>
                    <a:gd name="connsiteY5" fmla="*/ 41062 h 41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6975" h="41062">
                      <a:moveTo>
                        <a:pt x="50673" y="41062"/>
                      </a:moveTo>
                      <a:cubicBezTo>
                        <a:pt x="50673" y="41062"/>
                        <a:pt x="81058" y="36300"/>
                        <a:pt x="58865" y="7534"/>
                      </a:cubicBezTo>
                      <a:cubicBezTo>
                        <a:pt x="58865" y="7534"/>
                        <a:pt x="25146" y="-1038"/>
                        <a:pt x="19050" y="105"/>
                      </a:cubicBezTo>
                      <a:cubicBezTo>
                        <a:pt x="19050" y="105"/>
                        <a:pt x="2858" y="7725"/>
                        <a:pt x="0" y="9344"/>
                      </a:cubicBezTo>
                      <a:lnTo>
                        <a:pt x="10382" y="28966"/>
                      </a:lnTo>
                      <a:lnTo>
                        <a:pt x="50673" y="41062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55" name="任意多边形: 形状 1054">
                  <a:extLst>
                    <a:ext uri="{FF2B5EF4-FFF2-40B4-BE49-F238E27FC236}">
                      <a16:creationId xmlns:a16="http://schemas.microsoft.com/office/drawing/2014/main" id="{6D0666D8-56DA-4ADD-BA0F-D6B8A7BA6AC6}"/>
                    </a:ext>
                  </a:extLst>
                </p:cNvPr>
                <p:cNvSpPr/>
                <p:nvPr/>
              </p:nvSpPr>
              <p:spPr>
                <a:xfrm>
                  <a:off x="2059273" y="7201185"/>
                  <a:ext cx="380" cy="666"/>
                </a:xfrm>
                <a:custGeom>
                  <a:avLst/>
                  <a:gdLst>
                    <a:gd name="connsiteX0" fmla="*/ 286 w 380"/>
                    <a:gd name="connsiteY0" fmla="*/ 0 h 666"/>
                    <a:gd name="connsiteX1" fmla="*/ 0 w 380"/>
                    <a:gd name="connsiteY1" fmla="*/ 667 h 666"/>
                    <a:gd name="connsiteX2" fmla="*/ 381 w 380"/>
                    <a:gd name="connsiteY2" fmla="*/ 190 h 666"/>
                    <a:gd name="connsiteX3" fmla="*/ 286 w 380"/>
                    <a:gd name="connsiteY3" fmla="*/ 0 h 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80" h="666">
                      <a:moveTo>
                        <a:pt x="286" y="0"/>
                      </a:moveTo>
                      <a:cubicBezTo>
                        <a:pt x="286" y="95"/>
                        <a:pt x="190" y="381"/>
                        <a:pt x="0" y="667"/>
                      </a:cubicBezTo>
                      <a:cubicBezTo>
                        <a:pt x="95" y="476"/>
                        <a:pt x="286" y="286"/>
                        <a:pt x="381" y="190"/>
                      </a:cubicBezTo>
                      <a:cubicBezTo>
                        <a:pt x="381" y="95"/>
                        <a:pt x="381" y="95"/>
                        <a:pt x="286" y="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56" name="任意多边形: 形状 1055">
                  <a:extLst>
                    <a:ext uri="{FF2B5EF4-FFF2-40B4-BE49-F238E27FC236}">
                      <a16:creationId xmlns:a16="http://schemas.microsoft.com/office/drawing/2014/main" id="{89D03ACA-359E-41E9-91A6-F18E2E01ED2F}"/>
                    </a:ext>
                  </a:extLst>
                </p:cNvPr>
                <p:cNvSpPr/>
                <p:nvPr/>
              </p:nvSpPr>
              <p:spPr>
                <a:xfrm>
                  <a:off x="1980215" y="7089171"/>
                  <a:ext cx="229461" cy="256702"/>
                </a:xfrm>
                <a:custGeom>
                  <a:avLst/>
                  <a:gdLst>
                    <a:gd name="connsiteX0" fmla="*/ 218789 w 229461"/>
                    <a:gd name="connsiteY0" fmla="*/ 0 h 256702"/>
                    <a:gd name="connsiteX1" fmla="*/ 102299 w 229461"/>
                    <a:gd name="connsiteY1" fmla="*/ 50673 h 256702"/>
                    <a:gd name="connsiteX2" fmla="*/ 39434 w 229461"/>
                    <a:gd name="connsiteY2" fmla="*/ 132683 h 256702"/>
                    <a:gd name="connsiteX3" fmla="*/ 32957 w 229461"/>
                    <a:gd name="connsiteY3" fmla="*/ 137732 h 256702"/>
                    <a:gd name="connsiteX4" fmla="*/ 27432 w 229461"/>
                    <a:gd name="connsiteY4" fmla="*/ 114776 h 256702"/>
                    <a:gd name="connsiteX5" fmla="*/ 2096 w 229461"/>
                    <a:gd name="connsiteY5" fmla="*/ 112586 h 256702"/>
                    <a:gd name="connsiteX6" fmla="*/ 0 w 229461"/>
                    <a:gd name="connsiteY6" fmla="*/ 210217 h 256702"/>
                    <a:gd name="connsiteX7" fmla="*/ 14764 w 229461"/>
                    <a:gd name="connsiteY7" fmla="*/ 247460 h 256702"/>
                    <a:gd name="connsiteX8" fmla="*/ 39434 w 229461"/>
                    <a:gd name="connsiteY8" fmla="*/ 251460 h 256702"/>
                    <a:gd name="connsiteX9" fmla="*/ 50864 w 229461"/>
                    <a:gd name="connsiteY9" fmla="*/ 236792 h 256702"/>
                    <a:gd name="connsiteX10" fmla="*/ 72676 w 229461"/>
                    <a:gd name="connsiteY10" fmla="*/ 233744 h 256702"/>
                    <a:gd name="connsiteX11" fmla="*/ 101251 w 229461"/>
                    <a:gd name="connsiteY11" fmla="*/ 236125 h 256702"/>
                    <a:gd name="connsiteX12" fmla="*/ 112967 w 229461"/>
                    <a:gd name="connsiteY12" fmla="*/ 244983 h 256702"/>
                    <a:gd name="connsiteX13" fmla="*/ 176784 w 229461"/>
                    <a:gd name="connsiteY13" fmla="*/ 244126 h 256702"/>
                    <a:gd name="connsiteX14" fmla="*/ 224028 w 229461"/>
                    <a:gd name="connsiteY14" fmla="*/ 112681 h 256702"/>
                    <a:gd name="connsiteX15" fmla="*/ 218789 w 229461"/>
                    <a:gd name="connsiteY15" fmla="*/ 0 h 256702"/>
                    <a:gd name="connsiteX16" fmla="*/ 74771 w 229461"/>
                    <a:gd name="connsiteY16" fmla="*/ 213170 h 256702"/>
                    <a:gd name="connsiteX17" fmla="*/ 67532 w 229461"/>
                    <a:gd name="connsiteY17" fmla="*/ 210788 h 256702"/>
                    <a:gd name="connsiteX18" fmla="*/ 56388 w 229461"/>
                    <a:gd name="connsiteY18" fmla="*/ 216694 h 256702"/>
                    <a:gd name="connsiteX19" fmla="*/ 48768 w 229461"/>
                    <a:gd name="connsiteY19" fmla="*/ 196310 h 256702"/>
                    <a:gd name="connsiteX20" fmla="*/ 68199 w 229461"/>
                    <a:gd name="connsiteY20" fmla="*/ 185261 h 256702"/>
                    <a:gd name="connsiteX21" fmla="*/ 74771 w 229461"/>
                    <a:gd name="connsiteY21" fmla="*/ 213170 h 256702"/>
                    <a:gd name="connsiteX22" fmla="*/ 80486 w 229461"/>
                    <a:gd name="connsiteY22" fmla="*/ 139351 h 256702"/>
                    <a:gd name="connsiteX23" fmla="*/ 75914 w 229461"/>
                    <a:gd name="connsiteY23" fmla="*/ 146113 h 256702"/>
                    <a:gd name="connsiteX24" fmla="*/ 75914 w 229461"/>
                    <a:gd name="connsiteY24" fmla="*/ 146113 h 256702"/>
                    <a:gd name="connsiteX25" fmla="*/ 70104 w 229461"/>
                    <a:gd name="connsiteY25" fmla="*/ 140113 h 256702"/>
                    <a:gd name="connsiteX26" fmla="*/ 79439 w 229461"/>
                    <a:gd name="connsiteY26" fmla="*/ 111824 h 256702"/>
                    <a:gd name="connsiteX27" fmla="*/ 79629 w 229461"/>
                    <a:gd name="connsiteY27" fmla="*/ 112109 h 256702"/>
                    <a:gd name="connsiteX28" fmla="*/ 79724 w 229461"/>
                    <a:gd name="connsiteY28" fmla="*/ 112014 h 256702"/>
                    <a:gd name="connsiteX29" fmla="*/ 82106 w 229461"/>
                    <a:gd name="connsiteY29" fmla="*/ 116777 h 256702"/>
                    <a:gd name="connsiteX30" fmla="*/ 80486 w 229461"/>
                    <a:gd name="connsiteY30" fmla="*/ 139351 h 256702"/>
                    <a:gd name="connsiteX31" fmla="*/ 108109 w 229461"/>
                    <a:gd name="connsiteY31" fmla="*/ 142018 h 256702"/>
                    <a:gd name="connsiteX32" fmla="*/ 106871 w 229461"/>
                    <a:gd name="connsiteY32" fmla="*/ 141446 h 256702"/>
                    <a:gd name="connsiteX33" fmla="*/ 104299 w 229461"/>
                    <a:gd name="connsiteY33" fmla="*/ 129540 h 256702"/>
                    <a:gd name="connsiteX34" fmla="*/ 107156 w 229461"/>
                    <a:gd name="connsiteY34" fmla="*/ 127445 h 256702"/>
                    <a:gd name="connsiteX35" fmla="*/ 110395 w 229461"/>
                    <a:gd name="connsiteY35" fmla="*/ 116967 h 256702"/>
                    <a:gd name="connsiteX36" fmla="*/ 109633 w 229461"/>
                    <a:gd name="connsiteY36" fmla="*/ 112871 h 256702"/>
                    <a:gd name="connsiteX37" fmla="*/ 113252 w 229461"/>
                    <a:gd name="connsiteY37" fmla="*/ 111538 h 256702"/>
                    <a:gd name="connsiteX38" fmla="*/ 121920 w 229461"/>
                    <a:gd name="connsiteY38" fmla="*/ 113252 h 256702"/>
                    <a:gd name="connsiteX39" fmla="*/ 125254 w 229461"/>
                    <a:gd name="connsiteY39" fmla="*/ 126683 h 256702"/>
                    <a:gd name="connsiteX40" fmla="*/ 115062 w 229461"/>
                    <a:gd name="connsiteY40" fmla="*/ 137446 h 256702"/>
                    <a:gd name="connsiteX41" fmla="*/ 108109 w 229461"/>
                    <a:gd name="connsiteY41" fmla="*/ 142018 h 256702"/>
                    <a:gd name="connsiteX42" fmla="*/ 192310 w 229461"/>
                    <a:gd name="connsiteY42" fmla="*/ 110300 h 256702"/>
                    <a:gd name="connsiteX43" fmla="*/ 157829 w 229461"/>
                    <a:gd name="connsiteY43" fmla="*/ 217075 h 256702"/>
                    <a:gd name="connsiteX44" fmla="*/ 138875 w 229461"/>
                    <a:gd name="connsiteY44" fmla="*/ 230696 h 256702"/>
                    <a:gd name="connsiteX45" fmla="*/ 115824 w 229461"/>
                    <a:gd name="connsiteY45" fmla="*/ 221742 h 256702"/>
                    <a:gd name="connsiteX46" fmla="*/ 117348 w 229461"/>
                    <a:gd name="connsiteY46" fmla="*/ 191738 h 256702"/>
                    <a:gd name="connsiteX47" fmla="*/ 155258 w 229461"/>
                    <a:gd name="connsiteY47" fmla="*/ 178879 h 256702"/>
                    <a:gd name="connsiteX48" fmla="*/ 163640 w 229461"/>
                    <a:gd name="connsiteY48" fmla="*/ 88106 h 256702"/>
                    <a:gd name="connsiteX49" fmla="*/ 150876 w 229461"/>
                    <a:gd name="connsiteY49" fmla="*/ 62579 h 256702"/>
                    <a:gd name="connsiteX50" fmla="*/ 114300 w 229461"/>
                    <a:gd name="connsiteY50" fmla="*/ 80772 h 256702"/>
                    <a:gd name="connsiteX51" fmla="*/ 108585 w 229461"/>
                    <a:gd name="connsiteY51" fmla="*/ 71723 h 256702"/>
                    <a:gd name="connsiteX52" fmla="*/ 212217 w 229461"/>
                    <a:gd name="connsiteY52" fmla="*/ 20384 h 256702"/>
                    <a:gd name="connsiteX53" fmla="*/ 192310 w 229461"/>
                    <a:gd name="connsiteY53" fmla="*/ 110300 h 256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</a:cxnLst>
                  <a:rect l="l" t="t" r="r" b="b"/>
                  <a:pathLst>
                    <a:path w="229461" h="256702">
                      <a:moveTo>
                        <a:pt x="218789" y="0"/>
                      </a:moveTo>
                      <a:cubicBezTo>
                        <a:pt x="176689" y="1048"/>
                        <a:pt x="106871" y="50006"/>
                        <a:pt x="102299" y="50673"/>
                      </a:cubicBezTo>
                      <a:cubicBezTo>
                        <a:pt x="73343" y="72771"/>
                        <a:pt x="40291" y="129826"/>
                        <a:pt x="39434" y="132683"/>
                      </a:cubicBezTo>
                      <a:cubicBezTo>
                        <a:pt x="38767" y="135636"/>
                        <a:pt x="32957" y="137732"/>
                        <a:pt x="32957" y="137732"/>
                      </a:cubicBezTo>
                      <a:cubicBezTo>
                        <a:pt x="27527" y="138875"/>
                        <a:pt x="27432" y="114776"/>
                        <a:pt x="27432" y="114776"/>
                      </a:cubicBezTo>
                      <a:cubicBezTo>
                        <a:pt x="13145" y="95250"/>
                        <a:pt x="2096" y="112586"/>
                        <a:pt x="2096" y="112586"/>
                      </a:cubicBezTo>
                      <a:cubicBezTo>
                        <a:pt x="3620" y="119825"/>
                        <a:pt x="0" y="210217"/>
                        <a:pt x="0" y="210217"/>
                      </a:cubicBezTo>
                      <a:cubicBezTo>
                        <a:pt x="2572" y="246412"/>
                        <a:pt x="14764" y="247460"/>
                        <a:pt x="14764" y="247460"/>
                      </a:cubicBezTo>
                      <a:cubicBezTo>
                        <a:pt x="32290" y="262985"/>
                        <a:pt x="39434" y="251460"/>
                        <a:pt x="39434" y="251460"/>
                      </a:cubicBezTo>
                      <a:cubicBezTo>
                        <a:pt x="44101" y="234601"/>
                        <a:pt x="50864" y="236792"/>
                        <a:pt x="50864" y="236792"/>
                      </a:cubicBezTo>
                      <a:cubicBezTo>
                        <a:pt x="61341" y="244507"/>
                        <a:pt x="72676" y="233744"/>
                        <a:pt x="72676" y="233744"/>
                      </a:cubicBezTo>
                      <a:cubicBezTo>
                        <a:pt x="82677" y="231934"/>
                        <a:pt x="101251" y="236125"/>
                        <a:pt x="101251" y="236125"/>
                      </a:cubicBezTo>
                      <a:cubicBezTo>
                        <a:pt x="101060" y="248031"/>
                        <a:pt x="112967" y="244983"/>
                        <a:pt x="112967" y="244983"/>
                      </a:cubicBezTo>
                      <a:cubicBezTo>
                        <a:pt x="146304" y="271844"/>
                        <a:pt x="176784" y="244126"/>
                        <a:pt x="176784" y="244126"/>
                      </a:cubicBezTo>
                      <a:cubicBezTo>
                        <a:pt x="201359" y="218885"/>
                        <a:pt x="224028" y="112681"/>
                        <a:pt x="224028" y="112681"/>
                      </a:cubicBezTo>
                      <a:cubicBezTo>
                        <a:pt x="238792" y="10192"/>
                        <a:pt x="218789" y="0"/>
                        <a:pt x="218789" y="0"/>
                      </a:cubicBezTo>
                      <a:close/>
                      <a:moveTo>
                        <a:pt x="74771" y="213170"/>
                      </a:moveTo>
                      <a:cubicBezTo>
                        <a:pt x="63437" y="224885"/>
                        <a:pt x="71342" y="211550"/>
                        <a:pt x="67532" y="210788"/>
                      </a:cubicBezTo>
                      <a:cubicBezTo>
                        <a:pt x="63532" y="210026"/>
                        <a:pt x="58674" y="214789"/>
                        <a:pt x="56388" y="216694"/>
                      </a:cubicBezTo>
                      <a:cubicBezTo>
                        <a:pt x="53912" y="218599"/>
                        <a:pt x="40767" y="211741"/>
                        <a:pt x="48768" y="196310"/>
                      </a:cubicBezTo>
                      <a:cubicBezTo>
                        <a:pt x="56769" y="180880"/>
                        <a:pt x="68199" y="185261"/>
                        <a:pt x="68199" y="185261"/>
                      </a:cubicBezTo>
                      <a:cubicBezTo>
                        <a:pt x="68199" y="185261"/>
                        <a:pt x="85820" y="201263"/>
                        <a:pt x="74771" y="213170"/>
                      </a:cubicBezTo>
                      <a:close/>
                      <a:moveTo>
                        <a:pt x="80486" y="139351"/>
                      </a:moveTo>
                      <a:cubicBezTo>
                        <a:pt x="79343" y="143828"/>
                        <a:pt x="77819" y="146113"/>
                        <a:pt x="75914" y="146113"/>
                      </a:cubicBezTo>
                      <a:lnTo>
                        <a:pt x="75914" y="146113"/>
                      </a:lnTo>
                      <a:cubicBezTo>
                        <a:pt x="72866" y="146113"/>
                        <a:pt x="70199" y="140303"/>
                        <a:pt x="70104" y="140113"/>
                      </a:cubicBezTo>
                      <a:cubicBezTo>
                        <a:pt x="66199" y="133350"/>
                        <a:pt x="78867" y="112681"/>
                        <a:pt x="79439" y="111824"/>
                      </a:cubicBezTo>
                      <a:cubicBezTo>
                        <a:pt x="79534" y="111919"/>
                        <a:pt x="79534" y="112014"/>
                        <a:pt x="79629" y="112109"/>
                      </a:cubicBezTo>
                      <a:cubicBezTo>
                        <a:pt x="79629" y="112109"/>
                        <a:pt x="79724" y="112014"/>
                        <a:pt x="79724" y="112014"/>
                      </a:cubicBezTo>
                      <a:cubicBezTo>
                        <a:pt x="80772" y="113443"/>
                        <a:pt x="81629" y="115062"/>
                        <a:pt x="82106" y="116777"/>
                      </a:cubicBezTo>
                      <a:cubicBezTo>
                        <a:pt x="85058" y="126302"/>
                        <a:pt x="80486" y="139160"/>
                        <a:pt x="80486" y="139351"/>
                      </a:cubicBezTo>
                      <a:close/>
                      <a:moveTo>
                        <a:pt x="108109" y="142018"/>
                      </a:moveTo>
                      <a:cubicBezTo>
                        <a:pt x="107633" y="142018"/>
                        <a:pt x="107156" y="141827"/>
                        <a:pt x="106871" y="141446"/>
                      </a:cubicBezTo>
                      <a:cubicBezTo>
                        <a:pt x="106680" y="141065"/>
                        <a:pt x="101441" y="132779"/>
                        <a:pt x="104299" y="129540"/>
                      </a:cubicBezTo>
                      <a:cubicBezTo>
                        <a:pt x="104966" y="128778"/>
                        <a:pt x="106013" y="128111"/>
                        <a:pt x="107156" y="127445"/>
                      </a:cubicBezTo>
                      <a:cubicBezTo>
                        <a:pt x="110395" y="125540"/>
                        <a:pt x="114109" y="123539"/>
                        <a:pt x="110395" y="116967"/>
                      </a:cubicBezTo>
                      <a:cubicBezTo>
                        <a:pt x="109347" y="115157"/>
                        <a:pt x="109157" y="113824"/>
                        <a:pt x="109633" y="112871"/>
                      </a:cubicBezTo>
                      <a:cubicBezTo>
                        <a:pt x="110204" y="112014"/>
                        <a:pt x="111347" y="111538"/>
                        <a:pt x="113252" y="111538"/>
                      </a:cubicBezTo>
                      <a:cubicBezTo>
                        <a:pt x="116872" y="111538"/>
                        <a:pt x="121730" y="113157"/>
                        <a:pt x="121920" y="113252"/>
                      </a:cubicBezTo>
                      <a:cubicBezTo>
                        <a:pt x="122111" y="113443"/>
                        <a:pt x="126873" y="119825"/>
                        <a:pt x="125254" y="126683"/>
                      </a:cubicBezTo>
                      <a:cubicBezTo>
                        <a:pt x="124206" y="131064"/>
                        <a:pt x="120777" y="134684"/>
                        <a:pt x="115062" y="137446"/>
                      </a:cubicBezTo>
                      <a:cubicBezTo>
                        <a:pt x="115062" y="137541"/>
                        <a:pt x="110490" y="142018"/>
                        <a:pt x="108109" y="142018"/>
                      </a:cubicBezTo>
                      <a:close/>
                      <a:moveTo>
                        <a:pt x="192310" y="110300"/>
                      </a:moveTo>
                      <a:cubicBezTo>
                        <a:pt x="192310" y="110300"/>
                        <a:pt x="169069" y="200882"/>
                        <a:pt x="157829" y="217075"/>
                      </a:cubicBezTo>
                      <a:cubicBezTo>
                        <a:pt x="157829" y="217075"/>
                        <a:pt x="137732" y="226504"/>
                        <a:pt x="138875" y="230696"/>
                      </a:cubicBezTo>
                      <a:cubicBezTo>
                        <a:pt x="138875" y="230696"/>
                        <a:pt x="120777" y="236792"/>
                        <a:pt x="115824" y="221742"/>
                      </a:cubicBezTo>
                      <a:cubicBezTo>
                        <a:pt x="115824" y="221742"/>
                        <a:pt x="106775" y="214408"/>
                        <a:pt x="117348" y="191738"/>
                      </a:cubicBezTo>
                      <a:cubicBezTo>
                        <a:pt x="117348" y="191738"/>
                        <a:pt x="144113" y="178975"/>
                        <a:pt x="155258" y="178879"/>
                      </a:cubicBezTo>
                      <a:cubicBezTo>
                        <a:pt x="155258" y="178879"/>
                        <a:pt x="131064" y="127635"/>
                        <a:pt x="163640" y="88106"/>
                      </a:cubicBezTo>
                      <a:cubicBezTo>
                        <a:pt x="163640" y="88106"/>
                        <a:pt x="167926" y="72676"/>
                        <a:pt x="150876" y="62579"/>
                      </a:cubicBezTo>
                      <a:cubicBezTo>
                        <a:pt x="150876" y="62579"/>
                        <a:pt x="130683" y="65913"/>
                        <a:pt x="114300" y="80772"/>
                      </a:cubicBezTo>
                      <a:cubicBezTo>
                        <a:pt x="114300" y="80772"/>
                        <a:pt x="102108" y="94012"/>
                        <a:pt x="108585" y="71723"/>
                      </a:cubicBezTo>
                      <a:cubicBezTo>
                        <a:pt x="108585" y="71723"/>
                        <a:pt x="193548" y="3810"/>
                        <a:pt x="212217" y="20384"/>
                      </a:cubicBezTo>
                      <a:cubicBezTo>
                        <a:pt x="212408" y="20479"/>
                        <a:pt x="229076" y="20193"/>
                        <a:pt x="192310" y="11030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57" name="任意多边形: 形状 1056">
                  <a:extLst>
                    <a:ext uri="{FF2B5EF4-FFF2-40B4-BE49-F238E27FC236}">
                      <a16:creationId xmlns:a16="http://schemas.microsoft.com/office/drawing/2014/main" id="{11B10585-962E-4016-9E39-96817D220F27}"/>
                    </a:ext>
                  </a:extLst>
                </p:cNvPr>
                <p:cNvSpPr/>
                <p:nvPr/>
              </p:nvSpPr>
              <p:spPr>
                <a:xfrm>
                  <a:off x="2084006" y="7201024"/>
                  <a:ext cx="21736" cy="29842"/>
                </a:xfrm>
                <a:custGeom>
                  <a:avLst/>
                  <a:gdLst>
                    <a:gd name="connsiteX0" fmla="*/ 18225 w 21736"/>
                    <a:gd name="connsiteY0" fmla="*/ 1686 h 29842"/>
                    <a:gd name="connsiteX1" fmla="*/ 6985 w 21736"/>
                    <a:gd name="connsiteY1" fmla="*/ 5115 h 29842"/>
                    <a:gd name="connsiteX2" fmla="*/ 794 w 21736"/>
                    <a:gd name="connsiteY2" fmla="*/ 17878 h 29842"/>
                    <a:gd name="connsiteX3" fmla="*/ 3366 w 21736"/>
                    <a:gd name="connsiteY3" fmla="*/ 29404 h 29842"/>
                    <a:gd name="connsiteX4" fmla="*/ 11271 w 21736"/>
                    <a:gd name="connsiteY4" fmla="*/ 25403 h 29842"/>
                    <a:gd name="connsiteX5" fmla="*/ 18225 w 21736"/>
                    <a:gd name="connsiteY5" fmla="*/ 1686 h 29842"/>
                    <a:gd name="connsiteX6" fmla="*/ 11081 w 21736"/>
                    <a:gd name="connsiteY6" fmla="*/ 25213 h 29842"/>
                    <a:gd name="connsiteX7" fmla="*/ 3556 w 21736"/>
                    <a:gd name="connsiteY7" fmla="*/ 29308 h 29842"/>
                    <a:gd name="connsiteX8" fmla="*/ 889 w 21736"/>
                    <a:gd name="connsiteY8" fmla="*/ 18164 h 29842"/>
                    <a:gd name="connsiteX9" fmla="*/ 3747 w 21736"/>
                    <a:gd name="connsiteY9" fmla="*/ 16259 h 29842"/>
                    <a:gd name="connsiteX10" fmla="*/ 7080 w 21736"/>
                    <a:gd name="connsiteY10" fmla="*/ 5115 h 29842"/>
                    <a:gd name="connsiteX11" fmla="*/ 6318 w 21736"/>
                    <a:gd name="connsiteY11" fmla="*/ 1495 h 29842"/>
                    <a:gd name="connsiteX12" fmla="*/ 9557 w 21736"/>
                    <a:gd name="connsiteY12" fmla="*/ 447 h 29842"/>
                    <a:gd name="connsiteX13" fmla="*/ 17939 w 21736"/>
                    <a:gd name="connsiteY13" fmla="*/ 2067 h 29842"/>
                    <a:gd name="connsiteX14" fmla="*/ 21082 w 21736"/>
                    <a:gd name="connsiteY14" fmla="*/ 14925 h 29842"/>
                    <a:gd name="connsiteX15" fmla="*/ 11081 w 21736"/>
                    <a:gd name="connsiteY15" fmla="*/ 25213 h 298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1736" h="29842">
                      <a:moveTo>
                        <a:pt x="18225" y="1686"/>
                      </a:moveTo>
                      <a:cubicBezTo>
                        <a:pt x="18225" y="1686"/>
                        <a:pt x="1842" y="-3839"/>
                        <a:pt x="6985" y="5115"/>
                      </a:cubicBezTo>
                      <a:cubicBezTo>
                        <a:pt x="12033" y="14068"/>
                        <a:pt x="3461" y="15021"/>
                        <a:pt x="794" y="17878"/>
                      </a:cubicBezTo>
                      <a:cubicBezTo>
                        <a:pt x="-1968" y="21021"/>
                        <a:pt x="3366" y="29404"/>
                        <a:pt x="3366" y="29404"/>
                      </a:cubicBezTo>
                      <a:cubicBezTo>
                        <a:pt x="4890" y="31499"/>
                        <a:pt x="11271" y="25403"/>
                        <a:pt x="11271" y="25403"/>
                      </a:cubicBezTo>
                      <a:cubicBezTo>
                        <a:pt x="29655" y="16545"/>
                        <a:pt x="18225" y="1686"/>
                        <a:pt x="18225" y="1686"/>
                      </a:cubicBezTo>
                      <a:close/>
                      <a:moveTo>
                        <a:pt x="11081" y="25213"/>
                      </a:moveTo>
                      <a:cubicBezTo>
                        <a:pt x="11081" y="25308"/>
                        <a:pt x="4699" y="30928"/>
                        <a:pt x="3556" y="29308"/>
                      </a:cubicBezTo>
                      <a:cubicBezTo>
                        <a:pt x="3556" y="29308"/>
                        <a:pt x="-1683" y="21021"/>
                        <a:pt x="889" y="18164"/>
                      </a:cubicBezTo>
                      <a:cubicBezTo>
                        <a:pt x="1556" y="17402"/>
                        <a:pt x="2604" y="16830"/>
                        <a:pt x="3747" y="16259"/>
                      </a:cubicBezTo>
                      <a:cubicBezTo>
                        <a:pt x="6985" y="14354"/>
                        <a:pt x="11081" y="11973"/>
                        <a:pt x="7080" y="5115"/>
                      </a:cubicBezTo>
                      <a:cubicBezTo>
                        <a:pt x="6128" y="3496"/>
                        <a:pt x="5937" y="2257"/>
                        <a:pt x="6318" y="1495"/>
                      </a:cubicBezTo>
                      <a:cubicBezTo>
                        <a:pt x="6795" y="733"/>
                        <a:pt x="7842" y="447"/>
                        <a:pt x="9557" y="447"/>
                      </a:cubicBezTo>
                      <a:cubicBezTo>
                        <a:pt x="13081" y="447"/>
                        <a:pt x="17939" y="2162"/>
                        <a:pt x="17939" y="2067"/>
                      </a:cubicBezTo>
                      <a:cubicBezTo>
                        <a:pt x="18034" y="2067"/>
                        <a:pt x="22701" y="8258"/>
                        <a:pt x="21082" y="14925"/>
                      </a:cubicBezTo>
                      <a:cubicBezTo>
                        <a:pt x="20130" y="18926"/>
                        <a:pt x="16701" y="22450"/>
                        <a:pt x="11081" y="252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58" name="任意多边形: 形状 1057">
                  <a:extLst>
                    <a:ext uri="{FF2B5EF4-FFF2-40B4-BE49-F238E27FC236}">
                      <a16:creationId xmlns:a16="http://schemas.microsoft.com/office/drawing/2014/main" id="{63B4B014-AE94-4B10-A203-96BC85585936}"/>
                    </a:ext>
                  </a:extLst>
                </p:cNvPr>
                <p:cNvSpPr/>
                <p:nvPr/>
              </p:nvSpPr>
              <p:spPr>
                <a:xfrm>
                  <a:off x="2049706" y="7201185"/>
                  <a:ext cx="13499" cy="33742"/>
                </a:xfrm>
                <a:custGeom>
                  <a:avLst/>
                  <a:gdLst>
                    <a:gd name="connsiteX0" fmla="*/ 10520 w 13499"/>
                    <a:gd name="connsiteY0" fmla="*/ 27146 h 33742"/>
                    <a:gd name="connsiteX1" fmla="*/ 6329 w 13499"/>
                    <a:gd name="connsiteY1" fmla="*/ 33528 h 33742"/>
                    <a:gd name="connsiteX2" fmla="*/ 900 w 13499"/>
                    <a:gd name="connsiteY2" fmla="*/ 27813 h 33742"/>
                    <a:gd name="connsiteX3" fmla="*/ 9567 w 13499"/>
                    <a:gd name="connsiteY3" fmla="*/ 667 h 33742"/>
                    <a:gd name="connsiteX4" fmla="*/ 709 w 13499"/>
                    <a:gd name="connsiteY4" fmla="*/ 27908 h 33742"/>
                    <a:gd name="connsiteX5" fmla="*/ 10805 w 13499"/>
                    <a:gd name="connsiteY5" fmla="*/ 27146 h 33742"/>
                    <a:gd name="connsiteX6" fmla="*/ 12520 w 13499"/>
                    <a:gd name="connsiteY6" fmla="*/ 4667 h 33742"/>
                    <a:gd name="connsiteX7" fmla="*/ 10043 w 13499"/>
                    <a:gd name="connsiteY7" fmla="*/ 0 h 33742"/>
                    <a:gd name="connsiteX8" fmla="*/ 9948 w 13499"/>
                    <a:gd name="connsiteY8" fmla="*/ 190 h 33742"/>
                    <a:gd name="connsiteX9" fmla="*/ 10520 w 13499"/>
                    <a:gd name="connsiteY9" fmla="*/ 27146 h 337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499" h="33742">
                      <a:moveTo>
                        <a:pt x="10520" y="27146"/>
                      </a:moveTo>
                      <a:cubicBezTo>
                        <a:pt x="9377" y="31337"/>
                        <a:pt x="8043" y="33528"/>
                        <a:pt x="6329" y="33528"/>
                      </a:cubicBezTo>
                      <a:cubicBezTo>
                        <a:pt x="3566" y="33528"/>
                        <a:pt x="995" y="27908"/>
                        <a:pt x="900" y="27813"/>
                      </a:cubicBezTo>
                      <a:cubicBezTo>
                        <a:pt x="-2434" y="21907"/>
                        <a:pt x="7757" y="4191"/>
                        <a:pt x="9567" y="667"/>
                      </a:cubicBezTo>
                      <a:cubicBezTo>
                        <a:pt x="7281" y="4572"/>
                        <a:pt x="-2720" y="22003"/>
                        <a:pt x="709" y="27908"/>
                      </a:cubicBezTo>
                      <a:cubicBezTo>
                        <a:pt x="709" y="27908"/>
                        <a:pt x="7091" y="41529"/>
                        <a:pt x="10805" y="27146"/>
                      </a:cubicBezTo>
                      <a:cubicBezTo>
                        <a:pt x="10805" y="27146"/>
                        <a:pt x="15473" y="14192"/>
                        <a:pt x="12520" y="4667"/>
                      </a:cubicBezTo>
                      <a:cubicBezTo>
                        <a:pt x="11949" y="2953"/>
                        <a:pt x="11187" y="1334"/>
                        <a:pt x="10043" y="0"/>
                      </a:cubicBezTo>
                      <a:cubicBezTo>
                        <a:pt x="10043" y="0"/>
                        <a:pt x="10043" y="0"/>
                        <a:pt x="9948" y="190"/>
                      </a:cubicBezTo>
                      <a:cubicBezTo>
                        <a:pt x="16806" y="9144"/>
                        <a:pt x="10520" y="26956"/>
                        <a:pt x="10520" y="2714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59" name="任意多边形: 形状 1058">
                  <a:extLst>
                    <a:ext uri="{FF2B5EF4-FFF2-40B4-BE49-F238E27FC236}">
                      <a16:creationId xmlns:a16="http://schemas.microsoft.com/office/drawing/2014/main" id="{E4D28408-0000-4261-A7FA-43EC21F1A563}"/>
                    </a:ext>
                  </a:extLst>
                </p:cNvPr>
                <p:cNvSpPr/>
                <p:nvPr/>
              </p:nvSpPr>
              <p:spPr>
                <a:xfrm>
                  <a:off x="2442240" y="6871538"/>
                  <a:ext cx="379877" cy="506266"/>
                </a:xfrm>
                <a:custGeom>
                  <a:avLst/>
                  <a:gdLst>
                    <a:gd name="connsiteX0" fmla="*/ 369412 w 379877"/>
                    <a:gd name="connsiteY0" fmla="*/ 46946 h 506266"/>
                    <a:gd name="connsiteX1" fmla="*/ 346266 w 379877"/>
                    <a:gd name="connsiteY1" fmla="*/ 42469 h 506266"/>
                    <a:gd name="connsiteX2" fmla="*/ 308833 w 379877"/>
                    <a:gd name="connsiteY2" fmla="*/ 35706 h 506266"/>
                    <a:gd name="connsiteX3" fmla="*/ 296736 w 379877"/>
                    <a:gd name="connsiteY3" fmla="*/ 4273 h 506266"/>
                    <a:gd name="connsiteX4" fmla="*/ 263303 w 379877"/>
                    <a:gd name="connsiteY4" fmla="*/ 15608 h 506266"/>
                    <a:gd name="connsiteX5" fmla="*/ 263780 w 379877"/>
                    <a:gd name="connsiteY5" fmla="*/ 24752 h 506266"/>
                    <a:gd name="connsiteX6" fmla="*/ 268257 w 379877"/>
                    <a:gd name="connsiteY6" fmla="*/ 85807 h 506266"/>
                    <a:gd name="connsiteX7" fmla="*/ 229204 w 379877"/>
                    <a:gd name="connsiteY7" fmla="*/ 95904 h 506266"/>
                    <a:gd name="connsiteX8" fmla="*/ 228918 w 379877"/>
                    <a:gd name="connsiteY8" fmla="*/ 119716 h 506266"/>
                    <a:gd name="connsiteX9" fmla="*/ 260255 w 379877"/>
                    <a:gd name="connsiteY9" fmla="*/ 127908 h 506266"/>
                    <a:gd name="connsiteX10" fmla="*/ 261970 w 379877"/>
                    <a:gd name="connsiteY10" fmla="*/ 183534 h 506266"/>
                    <a:gd name="connsiteX11" fmla="*/ 185484 w 379877"/>
                    <a:gd name="connsiteY11" fmla="*/ 238017 h 506266"/>
                    <a:gd name="connsiteX12" fmla="*/ 159576 w 379877"/>
                    <a:gd name="connsiteY12" fmla="*/ 195250 h 506266"/>
                    <a:gd name="connsiteX13" fmla="*/ 121000 w 379877"/>
                    <a:gd name="connsiteY13" fmla="*/ 133147 h 506266"/>
                    <a:gd name="connsiteX14" fmla="*/ 93378 w 379877"/>
                    <a:gd name="connsiteY14" fmla="*/ 142005 h 506266"/>
                    <a:gd name="connsiteX15" fmla="*/ 129192 w 379877"/>
                    <a:gd name="connsiteY15" fmla="*/ 299167 h 506266"/>
                    <a:gd name="connsiteX16" fmla="*/ 155480 w 379877"/>
                    <a:gd name="connsiteY16" fmla="*/ 372415 h 506266"/>
                    <a:gd name="connsiteX17" fmla="*/ 132430 w 379877"/>
                    <a:gd name="connsiteY17" fmla="*/ 378701 h 506266"/>
                    <a:gd name="connsiteX18" fmla="*/ 119667 w 379877"/>
                    <a:gd name="connsiteY18" fmla="*/ 397084 h 506266"/>
                    <a:gd name="connsiteX19" fmla="*/ 127477 w 379877"/>
                    <a:gd name="connsiteY19" fmla="*/ 399275 h 506266"/>
                    <a:gd name="connsiteX20" fmla="*/ 162815 w 379877"/>
                    <a:gd name="connsiteY20" fmla="*/ 427279 h 506266"/>
                    <a:gd name="connsiteX21" fmla="*/ 175769 w 379877"/>
                    <a:gd name="connsiteY21" fmla="*/ 424612 h 506266"/>
                    <a:gd name="connsiteX22" fmla="*/ 177007 w 379877"/>
                    <a:gd name="connsiteY22" fmla="*/ 449853 h 506266"/>
                    <a:gd name="connsiteX23" fmla="*/ 48991 w 379877"/>
                    <a:gd name="connsiteY23" fmla="*/ 446043 h 506266"/>
                    <a:gd name="connsiteX24" fmla="*/ 37942 w 379877"/>
                    <a:gd name="connsiteY24" fmla="*/ 426326 h 506266"/>
                    <a:gd name="connsiteX25" fmla="*/ 1747 w 379877"/>
                    <a:gd name="connsiteY25" fmla="*/ 465188 h 506266"/>
                    <a:gd name="connsiteX26" fmla="*/ 48610 w 379877"/>
                    <a:gd name="connsiteY26" fmla="*/ 479571 h 506266"/>
                    <a:gd name="connsiteX27" fmla="*/ 149384 w 379877"/>
                    <a:gd name="connsiteY27" fmla="*/ 481762 h 506266"/>
                    <a:gd name="connsiteX28" fmla="*/ 197962 w 379877"/>
                    <a:gd name="connsiteY28" fmla="*/ 470617 h 506266"/>
                    <a:gd name="connsiteX29" fmla="*/ 216917 w 379877"/>
                    <a:gd name="connsiteY29" fmla="*/ 494716 h 506266"/>
                    <a:gd name="connsiteX30" fmla="*/ 240824 w 379877"/>
                    <a:gd name="connsiteY30" fmla="*/ 505765 h 506266"/>
                    <a:gd name="connsiteX31" fmla="*/ 244539 w 379877"/>
                    <a:gd name="connsiteY31" fmla="*/ 477095 h 506266"/>
                    <a:gd name="connsiteX32" fmla="*/ 302642 w 379877"/>
                    <a:gd name="connsiteY32" fmla="*/ 484333 h 506266"/>
                    <a:gd name="connsiteX33" fmla="*/ 373127 w 379877"/>
                    <a:gd name="connsiteY33" fmla="*/ 459092 h 506266"/>
                    <a:gd name="connsiteX34" fmla="*/ 362459 w 379877"/>
                    <a:gd name="connsiteY34" fmla="*/ 450424 h 506266"/>
                    <a:gd name="connsiteX35" fmla="*/ 249778 w 379877"/>
                    <a:gd name="connsiteY35" fmla="*/ 449948 h 506266"/>
                    <a:gd name="connsiteX36" fmla="*/ 261303 w 379877"/>
                    <a:gd name="connsiteY36" fmla="*/ 407276 h 506266"/>
                    <a:gd name="connsiteX37" fmla="*/ 311976 w 379877"/>
                    <a:gd name="connsiteY37" fmla="*/ 331172 h 506266"/>
                    <a:gd name="connsiteX38" fmla="*/ 309595 w 379877"/>
                    <a:gd name="connsiteY38" fmla="*/ 323266 h 506266"/>
                    <a:gd name="connsiteX39" fmla="*/ 294831 w 379877"/>
                    <a:gd name="connsiteY39" fmla="*/ 294596 h 506266"/>
                    <a:gd name="connsiteX40" fmla="*/ 282639 w 379877"/>
                    <a:gd name="connsiteY40" fmla="*/ 281451 h 506266"/>
                    <a:gd name="connsiteX41" fmla="*/ 295593 w 379877"/>
                    <a:gd name="connsiteY41" fmla="*/ 265068 h 506266"/>
                    <a:gd name="connsiteX42" fmla="*/ 308262 w 379877"/>
                    <a:gd name="connsiteY42" fmla="*/ 235922 h 506266"/>
                    <a:gd name="connsiteX43" fmla="*/ 304642 w 379877"/>
                    <a:gd name="connsiteY43" fmla="*/ 214300 h 506266"/>
                    <a:gd name="connsiteX44" fmla="*/ 353220 w 379877"/>
                    <a:gd name="connsiteY44" fmla="*/ 158579 h 506266"/>
                    <a:gd name="connsiteX45" fmla="*/ 350076 w 379877"/>
                    <a:gd name="connsiteY45" fmla="*/ 137433 h 506266"/>
                    <a:gd name="connsiteX46" fmla="*/ 358839 w 379877"/>
                    <a:gd name="connsiteY46" fmla="*/ 120383 h 506266"/>
                    <a:gd name="connsiteX47" fmla="*/ 375127 w 379877"/>
                    <a:gd name="connsiteY47" fmla="*/ 99142 h 506266"/>
                    <a:gd name="connsiteX48" fmla="*/ 369412 w 379877"/>
                    <a:gd name="connsiteY48" fmla="*/ 46946 h 506266"/>
                    <a:gd name="connsiteX49" fmla="*/ 130525 w 379877"/>
                    <a:gd name="connsiteY49" fmla="*/ 258115 h 506266"/>
                    <a:gd name="connsiteX50" fmla="*/ 116999 w 379877"/>
                    <a:gd name="connsiteY50" fmla="*/ 180391 h 506266"/>
                    <a:gd name="connsiteX51" fmla="*/ 131954 w 379877"/>
                    <a:gd name="connsiteY51" fmla="*/ 190202 h 506266"/>
                    <a:gd name="connsiteX52" fmla="*/ 135383 w 379877"/>
                    <a:gd name="connsiteY52" fmla="*/ 231254 h 506266"/>
                    <a:gd name="connsiteX53" fmla="*/ 147384 w 379877"/>
                    <a:gd name="connsiteY53" fmla="*/ 289166 h 506266"/>
                    <a:gd name="connsiteX54" fmla="*/ 130525 w 379877"/>
                    <a:gd name="connsiteY54" fmla="*/ 258115 h 506266"/>
                    <a:gd name="connsiteX55" fmla="*/ 229014 w 379877"/>
                    <a:gd name="connsiteY55" fmla="*/ 308121 h 506266"/>
                    <a:gd name="connsiteX56" fmla="*/ 235776 w 379877"/>
                    <a:gd name="connsiteY56" fmla="*/ 352603 h 506266"/>
                    <a:gd name="connsiteX57" fmla="*/ 215297 w 379877"/>
                    <a:gd name="connsiteY57" fmla="*/ 377749 h 506266"/>
                    <a:gd name="connsiteX58" fmla="*/ 213202 w 379877"/>
                    <a:gd name="connsiteY58" fmla="*/ 404800 h 506266"/>
                    <a:gd name="connsiteX59" fmla="*/ 216155 w 379877"/>
                    <a:gd name="connsiteY59" fmla="*/ 427088 h 506266"/>
                    <a:gd name="connsiteX60" fmla="*/ 205201 w 379877"/>
                    <a:gd name="connsiteY60" fmla="*/ 423088 h 506266"/>
                    <a:gd name="connsiteX61" fmla="*/ 206820 w 379877"/>
                    <a:gd name="connsiteY61" fmla="*/ 414991 h 506266"/>
                    <a:gd name="connsiteX62" fmla="*/ 199772 w 379877"/>
                    <a:gd name="connsiteY62" fmla="*/ 396323 h 506266"/>
                    <a:gd name="connsiteX63" fmla="*/ 183579 w 379877"/>
                    <a:gd name="connsiteY63" fmla="*/ 369367 h 506266"/>
                    <a:gd name="connsiteX64" fmla="*/ 184722 w 379877"/>
                    <a:gd name="connsiteY64" fmla="*/ 279070 h 506266"/>
                    <a:gd name="connsiteX65" fmla="*/ 188247 w 379877"/>
                    <a:gd name="connsiteY65" fmla="*/ 272021 h 506266"/>
                    <a:gd name="connsiteX66" fmla="*/ 227013 w 379877"/>
                    <a:gd name="connsiteY66" fmla="*/ 246113 h 506266"/>
                    <a:gd name="connsiteX67" fmla="*/ 232538 w 379877"/>
                    <a:gd name="connsiteY67" fmla="*/ 248114 h 506266"/>
                    <a:gd name="connsiteX68" fmla="*/ 255303 w 379877"/>
                    <a:gd name="connsiteY68" fmla="*/ 241446 h 506266"/>
                    <a:gd name="connsiteX69" fmla="*/ 229680 w 379877"/>
                    <a:gd name="connsiteY69" fmla="*/ 279927 h 506266"/>
                    <a:gd name="connsiteX70" fmla="*/ 241491 w 379877"/>
                    <a:gd name="connsiteY70" fmla="*/ 292690 h 506266"/>
                    <a:gd name="connsiteX71" fmla="*/ 229014 w 379877"/>
                    <a:gd name="connsiteY71" fmla="*/ 308121 h 506266"/>
                    <a:gd name="connsiteX72" fmla="*/ 284163 w 379877"/>
                    <a:gd name="connsiteY72" fmla="*/ 328123 h 506266"/>
                    <a:gd name="connsiteX73" fmla="*/ 292926 w 379877"/>
                    <a:gd name="connsiteY73" fmla="*/ 337744 h 506266"/>
                    <a:gd name="connsiteX74" fmla="*/ 276353 w 379877"/>
                    <a:gd name="connsiteY74" fmla="*/ 358223 h 506266"/>
                    <a:gd name="connsiteX75" fmla="*/ 252350 w 379877"/>
                    <a:gd name="connsiteY75" fmla="*/ 371939 h 506266"/>
                    <a:gd name="connsiteX76" fmla="*/ 270828 w 379877"/>
                    <a:gd name="connsiteY76" fmla="*/ 337267 h 506266"/>
                    <a:gd name="connsiteX77" fmla="*/ 284163 w 379877"/>
                    <a:gd name="connsiteY77" fmla="*/ 328123 h 506266"/>
                    <a:gd name="connsiteX78" fmla="*/ 355791 w 379877"/>
                    <a:gd name="connsiteY78" fmla="*/ 98285 h 506266"/>
                    <a:gd name="connsiteX79" fmla="*/ 302166 w 379877"/>
                    <a:gd name="connsiteY79" fmla="*/ 155245 h 506266"/>
                    <a:gd name="connsiteX80" fmla="*/ 297594 w 379877"/>
                    <a:gd name="connsiteY80" fmla="*/ 143434 h 506266"/>
                    <a:gd name="connsiteX81" fmla="*/ 319120 w 379877"/>
                    <a:gd name="connsiteY81" fmla="*/ 106858 h 506266"/>
                    <a:gd name="connsiteX82" fmla="*/ 351124 w 379877"/>
                    <a:gd name="connsiteY82" fmla="*/ 68186 h 506266"/>
                    <a:gd name="connsiteX83" fmla="*/ 355791 w 379877"/>
                    <a:gd name="connsiteY83" fmla="*/ 98285 h 5062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</a:cxnLst>
                  <a:rect l="l" t="t" r="r" b="b"/>
                  <a:pathLst>
                    <a:path w="379877" h="506266">
                      <a:moveTo>
                        <a:pt x="369412" y="46946"/>
                      </a:moveTo>
                      <a:cubicBezTo>
                        <a:pt x="369412" y="46946"/>
                        <a:pt x="345599" y="46660"/>
                        <a:pt x="346266" y="42469"/>
                      </a:cubicBezTo>
                      <a:cubicBezTo>
                        <a:pt x="347219" y="38468"/>
                        <a:pt x="322549" y="54851"/>
                        <a:pt x="308833" y="35706"/>
                      </a:cubicBezTo>
                      <a:cubicBezTo>
                        <a:pt x="308833" y="35706"/>
                        <a:pt x="305214" y="11989"/>
                        <a:pt x="296736" y="4273"/>
                      </a:cubicBezTo>
                      <a:cubicBezTo>
                        <a:pt x="296736" y="4273"/>
                        <a:pt x="275686" y="-10776"/>
                        <a:pt x="263303" y="15608"/>
                      </a:cubicBezTo>
                      <a:cubicBezTo>
                        <a:pt x="263303" y="15608"/>
                        <a:pt x="264447" y="19609"/>
                        <a:pt x="263780" y="24752"/>
                      </a:cubicBezTo>
                      <a:cubicBezTo>
                        <a:pt x="262922" y="29800"/>
                        <a:pt x="283973" y="43898"/>
                        <a:pt x="268257" y="85807"/>
                      </a:cubicBezTo>
                      <a:cubicBezTo>
                        <a:pt x="268257" y="85807"/>
                        <a:pt x="251302" y="100381"/>
                        <a:pt x="229204" y="95904"/>
                      </a:cubicBezTo>
                      <a:cubicBezTo>
                        <a:pt x="229204" y="95904"/>
                        <a:pt x="202534" y="110477"/>
                        <a:pt x="228918" y="119716"/>
                      </a:cubicBezTo>
                      <a:lnTo>
                        <a:pt x="260255" y="127908"/>
                      </a:lnTo>
                      <a:cubicBezTo>
                        <a:pt x="260255" y="127908"/>
                        <a:pt x="270733" y="155721"/>
                        <a:pt x="261970" y="183534"/>
                      </a:cubicBezTo>
                      <a:cubicBezTo>
                        <a:pt x="261970" y="183534"/>
                        <a:pt x="223489" y="230111"/>
                        <a:pt x="185484" y="238017"/>
                      </a:cubicBezTo>
                      <a:cubicBezTo>
                        <a:pt x="185484" y="238017"/>
                        <a:pt x="160148" y="248875"/>
                        <a:pt x="159576" y="195250"/>
                      </a:cubicBezTo>
                      <a:cubicBezTo>
                        <a:pt x="159576" y="195250"/>
                        <a:pt x="156814" y="152197"/>
                        <a:pt x="121000" y="133147"/>
                      </a:cubicBezTo>
                      <a:cubicBezTo>
                        <a:pt x="121000" y="133147"/>
                        <a:pt x="97188" y="133814"/>
                        <a:pt x="93378" y="142005"/>
                      </a:cubicBezTo>
                      <a:cubicBezTo>
                        <a:pt x="93378" y="142005"/>
                        <a:pt x="81376" y="194869"/>
                        <a:pt x="129192" y="299167"/>
                      </a:cubicBezTo>
                      <a:cubicBezTo>
                        <a:pt x="129192" y="299167"/>
                        <a:pt x="163482" y="357365"/>
                        <a:pt x="155480" y="372415"/>
                      </a:cubicBezTo>
                      <a:cubicBezTo>
                        <a:pt x="155480" y="372415"/>
                        <a:pt x="153957" y="391274"/>
                        <a:pt x="132430" y="378701"/>
                      </a:cubicBezTo>
                      <a:cubicBezTo>
                        <a:pt x="132430" y="378701"/>
                        <a:pt x="90044" y="383749"/>
                        <a:pt x="119667" y="397084"/>
                      </a:cubicBezTo>
                      <a:lnTo>
                        <a:pt x="127477" y="399275"/>
                      </a:lnTo>
                      <a:cubicBezTo>
                        <a:pt x="127477" y="399275"/>
                        <a:pt x="158338" y="420516"/>
                        <a:pt x="162815" y="427279"/>
                      </a:cubicBezTo>
                      <a:cubicBezTo>
                        <a:pt x="162815" y="427279"/>
                        <a:pt x="169482" y="429565"/>
                        <a:pt x="175769" y="424612"/>
                      </a:cubicBezTo>
                      <a:cubicBezTo>
                        <a:pt x="182246" y="419849"/>
                        <a:pt x="197581" y="442328"/>
                        <a:pt x="177007" y="449853"/>
                      </a:cubicBezTo>
                      <a:cubicBezTo>
                        <a:pt x="177007" y="449853"/>
                        <a:pt x="55278" y="451853"/>
                        <a:pt x="48991" y="446043"/>
                      </a:cubicBezTo>
                      <a:cubicBezTo>
                        <a:pt x="48991" y="446043"/>
                        <a:pt x="33561" y="431089"/>
                        <a:pt x="37942" y="426326"/>
                      </a:cubicBezTo>
                      <a:cubicBezTo>
                        <a:pt x="37942" y="426326"/>
                        <a:pt x="-9588" y="429565"/>
                        <a:pt x="1747" y="465188"/>
                      </a:cubicBezTo>
                      <a:cubicBezTo>
                        <a:pt x="1747" y="465188"/>
                        <a:pt x="1461" y="479381"/>
                        <a:pt x="48610" y="479571"/>
                      </a:cubicBezTo>
                      <a:lnTo>
                        <a:pt x="149384" y="481762"/>
                      </a:lnTo>
                      <a:cubicBezTo>
                        <a:pt x="149384" y="481762"/>
                        <a:pt x="192723" y="464903"/>
                        <a:pt x="197962" y="470617"/>
                      </a:cubicBezTo>
                      <a:cubicBezTo>
                        <a:pt x="197962" y="470617"/>
                        <a:pt x="216726" y="480905"/>
                        <a:pt x="216917" y="494716"/>
                      </a:cubicBezTo>
                      <a:cubicBezTo>
                        <a:pt x="216917" y="494716"/>
                        <a:pt x="230728" y="509098"/>
                        <a:pt x="240824" y="505765"/>
                      </a:cubicBezTo>
                      <a:cubicBezTo>
                        <a:pt x="240824" y="505765"/>
                        <a:pt x="250540" y="499097"/>
                        <a:pt x="244539" y="477095"/>
                      </a:cubicBezTo>
                      <a:cubicBezTo>
                        <a:pt x="244539" y="477095"/>
                        <a:pt x="283116" y="468522"/>
                        <a:pt x="302642" y="484333"/>
                      </a:cubicBezTo>
                      <a:cubicBezTo>
                        <a:pt x="302642" y="484333"/>
                        <a:pt x="330074" y="486048"/>
                        <a:pt x="373127" y="459092"/>
                      </a:cubicBezTo>
                      <a:cubicBezTo>
                        <a:pt x="373127" y="459092"/>
                        <a:pt x="375032" y="448234"/>
                        <a:pt x="362459" y="450424"/>
                      </a:cubicBezTo>
                      <a:cubicBezTo>
                        <a:pt x="362459" y="450424"/>
                        <a:pt x="300356" y="469760"/>
                        <a:pt x="249778" y="449948"/>
                      </a:cubicBezTo>
                      <a:cubicBezTo>
                        <a:pt x="249778" y="449948"/>
                        <a:pt x="224918" y="438042"/>
                        <a:pt x="261303" y="407276"/>
                      </a:cubicBezTo>
                      <a:cubicBezTo>
                        <a:pt x="261303" y="407276"/>
                        <a:pt x="303309" y="372700"/>
                        <a:pt x="311976" y="331172"/>
                      </a:cubicBezTo>
                      <a:lnTo>
                        <a:pt x="309595" y="323266"/>
                      </a:lnTo>
                      <a:cubicBezTo>
                        <a:pt x="309595" y="323266"/>
                        <a:pt x="293212" y="301644"/>
                        <a:pt x="294831" y="294596"/>
                      </a:cubicBezTo>
                      <a:cubicBezTo>
                        <a:pt x="296546" y="287357"/>
                        <a:pt x="286735" y="282308"/>
                        <a:pt x="282639" y="281451"/>
                      </a:cubicBezTo>
                      <a:cubicBezTo>
                        <a:pt x="278448" y="280689"/>
                        <a:pt x="277210" y="274593"/>
                        <a:pt x="295593" y="265068"/>
                      </a:cubicBezTo>
                      <a:cubicBezTo>
                        <a:pt x="295593" y="265068"/>
                        <a:pt x="313500" y="247447"/>
                        <a:pt x="308262" y="235922"/>
                      </a:cubicBezTo>
                      <a:lnTo>
                        <a:pt x="304642" y="214300"/>
                      </a:lnTo>
                      <a:cubicBezTo>
                        <a:pt x="304642" y="214300"/>
                        <a:pt x="347219" y="172675"/>
                        <a:pt x="353220" y="158579"/>
                      </a:cubicBezTo>
                      <a:lnTo>
                        <a:pt x="350076" y="137433"/>
                      </a:lnTo>
                      <a:lnTo>
                        <a:pt x="358839" y="120383"/>
                      </a:lnTo>
                      <a:cubicBezTo>
                        <a:pt x="358839" y="120383"/>
                        <a:pt x="373127" y="101238"/>
                        <a:pt x="375127" y="99142"/>
                      </a:cubicBezTo>
                      <a:cubicBezTo>
                        <a:pt x="376937" y="97238"/>
                        <a:pt x="387605" y="53518"/>
                        <a:pt x="369412" y="46946"/>
                      </a:cubicBezTo>
                      <a:close/>
                      <a:moveTo>
                        <a:pt x="130525" y="258115"/>
                      </a:moveTo>
                      <a:cubicBezTo>
                        <a:pt x="97473" y="195536"/>
                        <a:pt x="116999" y="180391"/>
                        <a:pt x="116999" y="180391"/>
                      </a:cubicBezTo>
                      <a:cubicBezTo>
                        <a:pt x="124239" y="180391"/>
                        <a:pt x="131954" y="190202"/>
                        <a:pt x="131954" y="190202"/>
                      </a:cubicBezTo>
                      <a:cubicBezTo>
                        <a:pt x="129477" y="194488"/>
                        <a:pt x="135383" y="231254"/>
                        <a:pt x="135383" y="231254"/>
                      </a:cubicBezTo>
                      <a:cubicBezTo>
                        <a:pt x="145003" y="263068"/>
                        <a:pt x="147384" y="289166"/>
                        <a:pt x="147384" y="289166"/>
                      </a:cubicBezTo>
                      <a:cubicBezTo>
                        <a:pt x="140145" y="286214"/>
                        <a:pt x="130525" y="258115"/>
                        <a:pt x="130525" y="258115"/>
                      </a:cubicBezTo>
                      <a:close/>
                      <a:moveTo>
                        <a:pt x="229014" y="308121"/>
                      </a:moveTo>
                      <a:cubicBezTo>
                        <a:pt x="244444" y="334410"/>
                        <a:pt x="235776" y="352603"/>
                        <a:pt x="235776" y="352603"/>
                      </a:cubicBezTo>
                      <a:lnTo>
                        <a:pt x="215297" y="377749"/>
                      </a:lnTo>
                      <a:cubicBezTo>
                        <a:pt x="208535" y="385178"/>
                        <a:pt x="209106" y="393179"/>
                        <a:pt x="213202" y="404800"/>
                      </a:cubicBezTo>
                      <a:cubicBezTo>
                        <a:pt x="217107" y="416325"/>
                        <a:pt x="213583" y="422516"/>
                        <a:pt x="216155" y="427088"/>
                      </a:cubicBezTo>
                      <a:cubicBezTo>
                        <a:pt x="208440" y="433089"/>
                        <a:pt x="205201" y="423088"/>
                        <a:pt x="205201" y="423088"/>
                      </a:cubicBezTo>
                      <a:lnTo>
                        <a:pt x="206820" y="414991"/>
                      </a:lnTo>
                      <a:cubicBezTo>
                        <a:pt x="198248" y="409277"/>
                        <a:pt x="199772" y="396323"/>
                        <a:pt x="199772" y="396323"/>
                      </a:cubicBezTo>
                      <a:cubicBezTo>
                        <a:pt x="185675" y="390036"/>
                        <a:pt x="183579" y="369367"/>
                        <a:pt x="183579" y="369367"/>
                      </a:cubicBezTo>
                      <a:cubicBezTo>
                        <a:pt x="181389" y="354889"/>
                        <a:pt x="187008" y="283928"/>
                        <a:pt x="184722" y="279070"/>
                      </a:cubicBezTo>
                      <a:cubicBezTo>
                        <a:pt x="182722" y="274117"/>
                        <a:pt x="188247" y="272021"/>
                        <a:pt x="188247" y="272021"/>
                      </a:cubicBezTo>
                      <a:lnTo>
                        <a:pt x="227013" y="246113"/>
                      </a:lnTo>
                      <a:lnTo>
                        <a:pt x="232538" y="248114"/>
                      </a:lnTo>
                      <a:cubicBezTo>
                        <a:pt x="244444" y="235731"/>
                        <a:pt x="255303" y="241446"/>
                        <a:pt x="255303" y="241446"/>
                      </a:cubicBezTo>
                      <a:cubicBezTo>
                        <a:pt x="265304" y="248875"/>
                        <a:pt x="229680" y="279927"/>
                        <a:pt x="229680" y="279927"/>
                      </a:cubicBezTo>
                      <a:lnTo>
                        <a:pt x="241491" y="292690"/>
                      </a:lnTo>
                      <a:lnTo>
                        <a:pt x="229014" y="308121"/>
                      </a:lnTo>
                      <a:close/>
                      <a:moveTo>
                        <a:pt x="284163" y="328123"/>
                      </a:moveTo>
                      <a:cubicBezTo>
                        <a:pt x="294069" y="329933"/>
                        <a:pt x="292926" y="337744"/>
                        <a:pt x="292926" y="337744"/>
                      </a:cubicBezTo>
                      <a:lnTo>
                        <a:pt x="276353" y="358223"/>
                      </a:lnTo>
                      <a:cubicBezTo>
                        <a:pt x="270638" y="357461"/>
                        <a:pt x="252350" y="371939"/>
                        <a:pt x="252350" y="371939"/>
                      </a:cubicBezTo>
                      <a:cubicBezTo>
                        <a:pt x="246730" y="355937"/>
                        <a:pt x="270828" y="337267"/>
                        <a:pt x="270828" y="337267"/>
                      </a:cubicBezTo>
                      <a:cubicBezTo>
                        <a:pt x="277686" y="336887"/>
                        <a:pt x="284163" y="328123"/>
                        <a:pt x="284163" y="328123"/>
                      </a:cubicBezTo>
                      <a:close/>
                      <a:moveTo>
                        <a:pt x="355791" y="98285"/>
                      </a:moveTo>
                      <a:cubicBezTo>
                        <a:pt x="347219" y="119526"/>
                        <a:pt x="302166" y="155245"/>
                        <a:pt x="302166" y="155245"/>
                      </a:cubicBezTo>
                      <a:cubicBezTo>
                        <a:pt x="297022" y="154483"/>
                        <a:pt x="297594" y="143434"/>
                        <a:pt x="297594" y="143434"/>
                      </a:cubicBezTo>
                      <a:cubicBezTo>
                        <a:pt x="303975" y="139529"/>
                        <a:pt x="319120" y="106858"/>
                        <a:pt x="319120" y="106858"/>
                      </a:cubicBezTo>
                      <a:cubicBezTo>
                        <a:pt x="324359" y="89332"/>
                        <a:pt x="351124" y="68186"/>
                        <a:pt x="351124" y="68186"/>
                      </a:cubicBezTo>
                      <a:cubicBezTo>
                        <a:pt x="369412" y="68281"/>
                        <a:pt x="355791" y="98285"/>
                        <a:pt x="355791" y="9828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60" name="任意多边形: 形状 1059">
                  <a:extLst>
                    <a:ext uri="{FF2B5EF4-FFF2-40B4-BE49-F238E27FC236}">
                      <a16:creationId xmlns:a16="http://schemas.microsoft.com/office/drawing/2014/main" id="{4A219619-BF5A-427D-90DA-05A91A9FBD1C}"/>
                    </a:ext>
                  </a:extLst>
                </p:cNvPr>
                <p:cNvSpPr/>
                <p:nvPr/>
              </p:nvSpPr>
              <p:spPr>
                <a:xfrm>
                  <a:off x="3141232" y="6964108"/>
                  <a:ext cx="36884" cy="79914"/>
                </a:xfrm>
                <a:custGeom>
                  <a:avLst/>
                  <a:gdLst>
                    <a:gd name="connsiteX0" fmla="*/ 23798 w 36884"/>
                    <a:gd name="connsiteY0" fmla="*/ 79915 h 79914"/>
                    <a:gd name="connsiteX1" fmla="*/ 27417 w 36884"/>
                    <a:gd name="connsiteY1" fmla="*/ 35052 h 79914"/>
                    <a:gd name="connsiteX2" fmla="*/ 7700 w 36884"/>
                    <a:gd name="connsiteY2" fmla="*/ 0 h 79914"/>
                    <a:gd name="connsiteX3" fmla="*/ 23798 w 36884"/>
                    <a:gd name="connsiteY3" fmla="*/ 79915 h 79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6884" h="79914">
                      <a:moveTo>
                        <a:pt x="23798" y="79915"/>
                      </a:moveTo>
                      <a:cubicBezTo>
                        <a:pt x="23798" y="79915"/>
                        <a:pt x="50658" y="73057"/>
                        <a:pt x="27417" y="35052"/>
                      </a:cubicBezTo>
                      <a:cubicBezTo>
                        <a:pt x="27417" y="35052"/>
                        <a:pt x="28656" y="5334"/>
                        <a:pt x="7700" y="0"/>
                      </a:cubicBezTo>
                      <a:cubicBezTo>
                        <a:pt x="7605" y="0"/>
                        <a:pt x="-17636" y="59912"/>
                        <a:pt x="23798" y="799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61" name="任意多边形: 形状 1060">
                  <a:extLst>
                    <a:ext uri="{FF2B5EF4-FFF2-40B4-BE49-F238E27FC236}">
                      <a16:creationId xmlns:a16="http://schemas.microsoft.com/office/drawing/2014/main" id="{097F9A1F-BA52-463A-A52D-99B5A28BCE94}"/>
                    </a:ext>
                  </a:extLst>
                </p:cNvPr>
                <p:cNvSpPr/>
                <p:nvPr/>
              </p:nvSpPr>
              <p:spPr>
                <a:xfrm>
                  <a:off x="3052769" y="6803409"/>
                  <a:ext cx="377753" cy="574469"/>
                </a:xfrm>
                <a:custGeom>
                  <a:avLst/>
                  <a:gdLst>
                    <a:gd name="connsiteX0" fmla="*/ 308762 w 377753"/>
                    <a:gd name="connsiteY0" fmla="*/ 101454 h 574469"/>
                    <a:gd name="connsiteX1" fmla="*/ 287712 w 377753"/>
                    <a:gd name="connsiteY1" fmla="*/ 97072 h 574469"/>
                    <a:gd name="connsiteX2" fmla="*/ 298475 w 377753"/>
                    <a:gd name="connsiteY2" fmla="*/ 77927 h 574469"/>
                    <a:gd name="connsiteX3" fmla="*/ 310381 w 377753"/>
                    <a:gd name="connsiteY3" fmla="*/ 44113 h 574469"/>
                    <a:gd name="connsiteX4" fmla="*/ 284854 w 377753"/>
                    <a:gd name="connsiteY4" fmla="*/ 489 h 574469"/>
                    <a:gd name="connsiteX5" fmla="*/ 268948 w 377753"/>
                    <a:gd name="connsiteY5" fmla="*/ 64402 h 574469"/>
                    <a:gd name="connsiteX6" fmla="*/ 245230 w 377753"/>
                    <a:gd name="connsiteY6" fmla="*/ 109645 h 574469"/>
                    <a:gd name="connsiteX7" fmla="*/ 171793 w 377753"/>
                    <a:gd name="connsiteY7" fmla="*/ 124314 h 574469"/>
                    <a:gd name="connsiteX8" fmla="*/ 161982 w 377753"/>
                    <a:gd name="connsiteY8" fmla="*/ 100978 h 574469"/>
                    <a:gd name="connsiteX9" fmla="*/ 148361 w 377753"/>
                    <a:gd name="connsiteY9" fmla="*/ 135935 h 574469"/>
                    <a:gd name="connsiteX10" fmla="*/ 119215 w 377753"/>
                    <a:gd name="connsiteY10" fmla="*/ 151555 h 574469"/>
                    <a:gd name="connsiteX11" fmla="*/ 133883 w 377753"/>
                    <a:gd name="connsiteY11" fmla="*/ 167462 h 574469"/>
                    <a:gd name="connsiteX12" fmla="*/ 141122 w 377753"/>
                    <a:gd name="connsiteY12" fmla="*/ 188608 h 574469"/>
                    <a:gd name="connsiteX13" fmla="*/ 172174 w 377753"/>
                    <a:gd name="connsiteY13" fmla="*/ 178416 h 574469"/>
                    <a:gd name="connsiteX14" fmla="*/ 224371 w 377753"/>
                    <a:gd name="connsiteY14" fmla="*/ 148031 h 574469"/>
                    <a:gd name="connsiteX15" fmla="*/ 222370 w 377753"/>
                    <a:gd name="connsiteY15" fmla="*/ 160033 h 574469"/>
                    <a:gd name="connsiteX16" fmla="*/ 196081 w 377753"/>
                    <a:gd name="connsiteY16" fmla="*/ 178702 h 574469"/>
                    <a:gd name="connsiteX17" fmla="*/ 190366 w 377753"/>
                    <a:gd name="connsiteY17" fmla="*/ 192894 h 574469"/>
                    <a:gd name="connsiteX18" fmla="*/ 193605 w 377753"/>
                    <a:gd name="connsiteY18" fmla="*/ 197752 h 574469"/>
                    <a:gd name="connsiteX19" fmla="*/ 185699 w 377753"/>
                    <a:gd name="connsiteY19" fmla="*/ 227375 h 574469"/>
                    <a:gd name="connsiteX20" fmla="*/ 174364 w 377753"/>
                    <a:gd name="connsiteY20" fmla="*/ 248520 h 574469"/>
                    <a:gd name="connsiteX21" fmla="*/ 147885 w 377753"/>
                    <a:gd name="connsiteY21" fmla="*/ 281667 h 574469"/>
                    <a:gd name="connsiteX22" fmla="*/ 147218 w 377753"/>
                    <a:gd name="connsiteY22" fmla="*/ 284810 h 574469"/>
                    <a:gd name="connsiteX23" fmla="*/ 163315 w 377753"/>
                    <a:gd name="connsiteY23" fmla="*/ 288525 h 574469"/>
                    <a:gd name="connsiteX24" fmla="*/ 182365 w 377753"/>
                    <a:gd name="connsiteY24" fmla="*/ 282143 h 574469"/>
                    <a:gd name="connsiteX25" fmla="*/ 198748 w 377753"/>
                    <a:gd name="connsiteY25" fmla="*/ 279286 h 574469"/>
                    <a:gd name="connsiteX26" fmla="*/ 226657 w 377753"/>
                    <a:gd name="connsiteY26" fmla="*/ 288335 h 574469"/>
                    <a:gd name="connsiteX27" fmla="*/ 205416 w 377753"/>
                    <a:gd name="connsiteY27" fmla="*/ 313100 h 574469"/>
                    <a:gd name="connsiteX28" fmla="*/ 107308 w 377753"/>
                    <a:gd name="connsiteY28" fmla="*/ 391681 h 574469"/>
                    <a:gd name="connsiteX29" fmla="*/ 35680 w 377753"/>
                    <a:gd name="connsiteY29" fmla="*/ 477406 h 574469"/>
                    <a:gd name="connsiteX30" fmla="*/ 14249 w 377753"/>
                    <a:gd name="connsiteY30" fmla="*/ 521506 h 574469"/>
                    <a:gd name="connsiteX31" fmla="*/ 10058 w 377753"/>
                    <a:gd name="connsiteY31" fmla="*/ 545033 h 574469"/>
                    <a:gd name="connsiteX32" fmla="*/ 35204 w 377753"/>
                    <a:gd name="connsiteY32" fmla="*/ 533508 h 574469"/>
                    <a:gd name="connsiteX33" fmla="*/ 155600 w 377753"/>
                    <a:gd name="connsiteY33" fmla="*/ 395967 h 574469"/>
                    <a:gd name="connsiteX34" fmla="*/ 173507 w 377753"/>
                    <a:gd name="connsiteY34" fmla="*/ 385109 h 574469"/>
                    <a:gd name="connsiteX35" fmla="*/ 180079 w 377753"/>
                    <a:gd name="connsiteY35" fmla="*/ 367106 h 574469"/>
                    <a:gd name="connsiteX36" fmla="*/ 213036 w 377753"/>
                    <a:gd name="connsiteY36" fmla="*/ 345389 h 574469"/>
                    <a:gd name="connsiteX37" fmla="*/ 270853 w 377753"/>
                    <a:gd name="connsiteY37" fmla="*/ 348818 h 574469"/>
                    <a:gd name="connsiteX38" fmla="*/ 245707 w 377753"/>
                    <a:gd name="connsiteY38" fmla="*/ 367392 h 574469"/>
                    <a:gd name="connsiteX39" fmla="*/ 237896 w 377753"/>
                    <a:gd name="connsiteY39" fmla="*/ 385299 h 574469"/>
                    <a:gd name="connsiteX40" fmla="*/ 226276 w 377753"/>
                    <a:gd name="connsiteY40" fmla="*/ 386537 h 574469"/>
                    <a:gd name="connsiteX41" fmla="*/ 183413 w 377753"/>
                    <a:gd name="connsiteY41" fmla="*/ 386632 h 574469"/>
                    <a:gd name="connsiteX42" fmla="*/ 134359 w 377753"/>
                    <a:gd name="connsiteY42" fmla="*/ 503314 h 574469"/>
                    <a:gd name="connsiteX43" fmla="*/ 121310 w 377753"/>
                    <a:gd name="connsiteY43" fmla="*/ 519506 h 574469"/>
                    <a:gd name="connsiteX44" fmla="*/ 102070 w 377753"/>
                    <a:gd name="connsiteY44" fmla="*/ 571608 h 574469"/>
                    <a:gd name="connsiteX45" fmla="*/ 150076 w 377753"/>
                    <a:gd name="connsiteY45" fmla="*/ 562940 h 574469"/>
                    <a:gd name="connsiteX46" fmla="*/ 215512 w 377753"/>
                    <a:gd name="connsiteY46" fmla="*/ 511505 h 574469"/>
                    <a:gd name="connsiteX47" fmla="*/ 240563 w 377753"/>
                    <a:gd name="connsiteY47" fmla="*/ 542080 h 574469"/>
                    <a:gd name="connsiteX48" fmla="*/ 297237 w 377753"/>
                    <a:gd name="connsiteY48" fmla="*/ 537604 h 574469"/>
                    <a:gd name="connsiteX49" fmla="*/ 280473 w 377753"/>
                    <a:gd name="connsiteY49" fmla="*/ 507981 h 574469"/>
                    <a:gd name="connsiteX50" fmla="*/ 270948 w 377753"/>
                    <a:gd name="connsiteY50" fmla="*/ 504076 h 574469"/>
                    <a:gd name="connsiteX51" fmla="*/ 264185 w 377753"/>
                    <a:gd name="connsiteY51" fmla="*/ 483692 h 574469"/>
                    <a:gd name="connsiteX52" fmla="*/ 291808 w 377753"/>
                    <a:gd name="connsiteY52" fmla="*/ 473215 h 574469"/>
                    <a:gd name="connsiteX53" fmla="*/ 309143 w 377753"/>
                    <a:gd name="connsiteY53" fmla="*/ 438639 h 574469"/>
                    <a:gd name="connsiteX54" fmla="*/ 282378 w 377753"/>
                    <a:gd name="connsiteY54" fmla="*/ 421303 h 574469"/>
                    <a:gd name="connsiteX55" fmla="*/ 248659 w 377753"/>
                    <a:gd name="connsiteY55" fmla="*/ 419303 h 574469"/>
                    <a:gd name="connsiteX56" fmla="*/ 257327 w 377753"/>
                    <a:gd name="connsiteY56" fmla="*/ 405206 h 574469"/>
                    <a:gd name="connsiteX57" fmla="*/ 263137 w 377753"/>
                    <a:gd name="connsiteY57" fmla="*/ 396443 h 574469"/>
                    <a:gd name="connsiteX58" fmla="*/ 274472 w 377753"/>
                    <a:gd name="connsiteY58" fmla="*/ 381679 h 574469"/>
                    <a:gd name="connsiteX59" fmla="*/ 309238 w 377753"/>
                    <a:gd name="connsiteY59" fmla="*/ 337674 h 574469"/>
                    <a:gd name="connsiteX60" fmla="*/ 282187 w 377753"/>
                    <a:gd name="connsiteY60" fmla="*/ 312052 h 574469"/>
                    <a:gd name="connsiteX61" fmla="*/ 270757 w 377753"/>
                    <a:gd name="connsiteY61" fmla="*/ 315481 h 574469"/>
                    <a:gd name="connsiteX62" fmla="*/ 257708 w 377753"/>
                    <a:gd name="connsiteY62" fmla="*/ 310242 h 574469"/>
                    <a:gd name="connsiteX63" fmla="*/ 250850 w 377753"/>
                    <a:gd name="connsiteY63" fmla="*/ 315767 h 574469"/>
                    <a:gd name="connsiteX64" fmla="*/ 246183 w 377753"/>
                    <a:gd name="connsiteY64" fmla="*/ 299860 h 574469"/>
                    <a:gd name="connsiteX65" fmla="*/ 275044 w 377753"/>
                    <a:gd name="connsiteY65" fmla="*/ 263569 h 574469"/>
                    <a:gd name="connsiteX66" fmla="*/ 251612 w 377753"/>
                    <a:gd name="connsiteY66" fmla="*/ 251663 h 574469"/>
                    <a:gd name="connsiteX67" fmla="*/ 227895 w 377753"/>
                    <a:gd name="connsiteY67" fmla="*/ 256711 h 574469"/>
                    <a:gd name="connsiteX68" fmla="*/ 210655 w 377753"/>
                    <a:gd name="connsiteY68" fmla="*/ 260331 h 574469"/>
                    <a:gd name="connsiteX69" fmla="*/ 196177 w 377753"/>
                    <a:gd name="connsiteY69" fmla="*/ 253854 h 574469"/>
                    <a:gd name="connsiteX70" fmla="*/ 211607 w 377753"/>
                    <a:gd name="connsiteY70" fmla="*/ 241948 h 574469"/>
                    <a:gd name="connsiteX71" fmla="*/ 267233 w 377753"/>
                    <a:gd name="connsiteY71" fmla="*/ 234709 h 574469"/>
                    <a:gd name="connsiteX72" fmla="*/ 331432 w 377753"/>
                    <a:gd name="connsiteY72" fmla="*/ 188036 h 574469"/>
                    <a:gd name="connsiteX73" fmla="*/ 377056 w 377753"/>
                    <a:gd name="connsiteY73" fmla="*/ 92881 h 574469"/>
                    <a:gd name="connsiteX74" fmla="*/ 308762 w 377753"/>
                    <a:gd name="connsiteY74" fmla="*/ 101454 h 574469"/>
                    <a:gd name="connsiteX75" fmla="*/ 95116 w 377753"/>
                    <a:gd name="connsiteY75" fmla="*/ 435115 h 574469"/>
                    <a:gd name="connsiteX76" fmla="*/ 84448 w 377753"/>
                    <a:gd name="connsiteY76" fmla="*/ 452831 h 574469"/>
                    <a:gd name="connsiteX77" fmla="*/ 67589 w 377753"/>
                    <a:gd name="connsiteY77" fmla="*/ 467500 h 574469"/>
                    <a:gd name="connsiteX78" fmla="*/ 54921 w 377753"/>
                    <a:gd name="connsiteY78" fmla="*/ 472738 h 574469"/>
                    <a:gd name="connsiteX79" fmla="*/ 69208 w 377753"/>
                    <a:gd name="connsiteY79" fmla="*/ 444926 h 574469"/>
                    <a:gd name="connsiteX80" fmla="*/ 95212 w 377753"/>
                    <a:gd name="connsiteY80" fmla="*/ 421113 h 574469"/>
                    <a:gd name="connsiteX81" fmla="*/ 95116 w 377753"/>
                    <a:gd name="connsiteY81" fmla="*/ 435115 h 574469"/>
                    <a:gd name="connsiteX82" fmla="*/ 198939 w 377753"/>
                    <a:gd name="connsiteY82" fmla="*/ 452355 h 574469"/>
                    <a:gd name="connsiteX83" fmla="*/ 206654 w 377753"/>
                    <a:gd name="connsiteY83" fmla="*/ 477501 h 574469"/>
                    <a:gd name="connsiteX84" fmla="*/ 187223 w 377753"/>
                    <a:gd name="connsiteY84" fmla="*/ 502647 h 574469"/>
                    <a:gd name="connsiteX85" fmla="*/ 163601 w 377753"/>
                    <a:gd name="connsiteY85" fmla="*/ 490836 h 574469"/>
                    <a:gd name="connsiteX86" fmla="*/ 181508 w 377753"/>
                    <a:gd name="connsiteY86" fmla="*/ 436544 h 574469"/>
                    <a:gd name="connsiteX87" fmla="*/ 189795 w 377753"/>
                    <a:gd name="connsiteY87" fmla="*/ 416160 h 574469"/>
                    <a:gd name="connsiteX88" fmla="*/ 199034 w 377753"/>
                    <a:gd name="connsiteY88" fmla="*/ 405968 h 574469"/>
                    <a:gd name="connsiteX89" fmla="*/ 212560 w 377753"/>
                    <a:gd name="connsiteY89" fmla="*/ 414255 h 574469"/>
                    <a:gd name="connsiteX90" fmla="*/ 222085 w 377753"/>
                    <a:gd name="connsiteY90" fmla="*/ 423780 h 574469"/>
                    <a:gd name="connsiteX91" fmla="*/ 198939 w 377753"/>
                    <a:gd name="connsiteY91" fmla="*/ 452355 h 574469"/>
                    <a:gd name="connsiteX92" fmla="*/ 266662 w 377753"/>
                    <a:gd name="connsiteY92" fmla="*/ 458356 h 574469"/>
                    <a:gd name="connsiteX93" fmla="*/ 237229 w 377753"/>
                    <a:gd name="connsiteY93" fmla="*/ 463785 h 574469"/>
                    <a:gd name="connsiteX94" fmla="*/ 246373 w 377753"/>
                    <a:gd name="connsiteY94" fmla="*/ 445402 h 574469"/>
                    <a:gd name="connsiteX95" fmla="*/ 266662 w 377753"/>
                    <a:gd name="connsiteY95" fmla="*/ 458356 h 574469"/>
                    <a:gd name="connsiteX96" fmla="*/ 322383 w 377753"/>
                    <a:gd name="connsiteY96" fmla="*/ 132220 h 574469"/>
                    <a:gd name="connsiteX97" fmla="*/ 267614 w 377753"/>
                    <a:gd name="connsiteY97" fmla="*/ 195942 h 574469"/>
                    <a:gd name="connsiteX98" fmla="*/ 216846 w 377753"/>
                    <a:gd name="connsiteY98" fmla="*/ 217564 h 574469"/>
                    <a:gd name="connsiteX99" fmla="*/ 219132 w 377753"/>
                    <a:gd name="connsiteY99" fmla="*/ 205086 h 574469"/>
                    <a:gd name="connsiteX100" fmla="*/ 243135 w 377753"/>
                    <a:gd name="connsiteY100" fmla="*/ 187084 h 574469"/>
                    <a:gd name="connsiteX101" fmla="*/ 265995 w 377753"/>
                    <a:gd name="connsiteY101" fmla="*/ 136601 h 574469"/>
                    <a:gd name="connsiteX102" fmla="*/ 330384 w 377753"/>
                    <a:gd name="connsiteY102" fmla="*/ 123743 h 574469"/>
                    <a:gd name="connsiteX103" fmla="*/ 322383 w 377753"/>
                    <a:gd name="connsiteY103" fmla="*/ 132220 h 5744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</a:cxnLst>
                  <a:rect l="l" t="t" r="r" b="b"/>
                  <a:pathLst>
                    <a:path w="377753" h="574469">
                      <a:moveTo>
                        <a:pt x="308762" y="101454"/>
                      </a:moveTo>
                      <a:cubicBezTo>
                        <a:pt x="308762" y="101454"/>
                        <a:pt x="301142" y="112979"/>
                        <a:pt x="287712" y="97072"/>
                      </a:cubicBezTo>
                      <a:cubicBezTo>
                        <a:pt x="287712" y="97072"/>
                        <a:pt x="295808" y="79737"/>
                        <a:pt x="298475" y="77927"/>
                      </a:cubicBezTo>
                      <a:cubicBezTo>
                        <a:pt x="300856" y="76118"/>
                        <a:pt x="314191" y="62020"/>
                        <a:pt x="310381" y="44113"/>
                      </a:cubicBezTo>
                      <a:cubicBezTo>
                        <a:pt x="310381" y="44113"/>
                        <a:pt x="296475" y="-5416"/>
                        <a:pt x="284854" y="489"/>
                      </a:cubicBezTo>
                      <a:cubicBezTo>
                        <a:pt x="284854" y="489"/>
                        <a:pt x="275710" y="49447"/>
                        <a:pt x="268948" y="64402"/>
                      </a:cubicBezTo>
                      <a:cubicBezTo>
                        <a:pt x="268948" y="64402"/>
                        <a:pt x="264947" y="95263"/>
                        <a:pt x="245230" y="109645"/>
                      </a:cubicBezTo>
                      <a:cubicBezTo>
                        <a:pt x="245230" y="109645"/>
                        <a:pt x="186652" y="139840"/>
                        <a:pt x="171793" y="124314"/>
                      </a:cubicBezTo>
                      <a:cubicBezTo>
                        <a:pt x="171793" y="124314"/>
                        <a:pt x="172650" y="99454"/>
                        <a:pt x="161982" y="100978"/>
                      </a:cubicBezTo>
                      <a:cubicBezTo>
                        <a:pt x="161982" y="100978"/>
                        <a:pt x="154933" y="95168"/>
                        <a:pt x="148361" y="135935"/>
                      </a:cubicBezTo>
                      <a:cubicBezTo>
                        <a:pt x="148361" y="135935"/>
                        <a:pt x="121310" y="143650"/>
                        <a:pt x="119215" y="151555"/>
                      </a:cubicBezTo>
                      <a:cubicBezTo>
                        <a:pt x="121120" y="154127"/>
                        <a:pt x="108737" y="161366"/>
                        <a:pt x="133883" y="167462"/>
                      </a:cubicBezTo>
                      <a:cubicBezTo>
                        <a:pt x="133883" y="167462"/>
                        <a:pt x="141503" y="167653"/>
                        <a:pt x="141122" y="188608"/>
                      </a:cubicBezTo>
                      <a:cubicBezTo>
                        <a:pt x="141122" y="188608"/>
                        <a:pt x="155791" y="208610"/>
                        <a:pt x="172174" y="178416"/>
                      </a:cubicBezTo>
                      <a:cubicBezTo>
                        <a:pt x="172174" y="178416"/>
                        <a:pt x="180937" y="142602"/>
                        <a:pt x="224371" y="148031"/>
                      </a:cubicBezTo>
                      <a:cubicBezTo>
                        <a:pt x="224371" y="148031"/>
                        <a:pt x="236658" y="155175"/>
                        <a:pt x="222370" y="160033"/>
                      </a:cubicBezTo>
                      <a:cubicBezTo>
                        <a:pt x="222370" y="160033"/>
                        <a:pt x="211988" y="181654"/>
                        <a:pt x="196081" y="178702"/>
                      </a:cubicBezTo>
                      <a:cubicBezTo>
                        <a:pt x="196081" y="178702"/>
                        <a:pt x="190843" y="188798"/>
                        <a:pt x="190366" y="192894"/>
                      </a:cubicBezTo>
                      <a:cubicBezTo>
                        <a:pt x="189890" y="196799"/>
                        <a:pt x="193605" y="197752"/>
                        <a:pt x="193605" y="197752"/>
                      </a:cubicBezTo>
                      <a:cubicBezTo>
                        <a:pt x="193605" y="197752"/>
                        <a:pt x="196748" y="211849"/>
                        <a:pt x="185699" y="227375"/>
                      </a:cubicBezTo>
                      <a:cubicBezTo>
                        <a:pt x="185699" y="227375"/>
                        <a:pt x="173317" y="242234"/>
                        <a:pt x="174364" y="248520"/>
                      </a:cubicBezTo>
                      <a:cubicBezTo>
                        <a:pt x="174364" y="248520"/>
                        <a:pt x="153314" y="261093"/>
                        <a:pt x="147885" y="281667"/>
                      </a:cubicBezTo>
                      <a:cubicBezTo>
                        <a:pt x="147694" y="282715"/>
                        <a:pt x="147409" y="283762"/>
                        <a:pt x="147218" y="284810"/>
                      </a:cubicBezTo>
                      <a:cubicBezTo>
                        <a:pt x="143408" y="307385"/>
                        <a:pt x="159410" y="292240"/>
                        <a:pt x="163315" y="288525"/>
                      </a:cubicBezTo>
                      <a:cubicBezTo>
                        <a:pt x="163315" y="288525"/>
                        <a:pt x="181603" y="279476"/>
                        <a:pt x="182365" y="282143"/>
                      </a:cubicBezTo>
                      <a:cubicBezTo>
                        <a:pt x="182937" y="284810"/>
                        <a:pt x="191986" y="287096"/>
                        <a:pt x="198748" y="279286"/>
                      </a:cubicBezTo>
                      <a:lnTo>
                        <a:pt x="226657" y="288335"/>
                      </a:lnTo>
                      <a:cubicBezTo>
                        <a:pt x="226657" y="288335"/>
                        <a:pt x="223799" y="299955"/>
                        <a:pt x="205416" y="313100"/>
                      </a:cubicBezTo>
                      <a:cubicBezTo>
                        <a:pt x="205416" y="313100"/>
                        <a:pt x="160553" y="358724"/>
                        <a:pt x="107308" y="391681"/>
                      </a:cubicBezTo>
                      <a:cubicBezTo>
                        <a:pt x="107308" y="391681"/>
                        <a:pt x="56921" y="432257"/>
                        <a:pt x="35680" y="477406"/>
                      </a:cubicBezTo>
                      <a:lnTo>
                        <a:pt x="14249" y="521506"/>
                      </a:lnTo>
                      <a:cubicBezTo>
                        <a:pt x="14249" y="521506"/>
                        <a:pt x="-14802" y="534175"/>
                        <a:pt x="10058" y="545033"/>
                      </a:cubicBezTo>
                      <a:cubicBezTo>
                        <a:pt x="10058" y="545033"/>
                        <a:pt x="21583" y="545605"/>
                        <a:pt x="35204" y="533508"/>
                      </a:cubicBezTo>
                      <a:lnTo>
                        <a:pt x="155600" y="395967"/>
                      </a:lnTo>
                      <a:lnTo>
                        <a:pt x="173507" y="385109"/>
                      </a:lnTo>
                      <a:lnTo>
                        <a:pt x="180079" y="367106"/>
                      </a:lnTo>
                      <a:cubicBezTo>
                        <a:pt x="180079" y="367106"/>
                        <a:pt x="200177" y="353581"/>
                        <a:pt x="213036" y="345389"/>
                      </a:cubicBezTo>
                      <a:cubicBezTo>
                        <a:pt x="213036" y="345389"/>
                        <a:pt x="264471" y="335674"/>
                        <a:pt x="270853" y="348818"/>
                      </a:cubicBezTo>
                      <a:cubicBezTo>
                        <a:pt x="270853" y="348818"/>
                        <a:pt x="246945" y="365678"/>
                        <a:pt x="245707" y="367392"/>
                      </a:cubicBezTo>
                      <a:cubicBezTo>
                        <a:pt x="244373" y="369202"/>
                        <a:pt x="237896" y="385299"/>
                        <a:pt x="237896" y="385299"/>
                      </a:cubicBezTo>
                      <a:cubicBezTo>
                        <a:pt x="237896" y="385299"/>
                        <a:pt x="237039" y="390157"/>
                        <a:pt x="226276" y="386537"/>
                      </a:cubicBezTo>
                      <a:cubicBezTo>
                        <a:pt x="226276" y="386537"/>
                        <a:pt x="191605" y="382346"/>
                        <a:pt x="183413" y="386632"/>
                      </a:cubicBezTo>
                      <a:lnTo>
                        <a:pt x="134359" y="503314"/>
                      </a:lnTo>
                      <a:lnTo>
                        <a:pt x="121310" y="519506"/>
                      </a:lnTo>
                      <a:lnTo>
                        <a:pt x="102070" y="571608"/>
                      </a:lnTo>
                      <a:cubicBezTo>
                        <a:pt x="102070" y="571608"/>
                        <a:pt x="129311" y="582086"/>
                        <a:pt x="150076" y="562940"/>
                      </a:cubicBezTo>
                      <a:cubicBezTo>
                        <a:pt x="150076" y="562940"/>
                        <a:pt x="190652" y="515029"/>
                        <a:pt x="215512" y="511505"/>
                      </a:cubicBezTo>
                      <a:cubicBezTo>
                        <a:pt x="215512" y="511505"/>
                        <a:pt x="241897" y="528745"/>
                        <a:pt x="240563" y="542080"/>
                      </a:cubicBezTo>
                      <a:cubicBezTo>
                        <a:pt x="240563" y="542080"/>
                        <a:pt x="292474" y="556844"/>
                        <a:pt x="297237" y="537604"/>
                      </a:cubicBezTo>
                      <a:cubicBezTo>
                        <a:pt x="297237" y="537604"/>
                        <a:pt x="298475" y="524554"/>
                        <a:pt x="280473" y="507981"/>
                      </a:cubicBezTo>
                      <a:lnTo>
                        <a:pt x="270948" y="504076"/>
                      </a:lnTo>
                      <a:lnTo>
                        <a:pt x="264185" y="483692"/>
                      </a:lnTo>
                      <a:cubicBezTo>
                        <a:pt x="264185" y="483692"/>
                        <a:pt x="283140" y="472643"/>
                        <a:pt x="291808" y="473215"/>
                      </a:cubicBezTo>
                      <a:cubicBezTo>
                        <a:pt x="291808" y="473215"/>
                        <a:pt x="316858" y="461689"/>
                        <a:pt x="309143" y="438639"/>
                      </a:cubicBezTo>
                      <a:cubicBezTo>
                        <a:pt x="309143" y="438639"/>
                        <a:pt x="322859" y="434162"/>
                        <a:pt x="282378" y="421303"/>
                      </a:cubicBezTo>
                      <a:cubicBezTo>
                        <a:pt x="282378" y="421303"/>
                        <a:pt x="267614" y="431590"/>
                        <a:pt x="248659" y="419303"/>
                      </a:cubicBezTo>
                      <a:cubicBezTo>
                        <a:pt x="248659" y="419303"/>
                        <a:pt x="244087" y="414541"/>
                        <a:pt x="257327" y="405206"/>
                      </a:cubicBezTo>
                      <a:lnTo>
                        <a:pt x="263137" y="396443"/>
                      </a:lnTo>
                      <a:cubicBezTo>
                        <a:pt x="263137" y="396443"/>
                        <a:pt x="270948" y="399015"/>
                        <a:pt x="274472" y="381679"/>
                      </a:cubicBezTo>
                      <a:cubicBezTo>
                        <a:pt x="274472" y="381679"/>
                        <a:pt x="296665" y="381870"/>
                        <a:pt x="309238" y="337674"/>
                      </a:cubicBezTo>
                      <a:cubicBezTo>
                        <a:pt x="309238" y="337674"/>
                        <a:pt x="310858" y="320719"/>
                        <a:pt x="282187" y="312052"/>
                      </a:cubicBezTo>
                      <a:lnTo>
                        <a:pt x="270757" y="315481"/>
                      </a:lnTo>
                      <a:lnTo>
                        <a:pt x="257708" y="310242"/>
                      </a:lnTo>
                      <a:cubicBezTo>
                        <a:pt x="254660" y="309004"/>
                        <a:pt x="252850" y="316624"/>
                        <a:pt x="250850" y="315767"/>
                      </a:cubicBezTo>
                      <a:cubicBezTo>
                        <a:pt x="248755" y="315004"/>
                        <a:pt x="226657" y="319291"/>
                        <a:pt x="246183" y="299860"/>
                      </a:cubicBezTo>
                      <a:cubicBezTo>
                        <a:pt x="246183" y="299860"/>
                        <a:pt x="267328" y="287858"/>
                        <a:pt x="275044" y="263569"/>
                      </a:cubicBezTo>
                      <a:cubicBezTo>
                        <a:pt x="275044" y="263569"/>
                        <a:pt x="267519" y="254521"/>
                        <a:pt x="251612" y="251663"/>
                      </a:cubicBezTo>
                      <a:cubicBezTo>
                        <a:pt x="251612" y="251663"/>
                        <a:pt x="236848" y="259188"/>
                        <a:pt x="227895" y="256711"/>
                      </a:cubicBezTo>
                      <a:cubicBezTo>
                        <a:pt x="218846" y="254140"/>
                        <a:pt x="210655" y="260331"/>
                        <a:pt x="210655" y="260331"/>
                      </a:cubicBezTo>
                      <a:cubicBezTo>
                        <a:pt x="210655" y="260331"/>
                        <a:pt x="198177" y="257664"/>
                        <a:pt x="196177" y="253854"/>
                      </a:cubicBezTo>
                      <a:cubicBezTo>
                        <a:pt x="194176" y="250139"/>
                        <a:pt x="195605" y="236519"/>
                        <a:pt x="211607" y="241948"/>
                      </a:cubicBezTo>
                      <a:cubicBezTo>
                        <a:pt x="211607" y="241948"/>
                        <a:pt x="255136" y="244424"/>
                        <a:pt x="267233" y="234709"/>
                      </a:cubicBezTo>
                      <a:cubicBezTo>
                        <a:pt x="267233" y="234709"/>
                        <a:pt x="324097" y="201371"/>
                        <a:pt x="331432" y="188036"/>
                      </a:cubicBezTo>
                      <a:cubicBezTo>
                        <a:pt x="331432" y="188036"/>
                        <a:pt x="384391" y="111074"/>
                        <a:pt x="377056" y="92881"/>
                      </a:cubicBezTo>
                      <a:cubicBezTo>
                        <a:pt x="376675" y="93167"/>
                        <a:pt x="370294" y="69450"/>
                        <a:pt x="308762" y="101454"/>
                      </a:cubicBezTo>
                      <a:close/>
                      <a:moveTo>
                        <a:pt x="95116" y="435115"/>
                      </a:moveTo>
                      <a:cubicBezTo>
                        <a:pt x="91211" y="434734"/>
                        <a:pt x="84448" y="452831"/>
                        <a:pt x="84448" y="452831"/>
                      </a:cubicBezTo>
                      <a:cubicBezTo>
                        <a:pt x="80543" y="449593"/>
                        <a:pt x="67589" y="467500"/>
                        <a:pt x="67589" y="467500"/>
                      </a:cubicBezTo>
                      <a:cubicBezTo>
                        <a:pt x="59398" y="484454"/>
                        <a:pt x="54921" y="472738"/>
                        <a:pt x="54921" y="472738"/>
                      </a:cubicBezTo>
                      <a:cubicBezTo>
                        <a:pt x="59779" y="453974"/>
                        <a:pt x="69208" y="444926"/>
                        <a:pt x="69208" y="444926"/>
                      </a:cubicBezTo>
                      <a:cubicBezTo>
                        <a:pt x="71113" y="441592"/>
                        <a:pt x="95212" y="421113"/>
                        <a:pt x="95212" y="421113"/>
                      </a:cubicBezTo>
                      <a:cubicBezTo>
                        <a:pt x="107308" y="423875"/>
                        <a:pt x="99022" y="435591"/>
                        <a:pt x="95116" y="435115"/>
                      </a:cubicBezTo>
                      <a:close/>
                      <a:moveTo>
                        <a:pt x="198939" y="452355"/>
                      </a:moveTo>
                      <a:lnTo>
                        <a:pt x="206654" y="477501"/>
                      </a:lnTo>
                      <a:cubicBezTo>
                        <a:pt x="210940" y="501313"/>
                        <a:pt x="187223" y="502647"/>
                        <a:pt x="187223" y="502647"/>
                      </a:cubicBezTo>
                      <a:cubicBezTo>
                        <a:pt x="160172" y="519506"/>
                        <a:pt x="163601" y="490836"/>
                        <a:pt x="163601" y="490836"/>
                      </a:cubicBezTo>
                      <a:cubicBezTo>
                        <a:pt x="163601" y="490836"/>
                        <a:pt x="177698" y="450545"/>
                        <a:pt x="181508" y="436544"/>
                      </a:cubicBezTo>
                      <a:cubicBezTo>
                        <a:pt x="185604" y="422351"/>
                        <a:pt x="189795" y="416160"/>
                        <a:pt x="189795" y="416160"/>
                      </a:cubicBezTo>
                      <a:lnTo>
                        <a:pt x="199034" y="405968"/>
                      </a:lnTo>
                      <a:cubicBezTo>
                        <a:pt x="199034" y="405968"/>
                        <a:pt x="213703" y="410064"/>
                        <a:pt x="212560" y="414255"/>
                      </a:cubicBezTo>
                      <a:cubicBezTo>
                        <a:pt x="211417" y="418446"/>
                        <a:pt x="222085" y="423780"/>
                        <a:pt x="222085" y="423780"/>
                      </a:cubicBezTo>
                      <a:lnTo>
                        <a:pt x="198939" y="452355"/>
                      </a:lnTo>
                      <a:close/>
                      <a:moveTo>
                        <a:pt x="266662" y="458356"/>
                      </a:moveTo>
                      <a:cubicBezTo>
                        <a:pt x="266662" y="458356"/>
                        <a:pt x="247516" y="476739"/>
                        <a:pt x="237229" y="463785"/>
                      </a:cubicBezTo>
                      <a:cubicBezTo>
                        <a:pt x="237229" y="463785"/>
                        <a:pt x="227895" y="446640"/>
                        <a:pt x="246373" y="445402"/>
                      </a:cubicBezTo>
                      <a:cubicBezTo>
                        <a:pt x="246373" y="445402"/>
                        <a:pt x="269138" y="448259"/>
                        <a:pt x="266662" y="458356"/>
                      </a:cubicBezTo>
                      <a:close/>
                      <a:moveTo>
                        <a:pt x="322383" y="132220"/>
                      </a:moveTo>
                      <a:cubicBezTo>
                        <a:pt x="322383" y="132220"/>
                        <a:pt x="317811" y="157652"/>
                        <a:pt x="267614" y="195942"/>
                      </a:cubicBezTo>
                      <a:cubicBezTo>
                        <a:pt x="267614" y="195942"/>
                        <a:pt x="238849" y="219088"/>
                        <a:pt x="216846" y="217564"/>
                      </a:cubicBezTo>
                      <a:cubicBezTo>
                        <a:pt x="216846" y="217564"/>
                        <a:pt x="204844" y="211658"/>
                        <a:pt x="219132" y="205086"/>
                      </a:cubicBezTo>
                      <a:cubicBezTo>
                        <a:pt x="219132" y="205086"/>
                        <a:pt x="241516" y="199752"/>
                        <a:pt x="243135" y="187084"/>
                      </a:cubicBezTo>
                      <a:cubicBezTo>
                        <a:pt x="243135" y="187084"/>
                        <a:pt x="243611" y="154794"/>
                        <a:pt x="265995" y="136601"/>
                      </a:cubicBezTo>
                      <a:cubicBezTo>
                        <a:pt x="265995" y="136601"/>
                        <a:pt x="316382" y="115361"/>
                        <a:pt x="330384" y="123743"/>
                      </a:cubicBezTo>
                      <a:cubicBezTo>
                        <a:pt x="330479" y="123838"/>
                        <a:pt x="331432" y="134220"/>
                        <a:pt x="322383" y="13222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62" name="任意多边形: 形状 1061">
                  <a:extLst>
                    <a:ext uri="{FF2B5EF4-FFF2-40B4-BE49-F238E27FC236}">
                      <a16:creationId xmlns:a16="http://schemas.microsoft.com/office/drawing/2014/main" id="{B7829F4B-C462-436D-B9F3-F00BF9550813}"/>
                    </a:ext>
                  </a:extLst>
                </p:cNvPr>
                <p:cNvSpPr/>
                <p:nvPr/>
              </p:nvSpPr>
              <p:spPr>
                <a:xfrm>
                  <a:off x="3196177" y="7003678"/>
                  <a:ext cx="20863" cy="20541"/>
                </a:xfrm>
                <a:custGeom>
                  <a:avLst/>
                  <a:gdLst>
                    <a:gd name="connsiteX0" fmla="*/ 19336 w 20863"/>
                    <a:gd name="connsiteY0" fmla="*/ 16342 h 20541"/>
                    <a:gd name="connsiteX1" fmla="*/ 9144 w 20863"/>
                    <a:gd name="connsiteY1" fmla="*/ 435 h 20541"/>
                    <a:gd name="connsiteX2" fmla="*/ 0 w 20863"/>
                    <a:gd name="connsiteY2" fmla="*/ 13103 h 20541"/>
                    <a:gd name="connsiteX3" fmla="*/ 19336 w 20863"/>
                    <a:gd name="connsiteY3" fmla="*/ 16342 h 20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0863" h="20541">
                      <a:moveTo>
                        <a:pt x="19336" y="16342"/>
                      </a:moveTo>
                      <a:cubicBezTo>
                        <a:pt x="25908" y="-1184"/>
                        <a:pt x="9144" y="435"/>
                        <a:pt x="9144" y="435"/>
                      </a:cubicBezTo>
                      <a:cubicBezTo>
                        <a:pt x="2286" y="-2803"/>
                        <a:pt x="0" y="13103"/>
                        <a:pt x="0" y="13103"/>
                      </a:cubicBezTo>
                      <a:cubicBezTo>
                        <a:pt x="9049" y="27677"/>
                        <a:pt x="19336" y="16342"/>
                        <a:pt x="19336" y="1634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63" name="任意多边形: 形状 1062">
                  <a:extLst>
                    <a:ext uri="{FF2B5EF4-FFF2-40B4-BE49-F238E27FC236}">
                      <a16:creationId xmlns:a16="http://schemas.microsoft.com/office/drawing/2014/main" id="{EDC7CAD6-43AA-40E3-BBC1-06947CAA03BC}"/>
                    </a:ext>
                  </a:extLst>
                </p:cNvPr>
                <p:cNvSpPr/>
                <p:nvPr/>
              </p:nvSpPr>
              <p:spPr>
                <a:xfrm>
                  <a:off x="3660235" y="6866655"/>
                  <a:ext cx="330803" cy="511528"/>
                </a:xfrm>
                <a:custGeom>
                  <a:avLst/>
                  <a:gdLst>
                    <a:gd name="connsiteX0" fmla="*/ 276987 w 330803"/>
                    <a:gd name="connsiteY0" fmla="*/ 188798 h 511528"/>
                    <a:gd name="connsiteX1" fmla="*/ 278225 w 330803"/>
                    <a:gd name="connsiteY1" fmla="*/ 181464 h 511528"/>
                    <a:gd name="connsiteX2" fmla="*/ 330803 w 330803"/>
                    <a:gd name="connsiteY2" fmla="*/ 165176 h 511528"/>
                    <a:gd name="connsiteX3" fmla="*/ 303467 w 330803"/>
                    <a:gd name="connsiteY3" fmla="*/ 75451 h 511528"/>
                    <a:gd name="connsiteX4" fmla="*/ 297942 w 330803"/>
                    <a:gd name="connsiteY4" fmla="*/ 85928 h 511528"/>
                    <a:gd name="connsiteX5" fmla="*/ 303181 w 330803"/>
                    <a:gd name="connsiteY5" fmla="*/ 131077 h 511528"/>
                    <a:gd name="connsiteX6" fmla="*/ 265652 w 330803"/>
                    <a:gd name="connsiteY6" fmla="*/ 145745 h 511528"/>
                    <a:gd name="connsiteX7" fmla="*/ 257651 w 330803"/>
                    <a:gd name="connsiteY7" fmla="*/ 141840 h 511528"/>
                    <a:gd name="connsiteX8" fmla="*/ 268414 w 330803"/>
                    <a:gd name="connsiteY8" fmla="*/ 96691 h 511528"/>
                    <a:gd name="connsiteX9" fmla="*/ 273749 w 330803"/>
                    <a:gd name="connsiteY9" fmla="*/ 489 h 511528"/>
                    <a:gd name="connsiteX10" fmla="*/ 263652 w 330803"/>
                    <a:gd name="connsiteY10" fmla="*/ 9823 h 511528"/>
                    <a:gd name="connsiteX11" fmla="*/ 244888 w 330803"/>
                    <a:gd name="connsiteY11" fmla="*/ 94691 h 511528"/>
                    <a:gd name="connsiteX12" fmla="*/ 236315 w 330803"/>
                    <a:gd name="connsiteY12" fmla="*/ 111265 h 511528"/>
                    <a:gd name="connsiteX13" fmla="*/ 229076 w 330803"/>
                    <a:gd name="connsiteY13" fmla="*/ 170606 h 511528"/>
                    <a:gd name="connsiteX14" fmla="*/ 219456 w 330803"/>
                    <a:gd name="connsiteY14" fmla="*/ 182512 h 511528"/>
                    <a:gd name="connsiteX15" fmla="*/ 197929 w 330803"/>
                    <a:gd name="connsiteY15" fmla="*/ 194323 h 511528"/>
                    <a:gd name="connsiteX16" fmla="*/ 194500 w 330803"/>
                    <a:gd name="connsiteY16" fmla="*/ 204896 h 511528"/>
                    <a:gd name="connsiteX17" fmla="*/ 152019 w 330803"/>
                    <a:gd name="connsiteY17" fmla="*/ 214421 h 511528"/>
                    <a:gd name="connsiteX18" fmla="*/ 162211 w 330803"/>
                    <a:gd name="connsiteY18" fmla="*/ 189274 h 511528"/>
                    <a:gd name="connsiteX19" fmla="*/ 185547 w 330803"/>
                    <a:gd name="connsiteY19" fmla="*/ 172701 h 511528"/>
                    <a:gd name="connsiteX20" fmla="*/ 177641 w 330803"/>
                    <a:gd name="connsiteY20" fmla="*/ 146317 h 511528"/>
                    <a:gd name="connsiteX21" fmla="*/ 164497 w 330803"/>
                    <a:gd name="connsiteY21" fmla="*/ 120028 h 511528"/>
                    <a:gd name="connsiteX22" fmla="*/ 167830 w 330803"/>
                    <a:gd name="connsiteY22" fmla="*/ 81832 h 511528"/>
                    <a:gd name="connsiteX23" fmla="*/ 154400 w 330803"/>
                    <a:gd name="connsiteY23" fmla="*/ 57830 h 511528"/>
                    <a:gd name="connsiteX24" fmla="*/ 134969 w 330803"/>
                    <a:gd name="connsiteY24" fmla="*/ 131743 h 511528"/>
                    <a:gd name="connsiteX25" fmla="*/ 125158 w 330803"/>
                    <a:gd name="connsiteY25" fmla="*/ 147555 h 511528"/>
                    <a:gd name="connsiteX26" fmla="*/ 112109 w 330803"/>
                    <a:gd name="connsiteY26" fmla="*/ 161461 h 511528"/>
                    <a:gd name="connsiteX27" fmla="*/ 52864 w 330803"/>
                    <a:gd name="connsiteY27" fmla="*/ 169653 h 511528"/>
                    <a:gd name="connsiteX28" fmla="*/ 53150 w 330803"/>
                    <a:gd name="connsiteY28" fmla="*/ 186607 h 511528"/>
                    <a:gd name="connsiteX29" fmla="*/ 107442 w 330803"/>
                    <a:gd name="connsiteY29" fmla="*/ 227184 h 511528"/>
                    <a:gd name="connsiteX30" fmla="*/ 0 w 330803"/>
                    <a:gd name="connsiteY30" fmla="*/ 376441 h 511528"/>
                    <a:gd name="connsiteX31" fmla="*/ 1429 w 330803"/>
                    <a:gd name="connsiteY31" fmla="*/ 436639 h 511528"/>
                    <a:gd name="connsiteX32" fmla="*/ 18574 w 330803"/>
                    <a:gd name="connsiteY32" fmla="*/ 434639 h 511528"/>
                    <a:gd name="connsiteX33" fmla="*/ 58674 w 330803"/>
                    <a:gd name="connsiteY33" fmla="*/ 380441 h 511528"/>
                    <a:gd name="connsiteX34" fmla="*/ 90583 w 330803"/>
                    <a:gd name="connsiteY34" fmla="*/ 390728 h 511528"/>
                    <a:gd name="connsiteX35" fmla="*/ 100679 w 330803"/>
                    <a:gd name="connsiteY35" fmla="*/ 463975 h 511528"/>
                    <a:gd name="connsiteX36" fmla="*/ 113252 w 330803"/>
                    <a:gd name="connsiteY36" fmla="*/ 461308 h 511528"/>
                    <a:gd name="connsiteX37" fmla="*/ 113633 w 330803"/>
                    <a:gd name="connsiteY37" fmla="*/ 448069 h 511528"/>
                    <a:gd name="connsiteX38" fmla="*/ 123730 w 330803"/>
                    <a:gd name="connsiteY38" fmla="*/ 376441 h 511528"/>
                    <a:gd name="connsiteX39" fmla="*/ 162592 w 330803"/>
                    <a:gd name="connsiteY39" fmla="*/ 365011 h 511528"/>
                    <a:gd name="connsiteX40" fmla="*/ 199739 w 330803"/>
                    <a:gd name="connsiteY40" fmla="*/ 322339 h 511528"/>
                    <a:gd name="connsiteX41" fmla="*/ 206216 w 330803"/>
                    <a:gd name="connsiteY41" fmla="*/ 366154 h 511528"/>
                    <a:gd name="connsiteX42" fmla="*/ 199454 w 330803"/>
                    <a:gd name="connsiteY42" fmla="*/ 453307 h 511528"/>
                    <a:gd name="connsiteX43" fmla="*/ 213360 w 330803"/>
                    <a:gd name="connsiteY43" fmla="*/ 507981 h 511528"/>
                    <a:gd name="connsiteX44" fmla="*/ 227838 w 330803"/>
                    <a:gd name="connsiteY44" fmla="*/ 498361 h 511528"/>
                    <a:gd name="connsiteX45" fmla="*/ 224314 w 330803"/>
                    <a:gd name="connsiteY45" fmla="*/ 487502 h 511528"/>
                    <a:gd name="connsiteX46" fmla="*/ 236220 w 330803"/>
                    <a:gd name="connsiteY46" fmla="*/ 294811 h 511528"/>
                    <a:gd name="connsiteX47" fmla="*/ 242888 w 330803"/>
                    <a:gd name="connsiteY47" fmla="*/ 215373 h 511528"/>
                    <a:gd name="connsiteX48" fmla="*/ 257366 w 330803"/>
                    <a:gd name="connsiteY48" fmla="*/ 197180 h 511528"/>
                    <a:gd name="connsiteX49" fmla="*/ 258794 w 330803"/>
                    <a:gd name="connsiteY49" fmla="*/ 196514 h 511528"/>
                    <a:gd name="connsiteX50" fmla="*/ 276987 w 330803"/>
                    <a:gd name="connsiteY50" fmla="*/ 188798 h 511528"/>
                    <a:gd name="connsiteX51" fmla="*/ 215932 w 330803"/>
                    <a:gd name="connsiteY51" fmla="*/ 273380 h 511528"/>
                    <a:gd name="connsiteX52" fmla="*/ 169831 w 330803"/>
                    <a:gd name="connsiteY52" fmla="*/ 314052 h 511528"/>
                    <a:gd name="connsiteX53" fmla="*/ 156782 w 330803"/>
                    <a:gd name="connsiteY53" fmla="*/ 333197 h 511528"/>
                    <a:gd name="connsiteX54" fmla="*/ 136779 w 330803"/>
                    <a:gd name="connsiteY54" fmla="*/ 339198 h 511528"/>
                    <a:gd name="connsiteX55" fmla="*/ 127730 w 330803"/>
                    <a:gd name="connsiteY55" fmla="*/ 309194 h 511528"/>
                    <a:gd name="connsiteX56" fmla="*/ 191357 w 330803"/>
                    <a:gd name="connsiteY56" fmla="*/ 232708 h 511528"/>
                    <a:gd name="connsiteX57" fmla="*/ 215932 w 330803"/>
                    <a:gd name="connsiteY57" fmla="*/ 273380 h 5115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</a:cxnLst>
                  <a:rect l="l" t="t" r="r" b="b"/>
                  <a:pathLst>
                    <a:path w="330803" h="511528">
                      <a:moveTo>
                        <a:pt x="276987" y="188798"/>
                      </a:moveTo>
                      <a:lnTo>
                        <a:pt x="278225" y="181464"/>
                      </a:lnTo>
                      <a:cubicBezTo>
                        <a:pt x="278225" y="181464"/>
                        <a:pt x="329470" y="172225"/>
                        <a:pt x="330803" y="165176"/>
                      </a:cubicBezTo>
                      <a:cubicBezTo>
                        <a:pt x="330803" y="165176"/>
                        <a:pt x="316516" y="66688"/>
                        <a:pt x="303467" y="75451"/>
                      </a:cubicBezTo>
                      <a:cubicBezTo>
                        <a:pt x="303467" y="75451"/>
                        <a:pt x="290798" y="80499"/>
                        <a:pt x="297942" y="85928"/>
                      </a:cubicBezTo>
                      <a:cubicBezTo>
                        <a:pt x="297942" y="85928"/>
                        <a:pt x="310515" y="116313"/>
                        <a:pt x="303181" y="131077"/>
                      </a:cubicBezTo>
                      <a:cubicBezTo>
                        <a:pt x="303181" y="131077"/>
                        <a:pt x="296513" y="151079"/>
                        <a:pt x="265652" y="145745"/>
                      </a:cubicBezTo>
                      <a:lnTo>
                        <a:pt x="257651" y="141840"/>
                      </a:lnTo>
                      <a:cubicBezTo>
                        <a:pt x="257651" y="141840"/>
                        <a:pt x="271082" y="109265"/>
                        <a:pt x="268414" y="96691"/>
                      </a:cubicBezTo>
                      <a:cubicBezTo>
                        <a:pt x="268414" y="96691"/>
                        <a:pt x="279654" y="5156"/>
                        <a:pt x="273749" y="489"/>
                      </a:cubicBezTo>
                      <a:cubicBezTo>
                        <a:pt x="273749" y="489"/>
                        <a:pt x="265747" y="-3226"/>
                        <a:pt x="263652" y="9823"/>
                      </a:cubicBezTo>
                      <a:cubicBezTo>
                        <a:pt x="263652" y="9823"/>
                        <a:pt x="252032" y="87452"/>
                        <a:pt x="244888" y="94691"/>
                      </a:cubicBezTo>
                      <a:cubicBezTo>
                        <a:pt x="244888" y="94691"/>
                        <a:pt x="242316" y="108979"/>
                        <a:pt x="236315" y="111265"/>
                      </a:cubicBezTo>
                      <a:cubicBezTo>
                        <a:pt x="236315" y="111265"/>
                        <a:pt x="224885" y="153175"/>
                        <a:pt x="229076" y="170606"/>
                      </a:cubicBezTo>
                      <a:cubicBezTo>
                        <a:pt x="229076" y="170606"/>
                        <a:pt x="222599" y="174130"/>
                        <a:pt x="219456" y="182512"/>
                      </a:cubicBezTo>
                      <a:cubicBezTo>
                        <a:pt x="217646" y="186226"/>
                        <a:pt x="197929" y="194323"/>
                        <a:pt x="197929" y="194323"/>
                      </a:cubicBezTo>
                      <a:lnTo>
                        <a:pt x="194500" y="204896"/>
                      </a:lnTo>
                      <a:lnTo>
                        <a:pt x="152019" y="214421"/>
                      </a:lnTo>
                      <a:cubicBezTo>
                        <a:pt x="152019" y="214421"/>
                        <a:pt x="137922" y="194418"/>
                        <a:pt x="162211" y="189274"/>
                      </a:cubicBezTo>
                      <a:cubicBezTo>
                        <a:pt x="162211" y="189274"/>
                        <a:pt x="182118" y="174987"/>
                        <a:pt x="185547" y="172701"/>
                      </a:cubicBezTo>
                      <a:cubicBezTo>
                        <a:pt x="188881" y="170415"/>
                        <a:pt x="186023" y="154508"/>
                        <a:pt x="177641" y="146317"/>
                      </a:cubicBezTo>
                      <a:cubicBezTo>
                        <a:pt x="177641" y="146317"/>
                        <a:pt x="166307" y="138792"/>
                        <a:pt x="164497" y="120028"/>
                      </a:cubicBezTo>
                      <a:cubicBezTo>
                        <a:pt x="162592" y="101073"/>
                        <a:pt x="168878" y="84309"/>
                        <a:pt x="167830" y="81832"/>
                      </a:cubicBezTo>
                      <a:cubicBezTo>
                        <a:pt x="166783" y="79261"/>
                        <a:pt x="175546" y="51067"/>
                        <a:pt x="154400" y="57830"/>
                      </a:cubicBezTo>
                      <a:cubicBezTo>
                        <a:pt x="154400" y="57830"/>
                        <a:pt x="144304" y="116027"/>
                        <a:pt x="134969" y="131743"/>
                      </a:cubicBezTo>
                      <a:cubicBezTo>
                        <a:pt x="134969" y="131743"/>
                        <a:pt x="136684" y="144983"/>
                        <a:pt x="125158" y="147555"/>
                      </a:cubicBezTo>
                      <a:cubicBezTo>
                        <a:pt x="113633" y="150032"/>
                        <a:pt x="112109" y="159080"/>
                        <a:pt x="112109" y="161461"/>
                      </a:cubicBezTo>
                      <a:cubicBezTo>
                        <a:pt x="112014" y="163557"/>
                        <a:pt x="75914" y="179464"/>
                        <a:pt x="52864" y="169653"/>
                      </a:cubicBezTo>
                      <a:cubicBezTo>
                        <a:pt x="52864" y="169653"/>
                        <a:pt x="39529" y="176130"/>
                        <a:pt x="53150" y="186607"/>
                      </a:cubicBezTo>
                      <a:lnTo>
                        <a:pt x="107442" y="227184"/>
                      </a:lnTo>
                      <a:cubicBezTo>
                        <a:pt x="107442" y="227184"/>
                        <a:pt x="122587" y="259664"/>
                        <a:pt x="0" y="376441"/>
                      </a:cubicBezTo>
                      <a:lnTo>
                        <a:pt x="1429" y="436639"/>
                      </a:lnTo>
                      <a:lnTo>
                        <a:pt x="18574" y="434639"/>
                      </a:lnTo>
                      <a:lnTo>
                        <a:pt x="58674" y="380441"/>
                      </a:lnTo>
                      <a:cubicBezTo>
                        <a:pt x="58674" y="380441"/>
                        <a:pt x="94202" y="356915"/>
                        <a:pt x="90583" y="390728"/>
                      </a:cubicBezTo>
                      <a:cubicBezTo>
                        <a:pt x="90583" y="390728"/>
                        <a:pt x="88868" y="452546"/>
                        <a:pt x="100679" y="463975"/>
                      </a:cubicBezTo>
                      <a:lnTo>
                        <a:pt x="113252" y="461308"/>
                      </a:lnTo>
                      <a:cubicBezTo>
                        <a:pt x="113252" y="461308"/>
                        <a:pt x="113919" y="459499"/>
                        <a:pt x="113633" y="448069"/>
                      </a:cubicBezTo>
                      <a:cubicBezTo>
                        <a:pt x="113633" y="448069"/>
                        <a:pt x="112776" y="376155"/>
                        <a:pt x="123730" y="376441"/>
                      </a:cubicBezTo>
                      <a:cubicBezTo>
                        <a:pt x="123730" y="376441"/>
                        <a:pt x="159067" y="376631"/>
                        <a:pt x="162592" y="365011"/>
                      </a:cubicBezTo>
                      <a:cubicBezTo>
                        <a:pt x="162592" y="365011"/>
                        <a:pt x="178308" y="310051"/>
                        <a:pt x="199739" y="322339"/>
                      </a:cubicBezTo>
                      <a:cubicBezTo>
                        <a:pt x="199739" y="322339"/>
                        <a:pt x="212693" y="318529"/>
                        <a:pt x="206216" y="366154"/>
                      </a:cubicBezTo>
                      <a:cubicBezTo>
                        <a:pt x="206216" y="366154"/>
                        <a:pt x="205930" y="442163"/>
                        <a:pt x="199454" y="453307"/>
                      </a:cubicBezTo>
                      <a:lnTo>
                        <a:pt x="213360" y="507981"/>
                      </a:lnTo>
                      <a:cubicBezTo>
                        <a:pt x="213360" y="507981"/>
                        <a:pt x="226885" y="520554"/>
                        <a:pt x="227838" y="498361"/>
                      </a:cubicBezTo>
                      <a:lnTo>
                        <a:pt x="224314" y="487502"/>
                      </a:lnTo>
                      <a:lnTo>
                        <a:pt x="236220" y="294811"/>
                      </a:lnTo>
                      <a:cubicBezTo>
                        <a:pt x="236220" y="294811"/>
                        <a:pt x="232886" y="220707"/>
                        <a:pt x="242888" y="215373"/>
                      </a:cubicBezTo>
                      <a:cubicBezTo>
                        <a:pt x="242888" y="215373"/>
                        <a:pt x="246412" y="202800"/>
                        <a:pt x="257366" y="197180"/>
                      </a:cubicBezTo>
                      <a:cubicBezTo>
                        <a:pt x="259461" y="196704"/>
                        <a:pt x="258318" y="196799"/>
                        <a:pt x="258794" y="196514"/>
                      </a:cubicBezTo>
                      <a:cubicBezTo>
                        <a:pt x="271082" y="191275"/>
                        <a:pt x="276987" y="188798"/>
                        <a:pt x="276987" y="188798"/>
                      </a:cubicBezTo>
                      <a:close/>
                      <a:moveTo>
                        <a:pt x="215932" y="273380"/>
                      </a:moveTo>
                      <a:cubicBezTo>
                        <a:pt x="215932" y="273380"/>
                        <a:pt x="178308" y="307194"/>
                        <a:pt x="169831" y="314052"/>
                      </a:cubicBezTo>
                      <a:cubicBezTo>
                        <a:pt x="161258" y="320815"/>
                        <a:pt x="174403" y="317481"/>
                        <a:pt x="156782" y="333197"/>
                      </a:cubicBezTo>
                      <a:cubicBezTo>
                        <a:pt x="139351" y="348818"/>
                        <a:pt x="136779" y="339198"/>
                        <a:pt x="136779" y="339198"/>
                      </a:cubicBezTo>
                      <a:cubicBezTo>
                        <a:pt x="105156" y="341579"/>
                        <a:pt x="127730" y="309194"/>
                        <a:pt x="127730" y="309194"/>
                      </a:cubicBezTo>
                      <a:cubicBezTo>
                        <a:pt x="149733" y="267475"/>
                        <a:pt x="191357" y="232708"/>
                        <a:pt x="191357" y="232708"/>
                      </a:cubicBezTo>
                      <a:cubicBezTo>
                        <a:pt x="235744" y="216230"/>
                        <a:pt x="215932" y="273380"/>
                        <a:pt x="215932" y="2733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64" name="任意多边形: 形状 1063">
                  <a:extLst>
                    <a:ext uri="{FF2B5EF4-FFF2-40B4-BE49-F238E27FC236}">
                      <a16:creationId xmlns:a16="http://schemas.microsoft.com/office/drawing/2014/main" id="{44A7CF61-7841-4D21-A8F3-E6227BEC2CB9}"/>
                    </a:ext>
                  </a:extLst>
                </p:cNvPr>
                <p:cNvSpPr/>
                <p:nvPr/>
              </p:nvSpPr>
              <p:spPr>
                <a:xfrm>
                  <a:off x="3932305" y="7170800"/>
                  <a:ext cx="102097" cy="51446"/>
                </a:xfrm>
                <a:custGeom>
                  <a:avLst/>
                  <a:gdLst>
                    <a:gd name="connsiteX0" fmla="*/ 85403 w 102097"/>
                    <a:gd name="connsiteY0" fmla="*/ 10763 h 51446"/>
                    <a:gd name="connsiteX1" fmla="*/ 67972 w 102097"/>
                    <a:gd name="connsiteY1" fmla="*/ 14383 h 51446"/>
                    <a:gd name="connsiteX2" fmla="*/ 52542 w 102097"/>
                    <a:gd name="connsiteY2" fmla="*/ 15240 h 51446"/>
                    <a:gd name="connsiteX3" fmla="*/ 5965 w 102097"/>
                    <a:gd name="connsiteY3" fmla="*/ 0 h 51446"/>
                    <a:gd name="connsiteX4" fmla="*/ 4250 w 102097"/>
                    <a:gd name="connsiteY4" fmla="*/ 12859 h 51446"/>
                    <a:gd name="connsiteX5" fmla="*/ 57495 w 102097"/>
                    <a:gd name="connsiteY5" fmla="*/ 51245 h 51446"/>
                    <a:gd name="connsiteX6" fmla="*/ 76450 w 102097"/>
                    <a:gd name="connsiteY6" fmla="*/ 39624 h 51446"/>
                    <a:gd name="connsiteX7" fmla="*/ 101691 w 102097"/>
                    <a:gd name="connsiteY7" fmla="*/ 13526 h 51446"/>
                    <a:gd name="connsiteX8" fmla="*/ 85403 w 102097"/>
                    <a:gd name="connsiteY8" fmla="*/ 10763 h 514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2097" h="51446">
                      <a:moveTo>
                        <a:pt x="85403" y="10763"/>
                      </a:moveTo>
                      <a:cubicBezTo>
                        <a:pt x="85403" y="10763"/>
                        <a:pt x="80164" y="18193"/>
                        <a:pt x="67972" y="14383"/>
                      </a:cubicBezTo>
                      <a:cubicBezTo>
                        <a:pt x="55876" y="10763"/>
                        <a:pt x="52542" y="15240"/>
                        <a:pt x="52542" y="15240"/>
                      </a:cubicBezTo>
                      <a:cubicBezTo>
                        <a:pt x="52542" y="15240"/>
                        <a:pt x="31587" y="14573"/>
                        <a:pt x="5965" y="0"/>
                      </a:cubicBezTo>
                      <a:cubicBezTo>
                        <a:pt x="5965" y="0"/>
                        <a:pt x="-6227" y="8192"/>
                        <a:pt x="4250" y="12859"/>
                      </a:cubicBezTo>
                      <a:cubicBezTo>
                        <a:pt x="14633" y="17717"/>
                        <a:pt x="39493" y="54483"/>
                        <a:pt x="57495" y="51245"/>
                      </a:cubicBezTo>
                      <a:cubicBezTo>
                        <a:pt x="57495" y="51245"/>
                        <a:pt x="68639" y="53245"/>
                        <a:pt x="76450" y="39624"/>
                      </a:cubicBezTo>
                      <a:cubicBezTo>
                        <a:pt x="76450" y="39624"/>
                        <a:pt x="97214" y="10096"/>
                        <a:pt x="101691" y="13526"/>
                      </a:cubicBezTo>
                      <a:cubicBezTo>
                        <a:pt x="101691" y="13621"/>
                        <a:pt x="106168" y="1905"/>
                        <a:pt x="85403" y="1076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65" name="任意多边形: 形状 1064">
                  <a:extLst>
                    <a:ext uri="{FF2B5EF4-FFF2-40B4-BE49-F238E27FC236}">
                      <a16:creationId xmlns:a16="http://schemas.microsoft.com/office/drawing/2014/main" id="{E8B792D7-3E58-4120-9481-214BC64C34D3}"/>
                    </a:ext>
                  </a:extLst>
                </p:cNvPr>
                <p:cNvSpPr/>
                <p:nvPr/>
              </p:nvSpPr>
              <p:spPr>
                <a:xfrm>
                  <a:off x="4264823" y="6951678"/>
                  <a:ext cx="354945" cy="422099"/>
                </a:xfrm>
                <a:custGeom>
                  <a:avLst/>
                  <a:gdLst>
                    <a:gd name="connsiteX0" fmla="*/ 349531 w 354945"/>
                    <a:gd name="connsiteY0" fmla="*/ 176260 h 422099"/>
                    <a:gd name="connsiteX1" fmla="*/ 287618 w 354945"/>
                    <a:gd name="connsiteY1" fmla="*/ 139969 h 422099"/>
                    <a:gd name="connsiteX2" fmla="*/ 294667 w 354945"/>
                    <a:gd name="connsiteY2" fmla="*/ 176450 h 422099"/>
                    <a:gd name="connsiteX3" fmla="*/ 205894 w 354945"/>
                    <a:gd name="connsiteY3" fmla="*/ 226361 h 422099"/>
                    <a:gd name="connsiteX4" fmla="*/ 242470 w 354945"/>
                    <a:gd name="connsiteY4" fmla="*/ 85201 h 422099"/>
                    <a:gd name="connsiteX5" fmla="*/ 227801 w 354945"/>
                    <a:gd name="connsiteY5" fmla="*/ 49672 h 422099"/>
                    <a:gd name="connsiteX6" fmla="*/ 179509 w 354945"/>
                    <a:gd name="connsiteY6" fmla="*/ 6143 h 422099"/>
                    <a:gd name="connsiteX7" fmla="*/ 160269 w 354945"/>
                    <a:gd name="connsiteY7" fmla="*/ 242554 h 422099"/>
                    <a:gd name="connsiteX8" fmla="*/ 72734 w 354945"/>
                    <a:gd name="connsiteY8" fmla="*/ 287417 h 422099"/>
                    <a:gd name="connsiteX9" fmla="*/ 15774 w 354945"/>
                    <a:gd name="connsiteY9" fmla="*/ 293417 h 422099"/>
                    <a:gd name="connsiteX10" fmla="*/ 53779 w 354945"/>
                    <a:gd name="connsiteY10" fmla="*/ 333041 h 422099"/>
                    <a:gd name="connsiteX11" fmla="*/ 125693 w 354945"/>
                    <a:gd name="connsiteY11" fmla="*/ 311419 h 422099"/>
                    <a:gd name="connsiteX12" fmla="*/ 125693 w 354945"/>
                    <a:gd name="connsiteY12" fmla="*/ 321325 h 422099"/>
                    <a:gd name="connsiteX13" fmla="*/ 1011 w 354945"/>
                    <a:gd name="connsiteY13" fmla="*/ 400383 h 422099"/>
                    <a:gd name="connsiteX14" fmla="*/ 34539 w 354945"/>
                    <a:gd name="connsiteY14" fmla="*/ 419909 h 422099"/>
                    <a:gd name="connsiteX15" fmla="*/ 80068 w 354945"/>
                    <a:gd name="connsiteY15" fmla="*/ 422100 h 422099"/>
                    <a:gd name="connsiteX16" fmla="*/ 185129 w 354945"/>
                    <a:gd name="connsiteY16" fmla="*/ 265128 h 422099"/>
                    <a:gd name="connsiteX17" fmla="*/ 335815 w 354945"/>
                    <a:gd name="connsiteY17" fmla="*/ 203406 h 422099"/>
                    <a:gd name="connsiteX18" fmla="*/ 349531 w 354945"/>
                    <a:gd name="connsiteY18" fmla="*/ 176260 h 422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354945" h="422099">
                      <a:moveTo>
                        <a:pt x="349531" y="176260"/>
                      </a:moveTo>
                      <a:cubicBezTo>
                        <a:pt x="349531" y="176260"/>
                        <a:pt x="316860" y="174450"/>
                        <a:pt x="287618" y="139969"/>
                      </a:cubicBezTo>
                      <a:cubicBezTo>
                        <a:pt x="287618" y="139969"/>
                        <a:pt x="269902" y="132445"/>
                        <a:pt x="294667" y="176450"/>
                      </a:cubicBezTo>
                      <a:cubicBezTo>
                        <a:pt x="294667" y="176450"/>
                        <a:pt x="304287" y="197691"/>
                        <a:pt x="205894" y="226361"/>
                      </a:cubicBezTo>
                      <a:cubicBezTo>
                        <a:pt x="205894" y="226361"/>
                        <a:pt x="211990" y="132445"/>
                        <a:pt x="242470" y="85201"/>
                      </a:cubicBezTo>
                      <a:cubicBezTo>
                        <a:pt x="242470" y="85201"/>
                        <a:pt x="251899" y="73009"/>
                        <a:pt x="227801" y="49672"/>
                      </a:cubicBezTo>
                      <a:cubicBezTo>
                        <a:pt x="227801" y="49672"/>
                        <a:pt x="187796" y="-20813"/>
                        <a:pt x="179509" y="6143"/>
                      </a:cubicBezTo>
                      <a:cubicBezTo>
                        <a:pt x="179509" y="6143"/>
                        <a:pt x="226372" y="67960"/>
                        <a:pt x="160269" y="242554"/>
                      </a:cubicBezTo>
                      <a:lnTo>
                        <a:pt x="72734" y="287417"/>
                      </a:lnTo>
                      <a:cubicBezTo>
                        <a:pt x="72734" y="287417"/>
                        <a:pt x="23775" y="287893"/>
                        <a:pt x="15774" y="293417"/>
                      </a:cubicBezTo>
                      <a:cubicBezTo>
                        <a:pt x="15774" y="293417"/>
                        <a:pt x="18537" y="324850"/>
                        <a:pt x="53779" y="333041"/>
                      </a:cubicBezTo>
                      <a:cubicBezTo>
                        <a:pt x="53779" y="333041"/>
                        <a:pt x="112167" y="308848"/>
                        <a:pt x="125693" y="311419"/>
                      </a:cubicBezTo>
                      <a:cubicBezTo>
                        <a:pt x="125693" y="311419"/>
                        <a:pt x="137695" y="313896"/>
                        <a:pt x="125693" y="321325"/>
                      </a:cubicBezTo>
                      <a:cubicBezTo>
                        <a:pt x="125693" y="321325"/>
                        <a:pt x="106072" y="411337"/>
                        <a:pt x="1011" y="400383"/>
                      </a:cubicBezTo>
                      <a:cubicBezTo>
                        <a:pt x="1011" y="400383"/>
                        <a:pt x="-9086" y="411908"/>
                        <a:pt x="34539" y="419909"/>
                      </a:cubicBezTo>
                      <a:lnTo>
                        <a:pt x="80068" y="422100"/>
                      </a:lnTo>
                      <a:cubicBezTo>
                        <a:pt x="80068" y="422100"/>
                        <a:pt x="135123" y="420481"/>
                        <a:pt x="185129" y="265128"/>
                      </a:cubicBezTo>
                      <a:lnTo>
                        <a:pt x="335815" y="203406"/>
                      </a:lnTo>
                      <a:cubicBezTo>
                        <a:pt x="335815" y="203406"/>
                        <a:pt x="367247" y="192262"/>
                        <a:pt x="349531" y="17626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66" name="任意多边形: 形状 1065">
                  <a:extLst>
                    <a:ext uri="{FF2B5EF4-FFF2-40B4-BE49-F238E27FC236}">
                      <a16:creationId xmlns:a16="http://schemas.microsoft.com/office/drawing/2014/main" id="{F22A6EBB-7055-4B3C-B1B7-DD61E65323E3}"/>
                    </a:ext>
                  </a:extLst>
                </p:cNvPr>
                <p:cNvSpPr/>
                <p:nvPr/>
              </p:nvSpPr>
              <p:spPr>
                <a:xfrm>
                  <a:off x="4504912" y="7262329"/>
                  <a:ext cx="163353" cy="115793"/>
                </a:xfrm>
                <a:custGeom>
                  <a:avLst/>
                  <a:gdLst>
                    <a:gd name="connsiteX0" fmla="*/ 150685 w 163353"/>
                    <a:gd name="connsiteY0" fmla="*/ 44108 h 115793"/>
                    <a:gd name="connsiteX1" fmla="*/ 25717 w 163353"/>
                    <a:gd name="connsiteY1" fmla="*/ 10199 h 115793"/>
                    <a:gd name="connsiteX2" fmla="*/ 0 w 163353"/>
                    <a:gd name="connsiteY2" fmla="*/ 7532 h 115793"/>
                    <a:gd name="connsiteX3" fmla="*/ 46291 w 163353"/>
                    <a:gd name="connsiteY3" fmla="*/ 95162 h 115793"/>
                    <a:gd name="connsiteX4" fmla="*/ 99822 w 163353"/>
                    <a:gd name="connsiteY4" fmla="*/ 106116 h 115793"/>
                    <a:gd name="connsiteX5" fmla="*/ 163354 w 163353"/>
                    <a:gd name="connsiteY5" fmla="*/ 50299 h 115793"/>
                    <a:gd name="connsiteX6" fmla="*/ 150685 w 163353"/>
                    <a:gd name="connsiteY6" fmla="*/ 44108 h 1157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3353" h="115793">
                      <a:moveTo>
                        <a:pt x="150685" y="44108"/>
                      </a:moveTo>
                      <a:cubicBezTo>
                        <a:pt x="150685" y="44108"/>
                        <a:pt x="88868" y="82399"/>
                        <a:pt x="25717" y="10199"/>
                      </a:cubicBezTo>
                      <a:cubicBezTo>
                        <a:pt x="25717" y="10199"/>
                        <a:pt x="11716" y="-10851"/>
                        <a:pt x="0" y="7532"/>
                      </a:cubicBezTo>
                      <a:cubicBezTo>
                        <a:pt x="0" y="7532"/>
                        <a:pt x="24098" y="24677"/>
                        <a:pt x="46291" y="95162"/>
                      </a:cubicBezTo>
                      <a:cubicBezTo>
                        <a:pt x="46291" y="95162"/>
                        <a:pt x="74676" y="133072"/>
                        <a:pt x="99822" y="106116"/>
                      </a:cubicBezTo>
                      <a:lnTo>
                        <a:pt x="163354" y="50299"/>
                      </a:lnTo>
                      <a:cubicBezTo>
                        <a:pt x="163354" y="50204"/>
                        <a:pt x="160972" y="40869"/>
                        <a:pt x="150685" y="4410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67" name="任意多边形: 形状 1066">
                  <a:extLst>
                    <a:ext uri="{FF2B5EF4-FFF2-40B4-BE49-F238E27FC236}">
                      <a16:creationId xmlns:a16="http://schemas.microsoft.com/office/drawing/2014/main" id="{712FD08B-3291-4295-ABB2-3778CF1DF10B}"/>
                    </a:ext>
                  </a:extLst>
                </p:cNvPr>
                <p:cNvSpPr/>
                <p:nvPr/>
              </p:nvSpPr>
              <p:spPr>
                <a:xfrm>
                  <a:off x="4966684" y="6947060"/>
                  <a:ext cx="33623" cy="67054"/>
                </a:xfrm>
                <a:custGeom>
                  <a:avLst/>
                  <a:gdLst>
                    <a:gd name="connsiteX0" fmla="*/ 33623 w 33623"/>
                    <a:gd name="connsiteY0" fmla="*/ 35146 h 67054"/>
                    <a:gd name="connsiteX1" fmla="*/ 28575 w 33623"/>
                    <a:gd name="connsiteY1" fmla="*/ 28288 h 67054"/>
                    <a:gd name="connsiteX2" fmla="*/ 0 w 33623"/>
                    <a:gd name="connsiteY2" fmla="*/ 8666 h 67054"/>
                    <a:gd name="connsiteX3" fmla="*/ 9620 w 33623"/>
                    <a:gd name="connsiteY3" fmla="*/ 67054 h 67054"/>
                    <a:gd name="connsiteX4" fmla="*/ 33623 w 33623"/>
                    <a:gd name="connsiteY4" fmla="*/ 35146 h 670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623" h="67054">
                      <a:moveTo>
                        <a:pt x="33623" y="35146"/>
                      </a:moveTo>
                      <a:lnTo>
                        <a:pt x="28575" y="28288"/>
                      </a:lnTo>
                      <a:cubicBezTo>
                        <a:pt x="28575" y="28288"/>
                        <a:pt x="16859" y="-18957"/>
                        <a:pt x="0" y="8666"/>
                      </a:cubicBezTo>
                      <a:cubicBezTo>
                        <a:pt x="0" y="8666"/>
                        <a:pt x="1238" y="61720"/>
                        <a:pt x="9620" y="67054"/>
                      </a:cubicBezTo>
                      <a:cubicBezTo>
                        <a:pt x="9716" y="67054"/>
                        <a:pt x="33528" y="48957"/>
                        <a:pt x="33623" y="3514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68" name="任意多边形: 形状 1067">
                  <a:extLst>
                    <a:ext uri="{FF2B5EF4-FFF2-40B4-BE49-F238E27FC236}">
                      <a16:creationId xmlns:a16="http://schemas.microsoft.com/office/drawing/2014/main" id="{3F63FD61-10A0-435D-A8C4-E4C264C3073F}"/>
                    </a:ext>
                  </a:extLst>
                </p:cNvPr>
                <p:cNvSpPr/>
                <p:nvPr/>
              </p:nvSpPr>
              <p:spPr>
                <a:xfrm>
                  <a:off x="4898750" y="6783404"/>
                  <a:ext cx="384548" cy="413822"/>
                </a:xfrm>
                <a:custGeom>
                  <a:avLst/>
                  <a:gdLst>
                    <a:gd name="connsiteX0" fmla="*/ 367971 w 384548"/>
                    <a:gd name="connsiteY0" fmla="*/ 239473 h 413822"/>
                    <a:gd name="connsiteX1" fmla="*/ 280532 w 384548"/>
                    <a:gd name="connsiteY1" fmla="*/ 243854 h 413822"/>
                    <a:gd name="connsiteX2" fmla="*/ 298153 w 384548"/>
                    <a:gd name="connsiteY2" fmla="*/ 198134 h 413822"/>
                    <a:gd name="connsiteX3" fmla="*/ 372829 w 384548"/>
                    <a:gd name="connsiteY3" fmla="*/ 100884 h 413822"/>
                    <a:gd name="connsiteX4" fmla="*/ 357780 w 384548"/>
                    <a:gd name="connsiteY4" fmla="*/ 67166 h 413822"/>
                    <a:gd name="connsiteX5" fmla="*/ 322442 w 384548"/>
                    <a:gd name="connsiteY5" fmla="*/ 69166 h 413822"/>
                    <a:gd name="connsiteX6" fmla="*/ 234907 w 384548"/>
                    <a:gd name="connsiteY6" fmla="*/ 100313 h 413822"/>
                    <a:gd name="connsiteX7" fmla="*/ 225763 w 384548"/>
                    <a:gd name="connsiteY7" fmla="*/ 96312 h 413822"/>
                    <a:gd name="connsiteX8" fmla="*/ 245956 w 384548"/>
                    <a:gd name="connsiteY8" fmla="*/ 78786 h 413822"/>
                    <a:gd name="connsiteX9" fmla="*/ 264720 w 384548"/>
                    <a:gd name="connsiteY9" fmla="*/ 48878 h 413822"/>
                    <a:gd name="connsiteX10" fmla="*/ 275484 w 384548"/>
                    <a:gd name="connsiteY10" fmla="*/ 18874 h 413822"/>
                    <a:gd name="connsiteX11" fmla="*/ 270340 w 384548"/>
                    <a:gd name="connsiteY11" fmla="*/ 2872 h 413822"/>
                    <a:gd name="connsiteX12" fmla="*/ 251195 w 384548"/>
                    <a:gd name="connsiteY12" fmla="*/ 586 h 413822"/>
                    <a:gd name="connsiteX13" fmla="*/ 247290 w 384548"/>
                    <a:gd name="connsiteY13" fmla="*/ 10587 h 413822"/>
                    <a:gd name="connsiteX14" fmla="*/ 245290 w 384548"/>
                    <a:gd name="connsiteY14" fmla="*/ 33923 h 413822"/>
                    <a:gd name="connsiteX15" fmla="*/ 219382 w 384548"/>
                    <a:gd name="connsiteY15" fmla="*/ 70404 h 413822"/>
                    <a:gd name="connsiteX16" fmla="*/ 203284 w 384548"/>
                    <a:gd name="connsiteY16" fmla="*/ 89454 h 413822"/>
                    <a:gd name="connsiteX17" fmla="*/ 168518 w 384548"/>
                    <a:gd name="connsiteY17" fmla="*/ 121839 h 413822"/>
                    <a:gd name="connsiteX18" fmla="*/ 175757 w 384548"/>
                    <a:gd name="connsiteY18" fmla="*/ 132317 h 413822"/>
                    <a:gd name="connsiteX19" fmla="*/ 181377 w 384548"/>
                    <a:gd name="connsiteY19" fmla="*/ 154986 h 413822"/>
                    <a:gd name="connsiteX20" fmla="*/ 180996 w 384548"/>
                    <a:gd name="connsiteY20" fmla="*/ 164607 h 413822"/>
                    <a:gd name="connsiteX21" fmla="*/ 168804 w 384548"/>
                    <a:gd name="connsiteY21" fmla="*/ 175179 h 413822"/>
                    <a:gd name="connsiteX22" fmla="*/ 158612 w 384548"/>
                    <a:gd name="connsiteY22" fmla="*/ 172703 h 413822"/>
                    <a:gd name="connsiteX23" fmla="*/ 152326 w 384548"/>
                    <a:gd name="connsiteY23" fmla="*/ 175084 h 413822"/>
                    <a:gd name="connsiteX24" fmla="*/ 147277 w 384548"/>
                    <a:gd name="connsiteY24" fmla="*/ 139651 h 413822"/>
                    <a:gd name="connsiteX25" fmla="*/ 142038 w 384548"/>
                    <a:gd name="connsiteY25" fmla="*/ 117934 h 413822"/>
                    <a:gd name="connsiteX26" fmla="*/ 124417 w 384548"/>
                    <a:gd name="connsiteY26" fmla="*/ 100884 h 413822"/>
                    <a:gd name="connsiteX27" fmla="*/ 107368 w 384548"/>
                    <a:gd name="connsiteY27" fmla="*/ 100503 h 413822"/>
                    <a:gd name="connsiteX28" fmla="*/ 105177 w 384548"/>
                    <a:gd name="connsiteY28" fmla="*/ 118124 h 413822"/>
                    <a:gd name="connsiteX29" fmla="*/ 118321 w 384548"/>
                    <a:gd name="connsiteY29" fmla="*/ 170226 h 413822"/>
                    <a:gd name="connsiteX30" fmla="*/ 117464 w 384548"/>
                    <a:gd name="connsiteY30" fmla="*/ 191086 h 413822"/>
                    <a:gd name="connsiteX31" fmla="*/ 134704 w 384548"/>
                    <a:gd name="connsiteY31" fmla="*/ 201278 h 413822"/>
                    <a:gd name="connsiteX32" fmla="*/ 140324 w 384548"/>
                    <a:gd name="connsiteY32" fmla="*/ 211850 h 413822"/>
                    <a:gd name="connsiteX33" fmla="*/ 128799 w 384548"/>
                    <a:gd name="connsiteY33" fmla="*/ 246331 h 413822"/>
                    <a:gd name="connsiteX34" fmla="*/ 154230 w 384548"/>
                    <a:gd name="connsiteY34" fmla="*/ 228329 h 413822"/>
                    <a:gd name="connsiteX35" fmla="*/ 183377 w 384548"/>
                    <a:gd name="connsiteY35" fmla="*/ 236234 h 413822"/>
                    <a:gd name="connsiteX36" fmla="*/ 183853 w 384548"/>
                    <a:gd name="connsiteY36" fmla="*/ 268334 h 413822"/>
                    <a:gd name="connsiteX37" fmla="*/ 53742 w 384548"/>
                    <a:gd name="connsiteY37" fmla="*/ 340057 h 413822"/>
                    <a:gd name="connsiteX38" fmla="*/ 37168 w 384548"/>
                    <a:gd name="connsiteY38" fmla="*/ 350534 h 413822"/>
                    <a:gd name="connsiteX39" fmla="*/ 72030 w 384548"/>
                    <a:gd name="connsiteY39" fmla="*/ 287098 h 413822"/>
                    <a:gd name="connsiteX40" fmla="*/ 39835 w 384548"/>
                    <a:gd name="connsiteY40" fmla="*/ 308624 h 413822"/>
                    <a:gd name="connsiteX41" fmla="*/ 24214 w 384548"/>
                    <a:gd name="connsiteY41" fmla="*/ 338438 h 413822"/>
                    <a:gd name="connsiteX42" fmla="*/ 3354 w 384548"/>
                    <a:gd name="connsiteY42" fmla="*/ 364632 h 413822"/>
                    <a:gd name="connsiteX43" fmla="*/ 1259 w 384548"/>
                    <a:gd name="connsiteY43" fmla="*/ 384920 h 413822"/>
                    <a:gd name="connsiteX44" fmla="*/ 2974 w 384548"/>
                    <a:gd name="connsiteY44" fmla="*/ 399779 h 413822"/>
                    <a:gd name="connsiteX45" fmla="*/ 592 w 384548"/>
                    <a:gd name="connsiteY45" fmla="*/ 408351 h 413822"/>
                    <a:gd name="connsiteX46" fmla="*/ 35740 w 384548"/>
                    <a:gd name="connsiteY46" fmla="*/ 387396 h 413822"/>
                    <a:gd name="connsiteX47" fmla="*/ 61838 w 384548"/>
                    <a:gd name="connsiteY47" fmla="*/ 357583 h 413822"/>
                    <a:gd name="connsiteX48" fmla="*/ 136895 w 384548"/>
                    <a:gd name="connsiteY48" fmla="*/ 308815 h 413822"/>
                    <a:gd name="connsiteX49" fmla="*/ 202713 w 384548"/>
                    <a:gd name="connsiteY49" fmla="*/ 282812 h 413822"/>
                    <a:gd name="connsiteX50" fmla="*/ 218143 w 384548"/>
                    <a:gd name="connsiteY50" fmla="*/ 290432 h 413822"/>
                    <a:gd name="connsiteX51" fmla="*/ 250243 w 384548"/>
                    <a:gd name="connsiteY51" fmla="*/ 273763 h 413822"/>
                    <a:gd name="connsiteX52" fmla="*/ 322823 w 384548"/>
                    <a:gd name="connsiteY52" fmla="*/ 263571 h 413822"/>
                    <a:gd name="connsiteX53" fmla="*/ 256434 w 384548"/>
                    <a:gd name="connsiteY53" fmla="*/ 296718 h 413822"/>
                    <a:gd name="connsiteX54" fmla="*/ 244337 w 384548"/>
                    <a:gd name="connsiteY54" fmla="*/ 302433 h 413822"/>
                    <a:gd name="connsiteX55" fmla="*/ 215000 w 384548"/>
                    <a:gd name="connsiteY55" fmla="*/ 308243 h 413822"/>
                    <a:gd name="connsiteX56" fmla="*/ 210047 w 384548"/>
                    <a:gd name="connsiteY56" fmla="*/ 318626 h 413822"/>
                    <a:gd name="connsiteX57" fmla="*/ 368734 w 384548"/>
                    <a:gd name="connsiteY57" fmla="*/ 273953 h 413822"/>
                    <a:gd name="connsiteX58" fmla="*/ 367971 w 384548"/>
                    <a:gd name="connsiteY58" fmla="*/ 239473 h 413822"/>
                    <a:gd name="connsiteX59" fmla="*/ 210142 w 384548"/>
                    <a:gd name="connsiteY59" fmla="*/ 172512 h 413822"/>
                    <a:gd name="connsiteX60" fmla="*/ 215381 w 384548"/>
                    <a:gd name="connsiteY60" fmla="*/ 145080 h 413822"/>
                    <a:gd name="connsiteX61" fmla="*/ 246147 w 384548"/>
                    <a:gd name="connsiteY61" fmla="*/ 161940 h 413822"/>
                    <a:gd name="connsiteX62" fmla="*/ 229573 w 384548"/>
                    <a:gd name="connsiteY62" fmla="*/ 177370 h 413822"/>
                    <a:gd name="connsiteX63" fmla="*/ 210142 w 384548"/>
                    <a:gd name="connsiteY63" fmla="*/ 172512 h 413822"/>
                    <a:gd name="connsiteX64" fmla="*/ 235098 w 384548"/>
                    <a:gd name="connsiteY64" fmla="*/ 249093 h 413822"/>
                    <a:gd name="connsiteX65" fmla="*/ 210428 w 384548"/>
                    <a:gd name="connsiteY65" fmla="*/ 222614 h 413822"/>
                    <a:gd name="connsiteX66" fmla="*/ 264625 w 384548"/>
                    <a:gd name="connsiteY66" fmla="*/ 190991 h 413822"/>
                    <a:gd name="connsiteX67" fmla="*/ 269864 w 384548"/>
                    <a:gd name="connsiteY67" fmla="*/ 160320 h 413822"/>
                    <a:gd name="connsiteX68" fmla="*/ 319966 w 384548"/>
                    <a:gd name="connsiteY68" fmla="*/ 92978 h 413822"/>
                    <a:gd name="connsiteX69" fmla="*/ 336920 w 384548"/>
                    <a:gd name="connsiteY69" fmla="*/ 103837 h 413822"/>
                    <a:gd name="connsiteX70" fmla="*/ 286533 w 384548"/>
                    <a:gd name="connsiteY70" fmla="*/ 177656 h 413822"/>
                    <a:gd name="connsiteX71" fmla="*/ 235098 w 384548"/>
                    <a:gd name="connsiteY71" fmla="*/ 249093 h 4138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</a:cxnLst>
                  <a:rect l="l" t="t" r="r" b="b"/>
                  <a:pathLst>
                    <a:path w="384548" h="413822">
                      <a:moveTo>
                        <a:pt x="367971" y="239473"/>
                      </a:moveTo>
                      <a:cubicBezTo>
                        <a:pt x="367971" y="239473"/>
                        <a:pt x="343302" y="227662"/>
                        <a:pt x="280532" y="243854"/>
                      </a:cubicBezTo>
                      <a:cubicBezTo>
                        <a:pt x="280532" y="243854"/>
                        <a:pt x="254243" y="224519"/>
                        <a:pt x="298153" y="198134"/>
                      </a:cubicBezTo>
                      <a:cubicBezTo>
                        <a:pt x="298153" y="198134"/>
                        <a:pt x="353494" y="119744"/>
                        <a:pt x="372829" y="100884"/>
                      </a:cubicBezTo>
                      <a:cubicBezTo>
                        <a:pt x="372829" y="100884"/>
                        <a:pt x="407405" y="54402"/>
                        <a:pt x="357780" y="67166"/>
                      </a:cubicBezTo>
                      <a:cubicBezTo>
                        <a:pt x="357780" y="67166"/>
                        <a:pt x="332348" y="74595"/>
                        <a:pt x="322442" y="69166"/>
                      </a:cubicBezTo>
                      <a:cubicBezTo>
                        <a:pt x="322442" y="69166"/>
                        <a:pt x="252243" y="85358"/>
                        <a:pt x="234907" y="100313"/>
                      </a:cubicBezTo>
                      <a:cubicBezTo>
                        <a:pt x="234907" y="100313"/>
                        <a:pt x="215095" y="115648"/>
                        <a:pt x="225763" y="96312"/>
                      </a:cubicBezTo>
                      <a:cubicBezTo>
                        <a:pt x="225763" y="96312"/>
                        <a:pt x="233669" y="80024"/>
                        <a:pt x="245956" y="78786"/>
                      </a:cubicBezTo>
                      <a:lnTo>
                        <a:pt x="264720" y="48878"/>
                      </a:lnTo>
                      <a:cubicBezTo>
                        <a:pt x="264720" y="48878"/>
                        <a:pt x="285104" y="28113"/>
                        <a:pt x="275484" y="18874"/>
                      </a:cubicBezTo>
                      <a:lnTo>
                        <a:pt x="270340" y="2872"/>
                      </a:lnTo>
                      <a:cubicBezTo>
                        <a:pt x="270340" y="2872"/>
                        <a:pt x="255862" y="3920"/>
                        <a:pt x="251195" y="586"/>
                      </a:cubicBezTo>
                      <a:cubicBezTo>
                        <a:pt x="246623" y="-2939"/>
                        <a:pt x="247290" y="10587"/>
                        <a:pt x="247290" y="10587"/>
                      </a:cubicBezTo>
                      <a:cubicBezTo>
                        <a:pt x="247290" y="10587"/>
                        <a:pt x="241860" y="28018"/>
                        <a:pt x="245290" y="33923"/>
                      </a:cubicBezTo>
                      <a:cubicBezTo>
                        <a:pt x="248528" y="39734"/>
                        <a:pt x="227668" y="74976"/>
                        <a:pt x="219382" y="70404"/>
                      </a:cubicBezTo>
                      <a:cubicBezTo>
                        <a:pt x="219382" y="70404"/>
                        <a:pt x="204713" y="85358"/>
                        <a:pt x="203284" y="89454"/>
                      </a:cubicBezTo>
                      <a:cubicBezTo>
                        <a:pt x="201855" y="93550"/>
                        <a:pt x="164136" y="99741"/>
                        <a:pt x="168518" y="121839"/>
                      </a:cubicBezTo>
                      <a:cubicBezTo>
                        <a:pt x="168518" y="121839"/>
                        <a:pt x="170137" y="129269"/>
                        <a:pt x="175757" y="132317"/>
                      </a:cubicBezTo>
                      <a:cubicBezTo>
                        <a:pt x="181472" y="135460"/>
                        <a:pt x="183377" y="152795"/>
                        <a:pt x="181377" y="154986"/>
                      </a:cubicBezTo>
                      <a:cubicBezTo>
                        <a:pt x="179377" y="157272"/>
                        <a:pt x="189473" y="160987"/>
                        <a:pt x="180996" y="164607"/>
                      </a:cubicBezTo>
                      <a:cubicBezTo>
                        <a:pt x="172519" y="168226"/>
                        <a:pt x="168804" y="175179"/>
                        <a:pt x="168804" y="175179"/>
                      </a:cubicBezTo>
                      <a:lnTo>
                        <a:pt x="158612" y="172703"/>
                      </a:lnTo>
                      <a:lnTo>
                        <a:pt x="152326" y="175084"/>
                      </a:lnTo>
                      <a:cubicBezTo>
                        <a:pt x="152326" y="175084"/>
                        <a:pt x="133657" y="154129"/>
                        <a:pt x="147277" y="139651"/>
                      </a:cubicBezTo>
                      <a:lnTo>
                        <a:pt x="142038" y="117934"/>
                      </a:lnTo>
                      <a:cubicBezTo>
                        <a:pt x="142038" y="117934"/>
                        <a:pt x="124989" y="108599"/>
                        <a:pt x="124417" y="100884"/>
                      </a:cubicBezTo>
                      <a:cubicBezTo>
                        <a:pt x="124417" y="100884"/>
                        <a:pt x="110892" y="86978"/>
                        <a:pt x="107368" y="100503"/>
                      </a:cubicBezTo>
                      <a:cubicBezTo>
                        <a:pt x="107368" y="100503"/>
                        <a:pt x="113559" y="108885"/>
                        <a:pt x="105177" y="118124"/>
                      </a:cubicBezTo>
                      <a:cubicBezTo>
                        <a:pt x="105177" y="118124"/>
                        <a:pt x="127560" y="154891"/>
                        <a:pt x="118321" y="170226"/>
                      </a:cubicBezTo>
                      <a:cubicBezTo>
                        <a:pt x="118321" y="170226"/>
                        <a:pt x="127179" y="188228"/>
                        <a:pt x="117464" y="191086"/>
                      </a:cubicBezTo>
                      <a:cubicBezTo>
                        <a:pt x="117464" y="191086"/>
                        <a:pt x="124036" y="204421"/>
                        <a:pt x="134704" y="201278"/>
                      </a:cubicBezTo>
                      <a:cubicBezTo>
                        <a:pt x="134704" y="201278"/>
                        <a:pt x="156421" y="194324"/>
                        <a:pt x="140324" y="211850"/>
                      </a:cubicBezTo>
                      <a:cubicBezTo>
                        <a:pt x="140324" y="211850"/>
                        <a:pt x="128799" y="235758"/>
                        <a:pt x="128799" y="246331"/>
                      </a:cubicBezTo>
                      <a:cubicBezTo>
                        <a:pt x="128799" y="246331"/>
                        <a:pt x="143372" y="249474"/>
                        <a:pt x="154230" y="228329"/>
                      </a:cubicBezTo>
                      <a:cubicBezTo>
                        <a:pt x="154230" y="228329"/>
                        <a:pt x="177662" y="210993"/>
                        <a:pt x="183377" y="236234"/>
                      </a:cubicBezTo>
                      <a:cubicBezTo>
                        <a:pt x="183377" y="236234"/>
                        <a:pt x="208428" y="260618"/>
                        <a:pt x="183853" y="268334"/>
                      </a:cubicBezTo>
                      <a:cubicBezTo>
                        <a:pt x="183853" y="268334"/>
                        <a:pt x="126418" y="272906"/>
                        <a:pt x="53742" y="340057"/>
                      </a:cubicBezTo>
                      <a:cubicBezTo>
                        <a:pt x="53742" y="340057"/>
                        <a:pt x="48789" y="359393"/>
                        <a:pt x="37168" y="350534"/>
                      </a:cubicBezTo>
                      <a:lnTo>
                        <a:pt x="72030" y="287098"/>
                      </a:lnTo>
                      <a:cubicBezTo>
                        <a:pt x="72030" y="287098"/>
                        <a:pt x="78030" y="247855"/>
                        <a:pt x="39835" y="308624"/>
                      </a:cubicBezTo>
                      <a:lnTo>
                        <a:pt x="24214" y="338438"/>
                      </a:lnTo>
                      <a:cubicBezTo>
                        <a:pt x="24214" y="338438"/>
                        <a:pt x="3926" y="348629"/>
                        <a:pt x="3354" y="364632"/>
                      </a:cubicBezTo>
                      <a:cubicBezTo>
                        <a:pt x="3354" y="364632"/>
                        <a:pt x="5641" y="379776"/>
                        <a:pt x="1259" y="384920"/>
                      </a:cubicBezTo>
                      <a:cubicBezTo>
                        <a:pt x="-3123" y="389777"/>
                        <a:pt x="5545" y="396350"/>
                        <a:pt x="2974" y="399779"/>
                      </a:cubicBezTo>
                      <a:cubicBezTo>
                        <a:pt x="307" y="403208"/>
                        <a:pt x="3354" y="406541"/>
                        <a:pt x="592" y="408351"/>
                      </a:cubicBezTo>
                      <a:cubicBezTo>
                        <a:pt x="-1884" y="410066"/>
                        <a:pt x="16023" y="428163"/>
                        <a:pt x="35740" y="387396"/>
                      </a:cubicBezTo>
                      <a:cubicBezTo>
                        <a:pt x="35740" y="387396"/>
                        <a:pt x="59171" y="371585"/>
                        <a:pt x="61838" y="357583"/>
                      </a:cubicBezTo>
                      <a:cubicBezTo>
                        <a:pt x="64600" y="343581"/>
                        <a:pt x="124608" y="311768"/>
                        <a:pt x="136895" y="308815"/>
                      </a:cubicBezTo>
                      <a:cubicBezTo>
                        <a:pt x="136895" y="308815"/>
                        <a:pt x="176328" y="277287"/>
                        <a:pt x="202713" y="282812"/>
                      </a:cubicBezTo>
                      <a:lnTo>
                        <a:pt x="218143" y="290432"/>
                      </a:lnTo>
                      <a:cubicBezTo>
                        <a:pt x="218143" y="290432"/>
                        <a:pt x="247004" y="282526"/>
                        <a:pt x="250243" y="273763"/>
                      </a:cubicBezTo>
                      <a:cubicBezTo>
                        <a:pt x="250243" y="273763"/>
                        <a:pt x="311965" y="250427"/>
                        <a:pt x="322823" y="263571"/>
                      </a:cubicBezTo>
                      <a:cubicBezTo>
                        <a:pt x="322823" y="263571"/>
                        <a:pt x="345302" y="271953"/>
                        <a:pt x="256434" y="296718"/>
                      </a:cubicBezTo>
                      <a:lnTo>
                        <a:pt x="244337" y="302433"/>
                      </a:lnTo>
                      <a:cubicBezTo>
                        <a:pt x="244337" y="302433"/>
                        <a:pt x="221477" y="297957"/>
                        <a:pt x="215000" y="308243"/>
                      </a:cubicBezTo>
                      <a:cubicBezTo>
                        <a:pt x="215000" y="308243"/>
                        <a:pt x="207475" y="317292"/>
                        <a:pt x="210047" y="318626"/>
                      </a:cubicBezTo>
                      <a:cubicBezTo>
                        <a:pt x="212619" y="320054"/>
                        <a:pt x="293677" y="330246"/>
                        <a:pt x="368734" y="273953"/>
                      </a:cubicBezTo>
                      <a:cubicBezTo>
                        <a:pt x="368638" y="274144"/>
                        <a:pt x="400357" y="245950"/>
                        <a:pt x="367971" y="239473"/>
                      </a:cubicBezTo>
                      <a:close/>
                      <a:moveTo>
                        <a:pt x="210142" y="172512"/>
                      </a:moveTo>
                      <a:cubicBezTo>
                        <a:pt x="223096" y="153557"/>
                        <a:pt x="215381" y="145080"/>
                        <a:pt x="215381" y="145080"/>
                      </a:cubicBezTo>
                      <a:cubicBezTo>
                        <a:pt x="234431" y="143175"/>
                        <a:pt x="246147" y="161940"/>
                        <a:pt x="246147" y="161940"/>
                      </a:cubicBezTo>
                      <a:cubicBezTo>
                        <a:pt x="244337" y="168416"/>
                        <a:pt x="229573" y="177370"/>
                        <a:pt x="229573" y="177370"/>
                      </a:cubicBezTo>
                      <a:cubicBezTo>
                        <a:pt x="209380" y="191657"/>
                        <a:pt x="210142" y="172512"/>
                        <a:pt x="210142" y="172512"/>
                      </a:cubicBezTo>
                      <a:close/>
                      <a:moveTo>
                        <a:pt x="235098" y="249093"/>
                      </a:moveTo>
                      <a:cubicBezTo>
                        <a:pt x="235098" y="249093"/>
                        <a:pt x="205380" y="268905"/>
                        <a:pt x="210428" y="222614"/>
                      </a:cubicBezTo>
                      <a:cubicBezTo>
                        <a:pt x="210428" y="222614"/>
                        <a:pt x="247480" y="192134"/>
                        <a:pt x="264625" y="190991"/>
                      </a:cubicBezTo>
                      <a:cubicBezTo>
                        <a:pt x="264625" y="190991"/>
                        <a:pt x="279199" y="176132"/>
                        <a:pt x="269864" y="160320"/>
                      </a:cubicBezTo>
                      <a:cubicBezTo>
                        <a:pt x="269864" y="160320"/>
                        <a:pt x="245766" y="95550"/>
                        <a:pt x="319966" y="92978"/>
                      </a:cubicBezTo>
                      <a:cubicBezTo>
                        <a:pt x="325490" y="91835"/>
                        <a:pt x="345969" y="81167"/>
                        <a:pt x="336920" y="103837"/>
                      </a:cubicBezTo>
                      <a:cubicBezTo>
                        <a:pt x="336920" y="103837"/>
                        <a:pt x="330348" y="132126"/>
                        <a:pt x="286533" y="177656"/>
                      </a:cubicBezTo>
                      <a:cubicBezTo>
                        <a:pt x="286628" y="177751"/>
                        <a:pt x="257291" y="245855"/>
                        <a:pt x="235098" y="24909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69" name="任意多边形: 形状 1068">
                  <a:extLst>
                    <a:ext uri="{FF2B5EF4-FFF2-40B4-BE49-F238E27FC236}">
                      <a16:creationId xmlns:a16="http://schemas.microsoft.com/office/drawing/2014/main" id="{A0F1426F-4F51-4CB4-9578-F4CB75E777E6}"/>
                    </a:ext>
                  </a:extLst>
                </p:cNvPr>
                <p:cNvSpPr/>
                <p:nvPr/>
              </p:nvSpPr>
              <p:spPr>
                <a:xfrm>
                  <a:off x="4950886" y="7113746"/>
                  <a:ext cx="241545" cy="264420"/>
                </a:xfrm>
                <a:custGeom>
                  <a:avLst/>
                  <a:gdLst>
                    <a:gd name="connsiteX0" fmla="*/ 188771 w 241545"/>
                    <a:gd name="connsiteY0" fmla="*/ 58579 h 264420"/>
                    <a:gd name="connsiteX1" fmla="*/ 159625 w 241545"/>
                    <a:gd name="connsiteY1" fmla="*/ 61436 h 264420"/>
                    <a:gd name="connsiteX2" fmla="*/ 179151 w 241545"/>
                    <a:gd name="connsiteY2" fmla="*/ 27241 h 264420"/>
                    <a:gd name="connsiteX3" fmla="*/ 167054 w 241545"/>
                    <a:gd name="connsiteY3" fmla="*/ 0 h 264420"/>
                    <a:gd name="connsiteX4" fmla="*/ 105618 w 241545"/>
                    <a:gd name="connsiteY4" fmla="*/ 21241 h 264420"/>
                    <a:gd name="connsiteX5" fmla="*/ 74948 w 241545"/>
                    <a:gd name="connsiteY5" fmla="*/ 26384 h 264420"/>
                    <a:gd name="connsiteX6" fmla="*/ 73328 w 241545"/>
                    <a:gd name="connsiteY6" fmla="*/ 44291 h 264420"/>
                    <a:gd name="connsiteX7" fmla="*/ 104570 w 241545"/>
                    <a:gd name="connsiteY7" fmla="*/ 48482 h 264420"/>
                    <a:gd name="connsiteX8" fmla="*/ 105809 w 241545"/>
                    <a:gd name="connsiteY8" fmla="*/ 76009 h 264420"/>
                    <a:gd name="connsiteX9" fmla="*/ 91807 w 241545"/>
                    <a:gd name="connsiteY9" fmla="*/ 83725 h 264420"/>
                    <a:gd name="connsiteX10" fmla="*/ 34752 w 241545"/>
                    <a:gd name="connsiteY10" fmla="*/ 90869 h 264420"/>
                    <a:gd name="connsiteX11" fmla="*/ 25513 w 241545"/>
                    <a:gd name="connsiteY11" fmla="*/ 106394 h 264420"/>
                    <a:gd name="connsiteX12" fmla="*/ 85997 w 241545"/>
                    <a:gd name="connsiteY12" fmla="*/ 110966 h 264420"/>
                    <a:gd name="connsiteX13" fmla="*/ 115429 w 241545"/>
                    <a:gd name="connsiteY13" fmla="*/ 103441 h 264420"/>
                    <a:gd name="connsiteX14" fmla="*/ 115334 w 241545"/>
                    <a:gd name="connsiteY14" fmla="*/ 132016 h 264420"/>
                    <a:gd name="connsiteX15" fmla="*/ 116286 w 241545"/>
                    <a:gd name="connsiteY15" fmla="*/ 151257 h 264420"/>
                    <a:gd name="connsiteX16" fmla="*/ 112000 w 241545"/>
                    <a:gd name="connsiteY16" fmla="*/ 169354 h 264420"/>
                    <a:gd name="connsiteX17" fmla="*/ 103046 w 241545"/>
                    <a:gd name="connsiteY17" fmla="*/ 203645 h 264420"/>
                    <a:gd name="connsiteX18" fmla="*/ 9701 w 241545"/>
                    <a:gd name="connsiteY18" fmla="*/ 187642 h 264420"/>
                    <a:gd name="connsiteX19" fmla="*/ 1415 w 241545"/>
                    <a:gd name="connsiteY19" fmla="*/ 202787 h 264420"/>
                    <a:gd name="connsiteX20" fmla="*/ 88759 w 241545"/>
                    <a:gd name="connsiteY20" fmla="*/ 253841 h 264420"/>
                    <a:gd name="connsiteX21" fmla="*/ 123906 w 241545"/>
                    <a:gd name="connsiteY21" fmla="*/ 262509 h 264420"/>
                    <a:gd name="connsiteX22" fmla="*/ 148671 w 241545"/>
                    <a:gd name="connsiteY22" fmla="*/ 244221 h 264420"/>
                    <a:gd name="connsiteX23" fmla="*/ 149528 w 241545"/>
                    <a:gd name="connsiteY23" fmla="*/ 221932 h 264420"/>
                    <a:gd name="connsiteX24" fmla="*/ 147147 w 241545"/>
                    <a:gd name="connsiteY24" fmla="*/ 141256 h 264420"/>
                    <a:gd name="connsiteX25" fmla="*/ 149338 w 241545"/>
                    <a:gd name="connsiteY25" fmla="*/ 96774 h 264420"/>
                    <a:gd name="connsiteX26" fmla="*/ 234492 w 241545"/>
                    <a:gd name="connsiteY26" fmla="*/ 86201 h 264420"/>
                    <a:gd name="connsiteX27" fmla="*/ 241540 w 241545"/>
                    <a:gd name="connsiteY27" fmla="*/ 67246 h 264420"/>
                    <a:gd name="connsiteX28" fmla="*/ 188771 w 241545"/>
                    <a:gd name="connsiteY28" fmla="*/ 58579 h 264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241545" h="264420">
                      <a:moveTo>
                        <a:pt x="188771" y="58579"/>
                      </a:moveTo>
                      <a:cubicBezTo>
                        <a:pt x="168769" y="72866"/>
                        <a:pt x="159625" y="61436"/>
                        <a:pt x="159625" y="61436"/>
                      </a:cubicBezTo>
                      <a:cubicBezTo>
                        <a:pt x="160577" y="44672"/>
                        <a:pt x="179151" y="27241"/>
                        <a:pt x="179151" y="27241"/>
                      </a:cubicBezTo>
                      <a:cubicBezTo>
                        <a:pt x="187438" y="8858"/>
                        <a:pt x="167054" y="0"/>
                        <a:pt x="167054" y="0"/>
                      </a:cubicBezTo>
                      <a:cubicBezTo>
                        <a:pt x="159530" y="12382"/>
                        <a:pt x="120668" y="22003"/>
                        <a:pt x="105618" y="21241"/>
                      </a:cubicBezTo>
                      <a:cubicBezTo>
                        <a:pt x="90569" y="20193"/>
                        <a:pt x="74948" y="26384"/>
                        <a:pt x="74948" y="26384"/>
                      </a:cubicBezTo>
                      <a:cubicBezTo>
                        <a:pt x="65804" y="29528"/>
                        <a:pt x="73328" y="44291"/>
                        <a:pt x="73328" y="44291"/>
                      </a:cubicBezTo>
                      <a:cubicBezTo>
                        <a:pt x="79901" y="54578"/>
                        <a:pt x="104570" y="48482"/>
                        <a:pt x="104570" y="48482"/>
                      </a:cubicBezTo>
                      <a:cubicBezTo>
                        <a:pt x="134765" y="48578"/>
                        <a:pt x="105809" y="76009"/>
                        <a:pt x="105809" y="76009"/>
                      </a:cubicBezTo>
                      <a:lnTo>
                        <a:pt x="91807" y="83725"/>
                      </a:lnTo>
                      <a:cubicBezTo>
                        <a:pt x="73995" y="104394"/>
                        <a:pt x="34752" y="90869"/>
                        <a:pt x="34752" y="90869"/>
                      </a:cubicBezTo>
                      <a:lnTo>
                        <a:pt x="25513" y="106394"/>
                      </a:lnTo>
                      <a:cubicBezTo>
                        <a:pt x="30276" y="149828"/>
                        <a:pt x="85997" y="110966"/>
                        <a:pt x="85997" y="110966"/>
                      </a:cubicBezTo>
                      <a:cubicBezTo>
                        <a:pt x="104856" y="95821"/>
                        <a:pt x="115048" y="99822"/>
                        <a:pt x="115429" y="103441"/>
                      </a:cubicBezTo>
                      <a:cubicBezTo>
                        <a:pt x="116001" y="107061"/>
                        <a:pt x="121906" y="123158"/>
                        <a:pt x="115334" y="132016"/>
                      </a:cubicBezTo>
                      <a:cubicBezTo>
                        <a:pt x="109047" y="140684"/>
                        <a:pt x="114000" y="145161"/>
                        <a:pt x="116286" y="151257"/>
                      </a:cubicBezTo>
                      <a:cubicBezTo>
                        <a:pt x="118572" y="157448"/>
                        <a:pt x="107428" y="166021"/>
                        <a:pt x="112000" y="169354"/>
                      </a:cubicBezTo>
                      <a:cubicBezTo>
                        <a:pt x="116667" y="172688"/>
                        <a:pt x="103046" y="203645"/>
                        <a:pt x="103046" y="203645"/>
                      </a:cubicBezTo>
                      <a:cubicBezTo>
                        <a:pt x="72947" y="225552"/>
                        <a:pt x="24275" y="190690"/>
                        <a:pt x="9701" y="187642"/>
                      </a:cubicBezTo>
                      <a:cubicBezTo>
                        <a:pt x="-5062" y="184499"/>
                        <a:pt x="1415" y="202787"/>
                        <a:pt x="1415" y="202787"/>
                      </a:cubicBezTo>
                      <a:lnTo>
                        <a:pt x="88759" y="253841"/>
                      </a:lnTo>
                      <a:cubicBezTo>
                        <a:pt x="101427" y="264986"/>
                        <a:pt x="123906" y="262509"/>
                        <a:pt x="123906" y="262509"/>
                      </a:cubicBezTo>
                      <a:cubicBezTo>
                        <a:pt x="142194" y="270986"/>
                        <a:pt x="151052" y="248793"/>
                        <a:pt x="148671" y="244221"/>
                      </a:cubicBezTo>
                      <a:cubicBezTo>
                        <a:pt x="146290" y="239649"/>
                        <a:pt x="149528" y="221932"/>
                        <a:pt x="149528" y="221932"/>
                      </a:cubicBezTo>
                      <a:cubicBezTo>
                        <a:pt x="155053" y="202882"/>
                        <a:pt x="147147" y="141256"/>
                        <a:pt x="147147" y="141256"/>
                      </a:cubicBezTo>
                      <a:cubicBezTo>
                        <a:pt x="140480" y="90869"/>
                        <a:pt x="149338" y="96774"/>
                        <a:pt x="149338" y="96774"/>
                      </a:cubicBezTo>
                      <a:lnTo>
                        <a:pt x="234492" y="86201"/>
                      </a:lnTo>
                      <a:cubicBezTo>
                        <a:pt x="242016" y="77248"/>
                        <a:pt x="241540" y="67246"/>
                        <a:pt x="241540" y="67246"/>
                      </a:cubicBezTo>
                      <a:cubicBezTo>
                        <a:pt x="226110" y="35719"/>
                        <a:pt x="188771" y="58579"/>
                        <a:pt x="188771" y="5857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</p:grpSp>
          <p:grpSp>
            <p:nvGrpSpPr>
              <p:cNvPr id="1014" name="图形 7">
                <a:extLst>
                  <a:ext uri="{FF2B5EF4-FFF2-40B4-BE49-F238E27FC236}">
                    <a16:creationId xmlns:a16="http://schemas.microsoft.com/office/drawing/2014/main" id="{B6977881-C7E3-484B-BDE5-77F8E5C84819}"/>
                  </a:ext>
                </a:extLst>
              </p:cNvPr>
              <p:cNvGrpSpPr/>
              <p:nvPr/>
            </p:nvGrpSpPr>
            <p:grpSpPr>
              <a:xfrm>
                <a:off x="1848485" y="7538180"/>
                <a:ext cx="3473005" cy="102684"/>
                <a:chOff x="1848485" y="7538180"/>
                <a:chExt cx="3473005" cy="102684"/>
              </a:xfrm>
              <a:grpFill/>
            </p:grpSpPr>
            <p:sp>
              <p:nvSpPr>
                <p:cNvPr id="1015" name="任意多边形: 形状 1014">
                  <a:extLst>
                    <a:ext uri="{FF2B5EF4-FFF2-40B4-BE49-F238E27FC236}">
                      <a16:creationId xmlns:a16="http://schemas.microsoft.com/office/drawing/2014/main" id="{E8539813-545F-44DD-8658-EB53D1D8BE0D}"/>
                    </a:ext>
                  </a:extLst>
                </p:cNvPr>
                <p:cNvSpPr/>
                <p:nvPr/>
              </p:nvSpPr>
              <p:spPr>
                <a:xfrm>
                  <a:off x="1848485" y="7540275"/>
                  <a:ext cx="64007" cy="99441"/>
                </a:xfrm>
                <a:custGeom>
                  <a:avLst/>
                  <a:gdLst>
                    <a:gd name="connsiteX0" fmla="*/ 0 w 64007"/>
                    <a:gd name="connsiteY0" fmla="*/ 99441 h 99441"/>
                    <a:gd name="connsiteX1" fmla="*/ 0 w 64007"/>
                    <a:gd name="connsiteY1" fmla="*/ 0 h 99441"/>
                    <a:gd name="connsiteX2" fmla="*/ 64008 w 64007"/>
                    <a:gd name="connsiteY2" fmla="*/ 0 h 99441"/>
                    <a:gd name="connsiteX3" fmla="*/ 64008 w 64007"/>
                    <a:gd name="connsiteY3" fmla="*/ 16669 h 99441"/>
                    <a:gd name="connsiteX4" fmla="*/ 20955 w 64007"/>
                    <a:gd name="connsiteY4" fmla="*/ 16669 h 99441"/>
                    <a:gd name="connsiteX5" fmla="*/ 20955 w 64007"/>
                    <a:gd name="connsiteY5" fmla="*/ 40291 h 99441"/>
                    <a:gd name="connsiteX6" fmla="*/ 61246 w 64007"/>
                    <a:gd name="connsiteY6" fmla="*/ 40291 h 99441"/>
                    <a:gd name="connsiteX7" fmla="*/ 61246 w 64007"/>
                    <a:gd name="connsiteY7" fmla="*/ 56959 h 99441"/>
                    <a:gd name="connsiteX8" fmla="*/ 20955 w 64007"/>
                    <a:gd name="connsiteY8" fmla="*/ 56959 h 99441"/>
                    <a:gd name="connsiteX9" fmla="*/ 20955 w 64007"/>
                    <a:gd name="connsiteY9" fmla="*/ 99441 h 99441"/>
                    <a:gd name="connsiteX10" fmla="*/ 0 w 64007"/>
                    <a:gd name="connsiteY10" fmla="*/ 99441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4007" h="99441">
                      <a:moveTo>
                        <a:pt x="0" y="99441"/>
                      </a:moveTo>
                      <a:lnTo>
                        <a:pt x="0" y="0"/>
                      </a:lnTo>
                      <a:lnTo>
                        <a:pt x="64008" y="0"/>
                      </a:lnTo>
                      <a:lnTo>
                        <a:pt x="64008" y="16669"/>
                      </a:lnTo>
                      <a:lnTo>
                        <a:pt x="20955" y="16669"/>
                      </a:lnTo>
                      <a:lnTo>
                        <a:pt x="20955" y="40291"/>
                      </a:lnTo>
                      <a:lnTo>
                        <a:pt x="61246" y="40291"/>
                      </a:lnTo>
                      <a:lnTo>
                        <a:pt x="61246" y="56959"/>
                      </a:lnTo>
                      <a:lnTo>
                        <a:pt x="20955" y="56959"/>
                      </a:lnTo>
                      <a:lnTo>
                        <a:pt x="20955" y="99441"/>
                      </a:lnTo>
                      <a:lnTo>
                        <a:pt x="0" y="9944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16" name="任意多边形: 形状 1015">
                  <a:extLst>
                    <a:ext uri="{FF2B5EF4-FFF2-40B4-BE49-F238E27FC236}">
                      <a16:creationId xmlns:a16="http://schemas.microsoft.com/office/drawing/2014/main" id="{03D90164-D7B8-4374-A180-EBAC3FB88ECB}"/>
                    </a:ext>
                  </a:extLst>
                </p:cNvPr>
                <p:cNvSpPr/>
                <p:nvPr/>
              </p:nvSpPr>
              <p:spPr>
                <a:xfrm>
                  <a:off x="1925446" y="7540371"/>
                  <a:ext cx="86486" cy="100488"/>
                </a:xfrm>
                <a:custGeom>
                  <a:avLst/>
                  <a:gdLst>
                    <a:gd name="connsiteX0" fmla="*/ 86487 w 86486"/>
                    <a:gd name="connsiteY0" fmla="*/ 0 h 100488"/>
                    <a:gd name="connsiteX1" fmla="*/ 86487 w 86486"/>
                    <a:gd name="connsiteY1" fmla="*/ 62293 h 100488"/>
                    <a:gd name="connsiteX2" fmla="*/ 43529 w 86486"/>
                    <a:gd name="connsiteY2" fmla="*/ 100489 h 100488"/>
                    <a:gd name="connsiteX3" fmla="*/ 0 w 86486"/>
                    <a:gd name="connsiteY3" fmla="*/ 62293 h 100488"/>
                    <a:gd name="connsiteX4" fmla="*/ 0 w 86486"/>
                    <a:gd name="connsiteY4" fmla="*/ 0 h 100488"/>
                    <a:gd name="connsiteX5" fmla="*/ 21527 w 86486"/>
                    <a:gd name="connsiteY5" fmla="*/ 0 h 100488"/>
                    <a:gd name="connsiteX6" fmla="*/ 21527 w 86486"/>
                    <a:gd name="connsiteY6" fmla="*/ 54292 h 100488"/>
                    <a:gd name="connsiteX7" fmla="*/ 25813 w 86486"/>
                    <a:gd name="connsiteY7" fmla="*/ 78486 h 100488"/>
                    <a:gd name="connsiteX8" fmla="*/ 43529 w 86486"/>
                    <a:gd name="connsiteY8" fmla="*/ 86011 h 100488"/>
                    <a:gd name="connsiteX9" fmla="*/ 60674 w 86486"/>
                    <a:gd name="connsiteY9" fmla="*/ 78486 h 100488"/>
                    <a:gd name="connsiteX10" fmla="*/ 64960 w 86486"/>
                    <a:gd name="connsiteY10" fmla="*/ 54292 h 100488"/>
                    <a:gd name="connsiteX11" fmla="*/ 64960 w 86486"/>
                    <a:gd name="connsiteY11" fmla="*/ 0 h 100488"/>
                    <a:gd name="connsiteX12" fmla="*/ 86487 w 86486"/>
                    <a:gd name="connsiteY12" fmla="*/ 0 h 1004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6486" h="100488">
                      <a:moveTo>
                        <a:pt x="86487" y="0"/>
                      </a:moveTo>
                      <a:lnTo>
                        <a:pt x="86487" y="62293"/>
                      </a:lnTo>
                      <a:cubicBezTo>
                        <a:pt x="85439" y="87058"/>
                        <a:pt x="71057" y="99822"/>
                        <a:pt x="43529" y="100489"/>
                      </a:cubicBezTo>
                      <a:cubicBezTo>
                        <a:pt x="15240" y="99822"/>
                        <a:pt x="762" y="87058"/>
                        <a:pt x="0" y="62293"/>
                      </a:cubicBezTo>
                      <a:lnTo>
                        <a:pt x="0" y="0"/>
                      </a:lnTo>
                      <a:lnTo>
                        <a:pt x="21527" y="0"/>
                      </a:lnTo>
                      <a:lnTo>
                        <a:pt x="21527" y="54292"/>
                      </a:lnTo>
                      <a:cubicBezTo>
                        <a:pt x="21146" y="66103"/>
                        <a:pt x="22574" y="74200"/>
                        <a:pt x="25813" y="78486"/>
                      </a:cubicBezTo>
                      <a:cubicBezTo>
                        <a:pt x="29432" y="83534"/>
                        <a:pt x="35338" y="86011"/>
                        <a:pt x="43529" y="86011"/>
                      </a:cubicBezTo>
                      <a:cubicBezTo>
                        <a:pt x="51721" y="86011"/>
                        <a:pt x="57531" y="83534"/>
                        <a:pt x="60674" y="78486"/>
                      </a:cubicBezTo>
                      <a:cubicBezTo>
                        <a:pt x="63913" y="74200"/>
                        <a:pt x="65342" y="66199"/>
                        <a:pt x="64960" y="54292"/>
                      </a:cubicBezTo>
                      <a:lnTo>
                        <a:pt x="64960" y="0"/>
                      </a:lnTo>
                      <a:lnTo>
                        <a:pt x="86487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17" name="任意多边形: 形状 1016">
                  <a:extLst>
                    <a:ext uri="{FF2B5EF4-FFF2-40B4-BE49-F238E27FC236}">
                      <a16:creationId xmlns:a16="http://schemas.microsoft.com/office/drawing/2014/main" id="{1DFB09ED-35F0-436D-8132-14983F138165}"/>
                    </a:ext>
                  </a:extLst>
                </p:cNvPr>
                <p:cNvSpPr/>
                <p:nvPr/>
              </p:nvSpPr>
              <p:spPr>
                <a:xfrm>
                  <a:off x="2023173" y="7540275"/>
                  <a:ext cx="66675" cy="100589"/>
                </a:xfrm>
                <a:custGeom>
                  <a:avLst/>
                  <a:gdLst>
                    <a:gd name="connsiteX0" fmla="*/ 66675 w 66675"/>
                    <a:gd name="connsiteY0" fmla="*/ 95 h 100589"/>
                    <a:gd name="connsiteX1" fmla="*/ 66675 w 66675"/>
                    <a:gd name="connsiteY1" fmla="*/ 66675 h 100589"/>
                    <a:gd name="connsiteX2" fmla="*/ 33338 w 66675"/>
                    <a:gd name="connsiteY2" fmla="*/ 100584 h 100589"/>
                    <a:gd name="connsiteX3" fmla="*/ 0 w 66675"/>
                    <a:gd name="connsiteY3" fmla="*/ 67723 h 100589"/>
                    <a:gd name="connsiteX4" fmla="*/ 21527 w 66675"/>
                    <a:gd name="connsiteY4" fmla="*/ 67723 h 100589"/>
                    <a:gd name="connsiteX5" fmla="*/ 33338 w 66675"/>
                    <a:gd name="connsiteY5" fmla="*/ 86011 h 100589"/>
                    <a:gd name="connsiteX6" fmla="*/ 45720 w 66675"/>
                    <a:gd name="connsiteY6" fmla="*/ 67723 h 100589"/>
                    <a:gd name="connsiteX7" fmla="*/ 45720 w 66675"/>
                    <a:gd name="connsiteY7" fmla="*/ 66104 h 100589"/>
                    <a:gd name="connsiteX8" fmla="*/ 45720 w 66675"/>
                    <a:gd name="connsiteY8" fmla="*/ 0 h 100589"/>
                    <a:gd name="connsiteX9" fmla="*/ 66675 w 66675"/>
                    <a:gd name="connsiteY9" fmla="*/ 0 h 1005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6675" h="100589">
                      <a:moveTo>
                        <a:pt x="66675" y="95"/>
                      </a:moveTo>
                      <a:lnTo>
                        <a:pt x="66675" y="66675"/>
                      </a:lnTo>
                      <a:cubicBezTo>
                        <a:pt x="66294" y="88582"/>
                        <a:pt x="55150" y="99917"/>
                        <a:pt x="33338" y="100584"/>
                      </a:cubicBezTo>
                      <a:cubicBezTo>
                        <a:pt x="12192" y="100870"/>
                        <a:pt x="1048" y="90011"/>
                        <a:pt x="0" y="67723"/>
                      </a:cubicBezTo>
                      <a:lnTo>
                        <a:pt x="21527" y="67723"/>
                      </a:lnTo>
                      <a:cubicBezTo>
                        <a:pt x="21527" y="79915"/>
                        <a:pt x="25527" y="86011"/>
                        <a:pt x="33338" y="86011"/>
                      </a:cubicBezTo>
                      <a:cubicBezTo>
                        <a:pt x="40577" y="86011"/>
                        <a:pt x="44672" y="79915"/>
                        <a:pt x="45720" y="67723"/>
                      </a:cubicBezTo>
                      <a:cubicBezTo>
                        <a:pt x="45720" y="67056"/>
                        <a:pt x="45720" y="66484"/>
                        <a:pt x="45720" y="66104"/>
                      </a:cubicBezTo>
                      <a:lnTo>
                        <a:pt x="45720" y="0"/>
                      </a:lnTo>
                      <a:lnTo>
                        <a:pt x="66675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18" name="任意多边形: 形状 1017">
                  <a:extLst>
                    <a:ext uri="{FF2B5EF4-FFF2-40B4-BE49-F238E27FC236}">
                      <a16:creationId xmlns:a16="http://schemas.microsoft.com/office/drawing/2014/main" id="{8C0E0651-D8E9-45B3-975C-0DE1B4833BA6}"/>
                    </a:ext>
                  </a:extLst>
                </p:cNvPr>
                <p:cNvSpPr/>
                <p:nvPr/>
              </p:nvSpPr>
              <p:spPr>
                <a:xfrm>
                  <a:off x="2106993" y="7540275"/>
                  <a:ext cx="21526" cy="99441"/>
                </a:xfrm>
                <a:custGeom>
                  <a:avLst/>
                  <a:gdLst>
                    <a:gd name="connsiteX0" fmla="*/ 21526 w 21526"/>
                    <a:gd name="connsiteY0" fmla="*/ 99441 h 99441"/>
                    <a:gd name="connsiteX1" fmla="*/ 0 w 21526"/>
                    <a:gd name="connsiteY1" fmla="*/ 99441 h 99441"/>
                    <a:gd name="connsiteX2" fmla="*/ 0 w 21526"/>
                    <a:gd name="connsiteY2" fmla="*/ 0 h 99441"/>
                    <a:gd name="connsiteX3" fmla="*/ 21526 w 21526"/>
                    <a:gd name="connsiteY3" fmla="*/ 0 h 99441"/>
                    <a:gd name="connsiteX4" fmla="*/ 21526 w 21526"/>
                    <a:gd name="connsiteY4" fmla="*/ 99441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526" h="99441">
                      <a:moveTo>
                        <a:pt x="21526" y="99441"/>
                      </a:move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21526" y="0"/>
                      </a:lnTo>
                      <a:lnTo>
                        <a:pt x="21526" y="9944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19" name="任意多边形: 形状 1018">
                  <a:extLst>
                    <a:ext uri="{FF2B5EF4-FFF2-40B4-BE49-F238E27FC236}">
                      <a16:creationId xmlns:a16="http://schemas.microsoft.com/office/drawing/2014/main" id="{FFE91896-C26E-44CE-A247-00DE1C142E10}"/>
                    </a:ext>
                  </a:extLst>
                </p:cNvPr>
                <p:cNvSpPr/>
                <p:nvPr/>
              </p:nvSpPr>
              <p:spPr>
                <a:xfrm>
                  <a:off x="2138140" y="7540275"/>
                  <a:ext cx="96202" cy="99441"/>
                </a:xfrm>
                <a:custGeom>
                  <a:avLst/>
                  <a:gdLst>
                    <a:gd name="connsiteX0" fmla="*/ 0 w 96202"/>
                    <a:gd name="connsiteY0" fmla="*/ 99441 h 99441"/>
                    <a:gd name="connsiteX1" fmla="*/ 36004 w 96202"/>
                    <a:gd name="connsiteY1" fmla="*/ 0 h 99441"/>
                    <a:gd name="connsiteX2" fmla="*/ 61246 w 96202"/>
                    <a:gd name="connsiteY2" fmla="*/ 0 h 99441"/>
                    <a:gd name="connsiteX3" fmla="*/ 96202 w 96202"/>
                    <a:gd name="connsiteY3" fmla="*/ 99441 h 99441"/>
                    <a:gd name="connsiteX4" fmla="*/ 74676 w 96202"/>
                    <a:gd name="connsiteY4" fmla="*/ 99441 h 99441"/>
                    <a:gd name="connsiteX5" fmla="*/ 67151 w 96202"/>
                    <a:gd name="connsiteY5" fmla="*/ 78486 h 99441"/>
                    <a:gd name="connsiteX6" fmla="*/ 27908 w 96202"/>
                    <a:gd name="connsiteY6" fmla="*/ 78486 h 99441"/>
                    <a:gd name="connsiteX7" fmla="*/ 20383 w 96202"/>
                    <a:gd name="connsiteY7" fmla="*/ 99441 h 99441"/>
                    <a:gd name="connsiteX8" fmla="*/ 0 w 96202"/>
                    <a:gd name="connsiteY8" fmla="*/ 99441 h 99441"/>
                    <a:gd name="connsiteX9" fmla="*/ 61913 w 96202"/>
                    <a:gd name="connsiteY9" fmla="*/ 61913 h 99441"/>
                    <a:gd name="connsiteX10" fmla="*/ 48482 w 96202"/>
                    <a:gd name="connsiteY10" fmla="*/ 19431 h 99441"/>
                    <a:gd name="connsiteX11" fmla="*/ 47911 w 96202"/>
                    <a:gd name="connsiteY11" fmla="*/ 19431 h 99441"/>
                    <a:gd name="connsiteX12" fmla="*/ 33433 w 96202"/>
                    <a:gd name="connsiteY12" fmla="*/ 61913 h 99441"/>
                    <a:gd name="connsiteX13" fmla="*/ 61913 w 96202"/>
                    <a:gd name="connsiteY13" fmla="*/ 61913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96202" h="99441">
                      <a:moveTo>
                        <a:pt x="0" y="99441"/>
                      </a:moveTo>
                      <a:lnTo>
                        <a:pt x="36004" y="0"/>
                      </a:lnTo>
                      <a:lnTo>
                        <a:pt x="61246" y="0"/>
                      </a:lnTo>
                      <a:lnTo>
                        <a:pt x="96202" y="99441"/>
                      </a:lnTo>
                      <a:lnTo>
                        <a:pt x="74676" y="99441"/>
                      </a:lnTo>
                      <a:lnTo>
                        <a:pt x="67151" y="78486"/>
                      </a:lnTo>
                      <a:lnTo>
                        <a:pt x="27908" y="78486"/>
                      </a:lnTo>
                      <a:lnTo>
                        <a:pt x="20383" y="99441"/>
                      </a:lnTo>
                      <a:lnTo>
                        <a:pt x="0" y="99441"/>
                      </a:lnTo>
                      <a:close/>
                      <a:moveTo>
                        <a:pt x="61913" y="61913"/>
                      </a:moveTo>
                      <a:lnTo>
                        <a:pt x="48482" y="19431"/>
                      </a:lnTo>
                      <a:lnTo>
                        <a:pt x="47911" y="19431"/>
                      </a:lnTo>
                      <a:lnTo>
                        <a:pt x="33433" y="61913"/>
                      </a:lnTo>
                      <a:lnTo>
                        <a:pt x="61913" y="61913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20" name="任意多边形: 形状 1019">
                  <a:extLst>
                    <a:ext uri="{FF2B5EF4-FFF2-40B4-BE49-F238E27FC236}">
                      <a16:creationId xmlns:a16="http://schemas.microsoft.com/office/drawing/2014/main" id="{0B4D838C-69E2-4BC2-AB91-83830F3F3D99}"/>
                    </a:ext>
                  </a:extLst>
                </p:cNvPr>
                <p:cNvSpPr/>
                <p:nvPr/>
              </p:nvSpPr>
              <p:spPr>
                <a:xfrm>
                  <a:off x="2244629" y="7540275"/>
                  <a:ext cx="89725" cy="99441"/>
                </a:xfrm>
                <a:custGeom>
                  <a:avLst/>
                  <a:gdLst>
                    <a:gd name="connsiteX0" fmla="*/ 59055 w 89725"/>
                    <a:gd name="connsiteY0" fmla="*/ 99441 h 99441"/>
                    <a:gd name="connsiteX1" fmla="*/ 20383 w 89725"/>
                    <a:gd name="connsiteY1" fmla="*/ 16669 h 99441"/>
                    <a:gd name="connsiteX2" fmla="*/ 19812 w 89725"/>
                    <a:gd name="connsiteY2" fmla="*/ 17240 h 99441"/>
                    <a:gd name="connsiteX3" fmla="*/ 19812 w 89725"/>
                    <a:gd name="connsiteY3" fmla="*/ 99441 h 99441"/>
                    <a:gd name="connsiteX4" fmla="*/ 0 w 89725"/>
                    <a:gd name="connsiteY4" fmla="*/ 99441 h 99441"/>
                    <a:gd name="connsiteX5" fmla="*/ 0 w 89725"/>
                    <a:gd name="connsiteY5" fmla="*/ 0 h 99441"/>
                    <a:gd name="connsiteX6" fmla="*/ 31718 w 89725"/>
                    <a:gd name="connsiteY6" fmla="*/ 0 h 99441"/>
                    <a:gd name="connsiteX7" fmla="*/ 69342 w 89725"/>
                    <a:gd name="connsiteY7" fmla="*/ 78391 h 99441"/>
                    <a:gd name="connsiteX8" fmla="*/ 69818 w 89725"/>
                    <a:gd name="connsiteY8" fmla="*/ 77914 h 99441"/>
                    <a:gd name="connsiteX9" fmla="*/ 69818 w 89725"/>
                    <a:gd name="connsiteY9" fmla="*/ 0 h 99441"/>
                    <a:gd name="connsiteX10" fmla="*/ 89725 w 89725"/>
                    <a:gd name="connsiteY10" fmla="*/ 0 h 99441"/>
                    <a:gd name="connsiteX11" fmla="*/ 89725 w 89725"/>
                    <a:gd name="connsiteY11" fmla="*/ 99441 h 99441"/>
                    <a:gd name="connsiteX12" fmla="*/ 59055 w 89725"/>
                    <a:gd name="connsiteY12" fmla="*/ 99441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9725" h="99441">
                      <a:moveTo>
                        <a:pt x="59055" y="99441"/>
                      </a:moveTo>
                      <a:lnTo>
                        <a:pt x="20383" y="16669"/>
                      </a:lnTo>
                      <a:lnTo>
                        <a:pt x="19812" y="17240"/>
                      </a:lnTo>
                      <a:lnTo>
                        <a:pt x="19812" y="99441"/>
                      </a:ln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31718" y="0"/>
                      </a:lnTo>
                      <a:lnTo>
                        <a:pt x="69342" y="78391"/>
                      </a:lnTo>
                      <a:lnTo>
                        <a:pt x="69818" y="77914"/>
                      </a:lnTo>
                      <a:lnTo>
                        <a:pt x="69818" y="0"/>
                      </a:lnTo>
                      <a:lnTo>
                        <a:pt x="89725" y="0"/>
                      </a:lnTo>
                      <a:lnTo>
                        <a:pt x="89725" y="99441"/>
                      </a:lnTo>
                      <a:lnTo>
                        <a:pt x="59055" y="9944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21" name="任意多边形: 形状 1020">
                  <a:extLst>
                    <a:ext uri="{FF2B5EF4-FFF2-40B4-BE49-F238E27FC236}">
                      <a16:creationId xmlns:a16="http://schemas.microsoft.com/office/drawing/2014/main" id="{85FCD201-86B5-445A-BECB-6EA04F148D94}"/>
                    </a:ext>
                  </a:extLst>
                </p:cNvPr>
                <p:cNvSpPr/>
                <p:nvPr/>
              </p:nvSpPr>
              <p:spPr>
                <a:xfrm>
                  <a:off x="2382170" y="7540275"/>
                  <a:ext cx="96202" cy="99441"/>
                </a:xfrm>
                <a:custGeom>
                  <a:avLst/>
                  <a:gdLst>
                    <a:gd name="connsiteX0" fmla="*/ 0 w 96202"/>
                    <a:gd name="connsiteY0" fmla="*/ 99441 h 99441"/>
                    <a:gd name="connsiteX1" fmla="*/ 36004 w 96202"/>
                    <a:gd name="connsiteY1" fmla="*/ 0 h 99441"/>
                    <a:gd name="connsiteX2" fmla="*/ 61246 w 96202"/>
                    <a:gd name="connsiteY2" fmla="*/ 0 h 99441"/>
                    <a:gd name="connsiteX3" fmla="*/ 96202 w 96202"/>
                    <a:gd name="connsiteY3" fmla="*/ 99441 h 99441"/>
                    <a:gd name="connsiteX4" fmla="*/ 74676 w 96202"/>
                    <a:gd name="connsiteY4" fmla="*/ 99441 h 99441"/>
                    <a:gd name="connsiteX5" fmla="*/ 67151 w 96202"/>
                    <a:gd name="connsiteY5" fmla="*/ 78486 h 99441"/>
                    <a:gd name="connsiteX6" fmla="*/ 27908 w 96202"/>
                    <a:gd name="connsiteY6" fmla="*/ 78486 h 99441"/>
                    <a:gd name="connsiteX7" fmla="*/ 20383 w 96202"/>
                    <a:gd name="connsiteY7" fmla="*/ 99441 h 99441"/>
                    <a:gd name="connsiteX8" fmla="*/ 0 w 96202"/>
                    <a:gd name="connsiteY8" fmla="*/ 99441 h 99441"/>
                    <a:gd name="connsiteX9" fmla="*/ 61817 w 96202"/>
                    <a:gd name="connsiteY9" fmla="*/ 61913 h 99441"/>
                    <a:gd name="connsiteX10" fmla="*/ 48387 w 96202"/>
                    <a:gd name="connsiteY10" fmla="*/ 19431 h 99441"/>
                    <a:gd name="connsiteX11" fmla="*/ 47911 w 96202"/>
                    <a:gd name="connsiteY11" fmla="*/ 19431 h 99441"/>
                    <a:gd name="connsiteX12" fmla="*/ 33433 w 96202"/>
                    <a:gd name="connsiteY12" fmla="*/ 61913 h 99441"/>
                    <a:gd name="connsiteX13" fmla="*/ 61817 w 96202"/>
                    <a:gd name="connsiteY13" fmla="*/ 61913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96202" h="99441">
                      <a:moveTo>
                        <a:pt x="0" y="99441"/>
                      </a:moveTo>
                      <a:lnTo>
                        <a:pt x="36004" y="0"/>
                      </a:lnTo>
                      <a:lnTo>
                        <a:pt x="61246" y="0"/>
                      </a:lnTo>
                      <a:lnTo>
                        <a:pt x="96202" y="99441"/>
                      </a:lnTo>
                      <a:lnTo>
                        <a:pt x="74676" y="99441"/>
                      </a:lnTo>
                      <a:lnTo>
                        <a:pt x="67151" y="78486"/>
                      </a:lnTo>
                      <a:lnTo>
                        <a:pt x="27908" y="78486"/>
                      </a:lnTo>
                      <a:lnTo>
                        <a:pt x="20383" y="99441"/>
                      </a:lnTo>
                      <a:lnTo>
                        <a:pt x="0" y="99441"/>
                      </a:lnTo>
                      <a:close/>
                      <a:moveTo>
                        <a:pt x="61817" y="61913"/>
                      </a:moveTo>
                      <a:lnTo>
                        <a:pt x="48387" y="19431"/>
                      </a:lnTo>
                      <a:lnTo>
                        <a:pt x="47911" y="19431"/>
                      </a:lnTo>
                      <a:lnTo>
                        <a:pt x="33433" y="61913"/>
                      </a:lnTo>
                      <a:lnTo>
                        <a:pt x="61817" y="61913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22" name="任意多边形: 形状 1021">
                  <a:extLst>
                    <a:ext uri="{FF2B5EF4-FFF2-40B4-BE49-F238E27FC236}">
                      <a16:creationId xmlns:a16="http://schemas.microsoft.com/office/drawing/2014/main" id="{899D5764-D1BA-458B-84E9-51BDDD94EF92}"/>
                    </a:ext>
                  </a:extLst>
                </p:cNvPr>
                <p:cNvSpPr/>
                <p:nvPr/>
              </p:nvSpPr>
              <p:spPr>
                <a:xfrm>
                  <a:off x="2484850" y="7538180"/>
                  <a:ext cx="92970" cy="102584"/>
                </a:xfrm>
                <a:custGeom>
                  <a:avLst/>
                  <a:gdLst>
                    <a:gd name="connsiteX0" fmla="*/ 51054 w 92970"/>
                    <a:gd name="connsiteY0" fmla="*/ 65056 h 102584"/>
                    <a:gd name="connsiteX1" fmla="*/ 51054 w 92970"/>
                    <a:gd name="connsiteY1" fmla="*/ 48387 h 102584"/>
                    <a:gd name="connsiteX2" fmla="*/ 91345 w 92970"/>
                    <a:gd name="connsiteY2" fmla="*/ 48387 h 102584"/>
                    <a:gd name="connsiteX3" fmla="*/ 91345 w 92970"/>
                    <a:gd name="connsiteY3" fmla="*/ 98393 h 102584"/>
                    <a:gd name="connsiteX4" fmla="*/ 69342 w 92970"/>
                    <a:gd name="connsiteY4" fmla="*/ 101537 h 102584"/>
                    <a:gd name="connsiteX5" fmla="*/ 46768 w 92970"/>
                    <a:gd name="connsiteY5" fmla="*/ 102584 h 102584"/>
                    <a:gd name="connsiteX6" fmla="*/ 0 w 92970"/>
                    <a:gd name="connsiteY6" fmla="*/ 52102 h 102584"/>
                    <a:gd name="connsiteX7" fmla="*/ 46768 w 92970"/>
                    <a:gd name="connsiteY7" fmla="*/ 0 h 102584"/>
                    <a:gd name="connsiteX8" fmla="*/ 92964 w 92970"/>
                    <a:gd name="connsiteY8" fmla="*/ 32290 h 102584"/>
                    <a:gd name="connsiteX9" fmla="*/ 70390 w 92970"/>
                    <a:gd name="connsiteY9" fmla="*/ 32290 h 102584"/>
                    <a:gd name="connsiteX10" fmla="*/ 50483 w 92970"/>
                    <a:gd name="connsiteY10" fmla="*/ 15621 h 102584"/>
                    <a:gd name="connsiteX11" fmla="*/ 22574 w 92970"/>
                    <a:gd name="connsiteY11" fmla="*/ 52102 h 102584"/>
                    <a:gd name="connsiteX12" fmla="*/ 50483 w 92970"/>
                    <a:gd name="connsiteY12" fmla="*/ 88106 h 102584"/>
                    <a:gd name="connsiteX13" fmla="*/ 69342 w 92970"/>
                    <a:gd name="connsiteY13" fmla="*/ 86011 h 102584"/>
                    <a:gd name="connsiteX14" fmla="*/ 70390 w 92970"/>
                    <a:gd name="connsiteY14" fmla="*/ 86011 h 102584"/>
                    <a:gd name="connsiteX15" fmla="*/ 70390 w 92970"/>
                    <a:gd name="connsiteY15" fmla="*/ 65056 h 102584"/>
                    <a:gd name="connsiteX16" fmla="*/ 51054 w 92970"/>
                    <a:gd name="connsiteY16" fmla="*/ 65056 h 102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92970" h="102584">
                      <a:moveTo>
                        <a:pt x="51054" y="65056"/>
                      </a:moveTo>
                      <a:lnTo>
                        <a:pt x="51054" y="48387"/>
                      </a:lnTo>
                      <a:lnTo>
                        <a:pt x="91345" y="48387"/>
                      </a:lnTo>
                      <a:lnTo>
                        <a:pt x="91345" y="98393"/>
                      </a:lnTo>
                      <a:cubicBezTo>
                        <a:pt x="84201" y="100489"/>
                        <a:pt x="76867" y="101537"/>
                        <a:pt x="69342" y="101537"/>
                      </a:cubicBezTo>
                      <a:cubicBezTo>
                        <a:pt x="63627" y="102298"/>
                        <a:pt x="56102" y="102584"/>
                        <a:pt x="46768" y="102584"/>
                      </a:cubicBezTo>
                      <a:cubicBezTo>
                        <a:pt x="16288" y="100870"/>
                        <a:pt x="762" y="84011"/>
                        <a:pt x="0" y="52102"/>
                      </a:cubicBezTo>
                      <a:cubicBezTo>
                        <a:pt x="667" y="19526"/>
                        <a:pt x="16288" y="2096"/>
                        <a:pt x="46768" y="0"/>
                      </a:cubicBezTo>
                      <a:cubicBezTo>
                        <a:pt x="77915" y="0"/>
                        <a:pt x="93345" y="10763"/>
                        <a:pt x="92964" y="32290"/>
                      </a:cubicBezTo>
                      <a:lnTo>
                        <a:pt x="70390" y="32290"/>
                      </a:lnTo>
                      <a:cubicBezTo>
                        <a:pt x="70390" y="21146"/>
                        <a:pt x="63722" y="15621"/>
                        <a:pt x="50483" y="15621"/>
                      </a:cubicBezTo>
                      <a:cubicBezTo>
                        <a:pt x="32194" y="16002"/>
                        <a:pt x="22955" y="28194"/>
                        <a:pt x="22574" y="52102"/>
                      </a:cubicBezTo>
                      <a:cubicBezTo>
                        <a:pt x="22860" y="75724"/>
                        <a:pt x="32194" y="87821"/>
                        <a:pt x="50483" y="88106"/>
                      </a:cubicBezTo>
                      <a:cubicBezTo>
                        <a:pt x="55912" y="88106"/>
                        <a:pt x="62103" y="87344"/>
                        <a:pt x="69342" y="86011"/>
                      </a:cubicBezTo>
                      <a:cubicBezTo>
                        <a:pt x="68961" y="86296"/>
                        <a:pt x="69342" y="86296"/>
                        <a:pt x="70390" y="86011"/>
                      </a:cubicBezTo>
                      <a:lnTo>
                        <a:pt x="70390" y="65056"/>
                      </a:lnTo>
                      <a:lnTo>
                        <a:pt x="51054" y="65056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23" name="任意多边形: 形状 1022">
                  <a:extLst>
                    <a:ext uri="{FF2B5EF4-FFF2-40B4-BE49-F238E27FC236}">
                      <a16:creationId xmlns:a16="http://schemas.microsoft.com/office/drawing/2014/main" id="{95977CEC-2CE6-4B1C-9AAF-1F2DF17680E9}"/>
                    </a:ext>
                  </a:extLst>
                </p:cNvPr>
                <p:cNvSpPr/>
                <p:nvPr/>
              </p:nvSpPr>
              <p:spPr>
                <a:xfrm>
                  <a:off x="2594483" y="7540275"/>
                  <a:ext cx="80010" cy="99441"/>
                </a:xfrm>
                <a:custGeom>
                  <a:avLst/>
                  <a:gdLst>
                    <a:gd name="connsiteX0" fmla="*/ 21527 w 80010"/>
                    <a:gd name="connsiteY0" fmla="*/ 99441 h 99441"/>
                    <a:gd name="connsiteX1" fmla="*/ 0 w 80010"/>
                    <a:gd name="connsiteY1" fmla="*/ 99441 h 99441"/>
                    <a:gd name="connsiteX2" fmla="*/ 0 w 80010"/>
                    <a:gd name="connsiteY2" fmla="*/ 0 h 99441"/>
                    <a:gd name="connsiteX3" fmla="*/ 42481 w 80010"/>
                    <a:gd name="connsiteY3" fmla="*/ 0 h 99441"/>
                    <a:gd name="connsiteX4" fmla="*/ 76867 w 80010"/>
                    <a:gd name="connsiteY4" fmla="*/ 25813 h 99441"/>
                    <a:gd name="connsiteX5" fmla="*/ 56483 w 80010"/>
                    <a:gd name="connsiteY5" fmla="*/ 50006 h 99441"/>
                    <a:gd name="connsiteX6" fmla="*/ 56483 w 80010"/>
                    <a:gd name="connsiteY6" fmla="*/ 50578 h 99441"/>
                    <a:gd name="connsiteX7" fmla="*/ 74200 w 80010"/>
                    <a:gd name="connsiteY7" fmla="*/ 72580 h 99441"/>
                    <a:gd name="connsiteX8" fmla="*/ 74676 w 80010"/>
                    <a:gd name="connsiteY8" fmla="*/ 75819 h 99441"/>
                    <a:gd name="connsiteX9" fmla="*/ 80010 w 80010"/>
                    <a:gd name="connsiteY9" fmla="*/ 99441 h 99441"/>
                    <a:gd name="connsiteX10" fmla="*/ 56959 w 80010"/>
                    <a:gd name="connsiteY10" fmla="*/ 99441 h 99441"/>
                    <a:gd name="connsiteX11" fmla="*/ 53150 w 80010"/>
                    <a:gd name="connsiteY11" fmla="*/ 72580 h 99441"/>
                    <a:gd name="connsiteX12" fmla="*/ 44005 w 80010"/>
                    <a:gd name="connsiteY12" fmla="*/ 59722 h 99441"/>
                    <a:gd name="connsiteX13" fmla="*/ 21431 w 80010"/>
                    <a:gd name="connsiteY13" fmla="*/ 59722 h 99441"/>
                    <a:gd name="connsiteX14" fmla="*/ 21431 w 80010"/>
                    <a:gd name="connsiteY14" fmla="*/ 99441 h 99441"/>
                    <a:gd name="connsiteX15" fmla="*/ 21527 w 80010"/>
                    <a:gd name="connsiteY15" fmla="*/ 43053 h 99441"/>
                    <a:gd name="connsiteX16" fmla="*/ 39243 w 80010"/>
                    <a:gd name="connsiteY16" fmla="*/ 43053 h 99441"/>
                    <a:gd name="connsiteX17" fmla="*/ 54292 w 80010"/>
                    <a:gd name="connsiteY17" fmla="*/ 29146 h 99441"/>
                    <a:gd name="connsiteX18" fmla="*/ 39243 w 80010"/>
                    <a:gd name="connsiteY18" fmla="*/ 16764 h 99441"/>
                    <a:gd name="connsiteX19" fmla="*/ 21527 w 80010"/>
                    <a:gd name="connsiteY19" fmla="*/ 16764 h 99441"/>
                    <a:gd name="connsiteX20" fmla="*/ 21527 w 80010"/>
                    <a:gd name="connsiteY20" fmla="*/ 43053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0010" h="99441">
                      <a:moveTo>
                        <a:pt x="21527" y="99441"/>
                      </a:move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42481" y="0"/>
                      </a:lnTo>
                      <a:cubicBezTo>
                        <a:pt x="65056" y="381"/>
                        <a:pt x="76486" y="8954"/>
                        <a:pt x="76867" y="25813"/>
                      </a:cubicBezTo>
                      <a:cubicBezTo>
                        <a:pt x="76486" y="38671"/>
                        <a:pt x="69723" y="46768"/>
                        <a:pt x="56483" y="50006"/>
                      </a:cubicBezTo>
                      <a:lnTo>
                        <a:pt x="56483" y="50578"/>
                      </a:lnTo>
                      <a:cubicBezTo>
                        <a:pt x="67627" y="50959"/>
                        <a:pt x="73438" y="58293"/>
                        <a:pt x="74200" y="72580"/>
                      </a:cubicBezTo>
                      <a:cubicBezTo>
                        <a:pt x="74581" y="74009"/>
                        <a:pt x="74676" y="75152"/>
                        <a:pt x="74676" y="75819"/>
                      </a:cubicBezTo>
                      <a:cubicBezTo>
                        <a:pt x="75724" y="87630"/>
                        <a:pt x="77533" y="95536"/>
                        <a:pt x="80010" y="99441"/>
                      </a:cubicBezTo>
                      <a:lnTo>
                        <a:pt x="56959" y="99441"/>
                      </a:lnTo>
                      <a:cubicBezTo>
                        <a:pt x="54769" y="90869"/>
                        <a:pt x="53530" y="81915"/>
                        <a:pt x="53150" y="72580"/>
                      </a:cubicBezTo>
                      <a:cubicBezTo>
                        <a:pt x="52388" y="63913"/>
                        <a:pt x="49340" y="59722"/>
                        <a:pt x="44005" y="59722"/>
                      </a:cubicBezTo>
                      <a:lnTo>
                        <a:pt x="21431" y="59722"/>
                      </a:lnTo>
                      <a:lnTo>
                        <a:pt x="21431" y="99441"/>
                      </a:lnTo>
                      <a:close/>
                      <a:moveTo>
                        <a:pt x="21527" y="43053"/>
                      </a:moveTo>
                      <a:lnTo>
                        <a:pt x="39243" y="43053"/>
                      </a:lnTo>
                      <a:cubicBezTo>
                        <a:pt x="49244" y="43053"/>
                        <a:pt x="54292" y="38481"/>
                        <a:pt x="54292" y="29146"/>
                      </a:cubicBezTo>
                      <a:cubicBezTo>
                        <a:pt x="54292" y="20574"/>
                        <a:pt x="49244" y="16478"/>
                        <a:pt x="39243" y="16764"/>
                      </a:cubicBezTo>
                      <a:lnTo>
                        <a:pt x="21527" y="16764"/>
                      </a:lnTo>
                      <a:lnTo>
                        <a:pt x="21527" y="43053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24" name="任意多边形: 形状 1023">
                  <a:extLst>
                    <a:ext uri="{FF2B5EF4-FFF2-40B4-BE49-F238E27FC236}">
                      <a16:creationId xmlns:a16="http://schemas.microsoft.com/office/drawing/2014/main" id="{9023FA09-FA9A-4A5C-80BA-4DA4F2C6BDD3}"/>
                    </a:ext>
                  </a:extLst>
                </p:cNvPr>
                <p:cNvSpPr/>
                <p:nvPr/>
              </p:nvSpPr>
              <p:spPr>
                <a:xfrm>
                  <a:off x="2686399" y="7540275"/>
                  <a:ext cx="21431" cy="99441"/>
                </a:xfrm>
                <a:custGeom>
                  <a:avLst/>
                  <a:gdLst>
                    <a:gd name="connsiteX0" fmla="*/ 21431 w 21431"/>
                    <a:gd name="connsiteY0" fmla="*/ 99441 h 99441"/>
                    <a:gd name="connsiteX1" fmla="*/ 0 w 21431"/>
                    <a:gd name="connsiteY1" fmla="*/ 99441 h 99441"/>
                    <a:gd name="connsiteX2" fmla="*/ 0 w 21431"/>
                    <a:gd name="connsiteY2" fmla="*/ 0 h 99441"/>
                    <a:gd name="connsiteX3" fmla="*/ 21431 w 21431"/>
                    <a:gd name="connsiteY3" fmla="*/ 0 h 99441"/>
                    <a:gd name="connsiteX4" fmla="*/ 21431 w 21431"/>
                    <a:gd name="connsiteY4" fmla="*/ 99441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431" h="99441">
                      <a:moveTo>
                        <a:pt x="21431" y="99441"/>
                      </a:move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21431" y="0"/>
                      </a:lnTo>
                      <a:lnTo>
                        <a:pt x="21431" y="9944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25" name="任意多边形: 形状 1024">
                  <a:extLst>
                    <a:ext uri="{FF2B5EF4-FFF2-40B4-BE49-F238E27FC236}">
                      <a16:creationId xmlns:a16="http://schemas.microsoft.com/office/drawing/2014/main" id="{DC27EBC4-7DD8-49C4-9E2C-7271DF03AFF7}"/>
                    </a:ext>
                  </a:extLst>
                </p:cNvPr>
                <p:cNvSpPr/>
                <p:nvPr/>
              </p:nvSpPr>
              <p:spPr>
                <a:xfrm>
                  <a:off x="2720784" y="7538180"/>
                  <a:ext cx="83248" cy="102584"/>
                </a:xfrm>
                <a:custGeom>
                  <a:avLst/>
                  <a:gdLst>
                    <a:gd name="connsiteX0" fmla="*/ 60674 w 83248"/>
                    <a:gd name="connsiteY0" fmla="*/ 34385 h 102584"/>
                    <a:gd name="connsiteX1" fmla="*/ 41338 w 83248"/>
                    <a:gd name="connsiteY1" fmla="*/ 15621 h 102584"/>
                    <a:gd name="connsiteX2" fmla="*/ 22479 w 83248"/>
                    <a:gd name="connsiteY2" fmla="*/ 52102 h 102584"/>
                    <a:gd name="connsiteX3" fmla="*/ 41338 w 83248"/>
                    <a:gd name="connsiteY3" fmla="*/ 88106 h 102584"/>
                    <a:gd name="connsiteX4" fmla="*/ 60674 w 83248"/>
                    <a:gd name="connsiteY4" fmla="*/ 69247 h 102584"/>
                    <a:gd name="connsiteX5" fmla="*/ 83248 w 83248"/>
                    <a:gd name="connsiteY5" fmla="*/ 69247 h 102584"/>
                    <a:gd name="connsiteX6" fmla="*/ 41338 w 83248"/>
                    <a:gd name="connsiteY6" fmla="*/ 102584 h 102584"/>
                    <a:gd name="connsiteX7" fmla="*/ 0 w 83248"/>
                    <a:gd name="connsiteY7" fmla="*/ 52102 h 102584"/>
                    <a:gd name="connsiteX8" fmla="*/ 41338 w 83248"/>
                    <a:gd name="connsiteY8" fmla="*/ 0 h 102584"/>
                    <a:gd name="connsiteX9" fmla="*/ 83248 w 83248"/>
                    <a:gd name="connsiteY9" fmla="*/ 34385 h 102584"/>
                    <a:gd name="connsiteX10" fmla="*/ 60674 w 83248"/>
                    <a:gd name="connsiteY10" fmla="*/ 34385 h 102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83248" h="102584">
                      <a:moveTo>
                        <a:pt x="60674" y="34385"/>
                      </a:moveTo>
                      <a:cubicBezTo>
                        <a:pt x="60007" y="22288"/>
                        <a:pt x="53530" y="16002"/>
                        <a:pt x="41338" y="15621"/>
                      </a:cubicBezTo>
                      <a:cubicBezTo>
                        <a:pt x="29527" y="16383"/>
                        <a:pt x="23241" y="28480"/>
                        <a:pt x="22479" y="52102"/>
                      </a:cubicBezTo>
                      <a:cubicBezTo>
                        <a:pt x="23146" y="75438"/>
                        <a:pt x="29432" y="87344"/>
                        <a:pt x="41338" y="88106"/>
                      </a:cubicBezTo>
                      <a:cubicBezTo>
                        <a:pt x="53911" y="87821"/>
                        <a:pt x="60293" y="81534"/>
                        <a:pt x="60674" y="69247"/>
                      </a:cubicBezTo>
                      <a:lnTo>
                        <a:pt x="83248" y="69247"/>
                      </a:lnTo>
                      <a:cubicBezTo>
                        <a:pt x="82201" y="91154"/>
                        <a:pt x="68199" y="102203"/>
                        <a:pt x="41338" y="102584"/>
                      </a:cubicBezTo>
                      <a:cubicBezTo>
                        <a:pt x="14478" y="101917"/>
                        <a:pt x="667" y="84963"/>
                        <a:pt x="0" y="52102"/>
                      </a:cubicBezTo>
                      <a:cubicBezTo>
                        <a:pt x="1048" y="18479"/>
                        <a:pt x="14859" y="1048"/>
                        <a:pt x="41338" y="0"/>
                      </a:cubicBezTo>
                      <a:cubicBezTo>
                        <a:pt x="67913" y="381"/>
                        <a:pt x="81820" y="11811"/>
                        <a:pt x="83248" y="34385"/>
                      </a:cubicBezTo>
                      <a:lnTo>
                        <a:pt x="60674" y="34385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26" name="任意多边形: 形状 1025">
                  <a:extLst>
                    <a:ext uri="{FF2B5EF4-FFF2-40B4-BE49-F238E27FC236}">
                      <a16:creationId xmlns:a16="http://schemas.microsoft.com/office/drawing/2014/main" id="{8E342DDE-F423-45C1-9EE5-C29A5F10E7F8}"/>
                    </a:ext>
                  </a:extLst>
                </p:cNvPr>
                <p:cNvSpPr/>
                <p:nvPr/>
              </p:nvSpPr>
              <p:spPr>
                <a:xfrm>
                  <a:off x="2817463" y="7540371"/>
                  <a:ext cx="86582" cy="100488"/>
                </a:xfrm>
                <a:custGeom>
                  <a:avLst/>
                  <a:gdLst>
                    <a:gd name="connsiteX0" fmla="*/ 86582 w 86582"/>
                    <a:gd name="connsiteY0" fmla="*/ 0 h 100488"/>
                    <a:gd name="connsiteX1" fmla="*/ 86582 w 86582"/>
                    <a:gd name="connsiteY1" fmla="*/ 62293 h 100488"/>
                    <a:gd name="connsiteX2" fmla="*/ 43529 w 86582"/>
                    <a:gd name="connsiteY2" fmla="*/ 100489 h 100488"/>
                    <a:gd name="connsiteX3" fmla="*/ 0 w 86582"/>
                    <a:gd name="connsiteY3" fmla="*/ 62293 h 100488"/>
                    <a:gd name="connsiteX4" fmla="*/ 0 w 86582"/>
                    <a:gd name="connsiteY4" fmla="*/ 0 h 100488"/>
                    <a:gd name="connsiteX5" fmla="*/ 21527 w 86582"/>
                    <a:gd name="connsiteY5" fmla="*/ 0 h 100488"/>
                    <a:gd name="connsiteX6" fmla="*/ 21527 w 86582"/>
                    <a:gd name="connsiteY6" fmla="*/ 54292 h 100488"/>
                    <a:gd name="connsiteX7" fmla="*/ 25813 w 86582"/>
                    <a:gd name="connsiteY7" fmla="*/ 78486 h 100488"/>
                    <a:gd name="connsiteX8" fmla="*/ 43529 w 86582"/>
                    <a:gd name="connsiteY8" fmla="*/ 86011 h 100488"/>
                    <a:gd name="connsiteX9" fmla="*/ 60770 w 86582"/>
                    <a:gd name="connsiteY9" fmla="*/ 78486 h 100488"/>
                    <a:gd name="connsiteX10" fmla="*/ 65056 w 86582"/>
                    <a:gd name="connsiteY10" fmla="*/ 54292 h 100488"/>
                    <a:gd name="connsiteX11" fmla="*/ 65056 w 86582"/>
                    <a:gd name="connsiteY11" fmla="*/ 0 h 100488"/>
                    <a:gd name="connsiteX12" fmla="*/ 86582 w 86582"/>
                    <a:gd name="connsiteY12" fmla="*/ 0 h 1004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6582" h="100488">
                      <a:moveTo>
                        <a:pt x="86582" y="0"/>
                      </a:moveTo>
                      <a:lnTo>
                        <a:pt x="86582" y="62293"/>
                      </a:lnTo>
                      <a:cubicBezTo>
                        <a:pt x="85535" y="87058"/>
                        <a:pt x="71152" y="99822"/>
                        <a:pt x="43529" y="100489"/>
                      </a:cubicBezTo>
                      <a:cubicBezTo>
                        <a:pt x="15240" y="99822"/>
                        <a:pt x="762" y="87058"/>
                        <a:pt x="0" y="62293"/>
                      </a:cubicBezTo>
                      <a:lnTo>
                        <a:pt x="0" y="0"/>
                      </a:lnTo>
                      <a:lnTo>
                        <a:pt x="21527" y="0"/>
                      </a:lnTo>
                      <a:lnTo>
                        <a:pt x="21527" y="54292"/>
                      </a:lnTo>
                      <a:cubicBezTo>
                        <a:pt x="21146" y="66103"/>
                        <a:pt x="22574" y="74200"/>
                        <a:pt x="25813" y="78486"/>
                      </a:cubicBezTo>
                      <a:cubicBezTo>
                        <a:pt x="29432" y="83534"/>
                        <a:pt x="35338" y="86011"/>
                        <a:pt x="43529" y="86011"/>
                      </a:cubicBezTo>
                      <a:cubicBezTo>
                        <a:pt x="51816" y="86011"/>
                        <a:pt x="57531" y="83534"/>
                        <a:pt x="60770" y="78486"/>
                      </a:cubicBezTo>
                      <a:cubicBezTo>
                        <a:pt x="64008" y="74200"/>
                        <a:pt x="65437" y="66199"/>
                        <a:pt x="65056" y="54292"/>
                      </a:cubicBezTo>
                      <a:lnTo>
                        <a:pt x="65056" y="0"/>
                      </a:lnTo>
                      <a:lnTo>
                        <a:pt x="86582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27" name="任意多边形: 形状 1026">
                  <a:extLst>
                    <a:ext uri="{FF2B5EF4-FFF2-40B4-BE49-F238E27FC236}">
                      <a16:creationId xmlns:a16="http://schemas.microsoft.com/office/drawing/2014/main" id="{EFCD7375-B4F4-4FA9-A41F-9125BB0351CF}"/>
                    </a:ext>
                  </a:extLst>
                </p:cNvPr>
                <p:cNvSpPr/>
                <p:nvPr/>
              </p:nvSpPr>
              <p:spPr>
                <a:xfrm>
                  <a:off x="2923952" y="7540275"/>
                  <a:ext cx="63912" cy="99441"/>
                </a:xfrm>
                <a:custGeom>
                  <a:avLst/>
                  <a:gdLst>
                    <a:gd name="connsiteX0" fmla="*/ 0 w 63912"/>
                    <a:gd name="connsiteY0" fmla="*/ 99441 h 99441"/>
                    <a:gd name="connsiteX1" fmla="*/ 0 w 63912"/>
                    <a:gd name="connsiteY1" fmla="*/ 0 h 99441"/>
                    <a:gd name="connsiteX2" fmla="*/ 20955 w 63912"/>
                    <a:gd name="connsiteY2" fmla="*/ 0 h 99441"/>
                    <a:gd name="connsiteX3" fmla="*/ 20955 w 63912"/>
                    <a:gd name="connsiteY3" fmla="*/ 82772 h 99441"/>
                    <a:gd name="connsiteX4" fmla="*/ 63913 w 63912"/>
                    <a:gd name="connsiteY4" fmla="*/ 82772 h 99441"/>
                    <a:gd name="connsiteX5" fmla="*/ 63913 w 63912"/>
                    <a:gd name="connsiteY5" fmla="*/ 99441 h 99441"/>
                    <a:gd name="connsiteX6" fmla="*/ 0 w 63912"/>
                    <a:gd name="connsiteY6" fmla="*/ 99441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3912" h="99441">
                      <a:moveTo>
                        <a:pt x="0" y="99441"/>
                      </a:moveTo>
                      <a:lnTo>
                        <a:pt x="0" y="0"/>
                      </a:lnTo>
                      <a:lnTo>
                        <a:pt x="20955" y="0"/>
                      </a:lnTo>
                      <a:lnTo>
                        <a:pt x="20955" y="82772"/>
                      </a:lnTo>
                      <a:lnTo>
                        <a:pt x="63913" y="82772"/>
                      </a:lnTo>
                      <a:lnTo>
                        <a:pt x="63913" y="99441"/>
                      </a:lnTo>
                      <a:lnTo>
                        <a:pt x="0" y="9944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28" name="任意多边形: 形状 1027">
                  <a:extLst>
                    <a:ext uri="{FF2B5EF4-FFF2-40B4-BE49-F238E27FC236}">
                      <a16:creationId xmlns:a16="http://schemas.microsoft.com/office/drawing/2014/main" id="{1A203FF6-C782-430E-9898-2C929F1800F0}"/>
                    </a:ext>
                  </a:extLst>
                </p:cNvPr>
                <p:cNvSpPr/>
                <p:nvPr/>
              </p:nvSpPr>
              <p:spPr>
                <a:xfrm>
                  <a:off x="2992151" y="7540371"/>
                  <a:ext cx="80581" cy="99440"/>
                </a:xfrm>
                <a:custGeom>
                  <a:avLst/>
                  <a:gdLst>
                    <a:gd name="connsiteX0" fmla="*/ 0 w 80581"/>
                    <a:gd name="connsiteY0" fmla="*/ 0 h 99440"/>
                    <a:gd name="connsiteX1" fmla="*/ 80581 w 80581"/>
                    <a:gd name="connsiteY1" fmla="*/ 0 h 99440"/>
                    <a:gd name="connsiteX2" fmla="*/ 80581 w 80581"/>
                    <a:gd name="connsiteY2" fmla="*/ 16669 h 99440"/>
                    <a:gd name="connsiteX3" fmla="*/ 51054 w 80581"/>
                    <a:gd name="connsiteY3" fmla="*/ 16669 h 99440"/>
                    <a:gd name="connsiteX4" fmla="*/ 51054 w 80581"/>
                    <a:gd name="connsiteY4" fmla="*/ 99441 h 99440"/>
                    <a:gd name="connsiteX5" fmla="*/ 29527 w 80581"/>
                    <a:gd name="connsiteY5" fmla="*/ 99441 h 99440"/>
                    <a:gd name="connsiteX6" fmla="*/ 29527 w 80581"/>
                    <a:gd name="connsiteY6" fmla="*/ 16669 h 99440"/>
                    <a:gd name="connsiteX7" fmla="*/ 0 w 80581"/>
                    <a:gd name="connsiteY7" fmla="*/ 16669 h 99440"/>
                    <a:gd name="connsiteX8" fmla="*/ 0 w 80581"/>
                    <a:gd name="connsiteY8" fmla="*/ 0 h 99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0581" h="99440">
                      <a:moveTo>
                        <a:pt x="0" y="0"/>
                      </a:moveTo>
                      <a:lnTo>
                        <a:pt x="80581" y="0"/>
                      </a:lnTo>
                      <a:lnTo>
                        <a:pt x="80581" y="16669"/>
                      </a:lnTo>
                      <a:lnTo>
                        <a:pt x="51054" y="16669"/>
                      </a:lnTo>
                      <a:lnTo>
                        <a:pt x="51054" y="99441"/>
                      </a:lnTo>
                      <a:lnTo>
                        <a:pt x="29527" y="99441"/>
                      </a:lnTo>
                      <a:lnTo>
                        <a:pt x="29527" y="16669"/>
                      </a:lnTo>
                      <a:lnTo>
                        <a:pt x="0" y="1666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29" name="任意多边形: 形状 1028">
                  <a:extLst>
                    <a:ext uri="{FF2B5EF4-FFF2-40B4-BE49-F238E27FC236}">
                      <a16:creationId xmlns:a16="http://schemas.microsoft.com/office/drawing/2014/main" id="{D9780161-E165-4889-A831-FBD86BC65BC6}"/>
                    </a:ext>
                  </a:extLst>
                </p:cNvPr>
                <p:cNvSpPr/>
                <p:nvPr/>
              </p:nvSpPr>
              <p:spPr>
                <a:xfrm>
                  <a:off x="3084639" y="7540371"/>
                  <a:ext cx="86487" cy="100488"/>
                </a:xfrm>
                <a:custGeom>
                  <a:avLst/>
                  <a:gdLst>
                    <a:gd name="connsiteX0" fmla="*/ 86487 w 86487"/>
                    <a:gd name="connsiteY0" fmla="*/ 0 h 100488"/>
                    <a:gd name="connsiteX1" fmla="*/ 86487 w 86487"/>
                    <a:gd name="connsiteY1" fmla="*/ 62293 h 100488"/>
                    <a:gd name="connsiteX2" fmla="*/ 43529 w 86487"/>
                    <a:gd name="connsiteY2" fmla="*/ 100489 h 100488"/>
                    <a:gd name="connsiteX3" fmla="*/ 0 w 86487"/>
                    <a:gd name="connsiteY3" fmla="*/ 62293 h 100488"/>
                    <a:gd name="connsiteX4" fmla="*/ 0 w 86487"/>
                    <a:gd name="connsiteY4" fmla="*/ 0 h 100488"/>
                    <a:gd name="connsiteX5" fmla="*/ 21527 w 86487"/>
                    <a:gd name="connsiteY5" fmla="*/ 0 h 100488"/>
                    <a:gd name="connsiteX6" fmla="*/ 21527 w 86487"/>
                    <a:gd name="connsiteY6" fmla="*/ 54292 h 100488"/>
                    <a:gd name="connsiteX7" fmla="*/ 25813 w 86487"/>
                    <a:gd name="connsiteY7" fmla="*/ 78486 h 100488"/>
                    <a:gd name="connsiteX8" fmla="*/ 43529 w 86487"/>
                    <a:gd name="connsiteY8" fmla="*/ 86011 h 100488"/>
                    <a:gd name="connsiteX9" fmla="*/ 60674 w 86487"/>
                    <a:gd name="connsiteY9" fmla="*/ 78486 h 100488"/>
                    <a:gd name="connsiteX10" fmla="*/ 64961 w 86487"/>
                    <a:gd name="connsiteY10" fmla="*/ 54292 h 100488"/>
                    <a:gd name="connsiteX11" fmla="*/ 64961 w 86487"/>
                    <a:gd name="connsiteY11" fmla="*/ 0 h 100488"/>
                    <a:gd name="connsiteX12" fmla="*/ 86487 w 86487"/>
                    <a:gd name="connsiteY12" fmla="*/ 0 h 1004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6487" h="100488">
                      <a:moveTo>
                        <a:pt x="86487" y="0"/>
                      </a:moveTo>
                      <a:lnTo>
                        <a:pt x="86487" y="62293"/>
                      </a:lnTo>
                      <a:cubicBezTo>
                        <a:pt x="85439" y="87058"/>
                        <a:pt x="71057" y="99822"/>
                        <a:pt x="43529" y="100489"/>
                      </a:cubicBezTo>
                      <a:cubicBezTo>
                        <a:pt x="15240" y="99822"/>
                        <a:pt x="762" y="87058"/>
                        <a:pt x="0" y="62293"/>
                      </a:cubicBezTo>
                      <a:lnTo>
                        <a:pt x="0" y="0"/>
                      </a:lnTo>
                      <a:lnTo>
                        <a:pt x="21527" y="0"/>
                      </a:lnTo>
                      <a:lnTo>
                        <a:pt x="21527" y="54292"/>
                      </a:lnTo>
                      <a:cubicBezTo>
                        <a:pt x="21146" y="66103"/>
                        <a:pt x="22574" y="74200"/>
                        <a:pt x="25813" y="78486"/>
                      </a:cubicBezTo>
                      <a:cubicBezTo>
                        <a:pt x="29432" y="83534"/>
                        <a:pt x="35338" y="86011"/>
                        <a:pt x="43529" y="86011"/>
                      </a:cubicBezTo>
                      <a:cubicBezTo>
                        <a:pt x="51721" y="86011"/>
                        <a:pt x="57436" y="83534"/>
                        <a:pt x="60674" y="78486"/>
                      </a:cubicBezTo>
                      <a:cubicBezTo>
                        <a:pt x="63913" y="74200"/>
                        <a:pt x="65342" y="66199"/>
                        <a:pt x="64961" y="54292"/>
                      </a:cubicBezTo>
                      <a:lnTo>
                        <a:pt x="64961" y="0"/>
                      </a:lnTo>
                      <a:lnTo>
                        <a:pt x="86487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30" name="任意多边形: 形状 1029">
                  <a:extLst>
                    <a:ext uri="{FF2B5EF4-FFF2-40B4-BE49-F238E27FC236}">
                      <a16:creationId xmlns:a16="http://schemas.microsoft.com/office/drawing/2014/main" id="{FBEEC3DD-AA24-4DFB-844F-4BA7EE643950}"/>
                    </a:ext>
                  </a:extLst>
                </p:cNvPr>
                <p:cNvSpPr/>
                <p:nvPr/>
              </p:nvSpPr>
              <p:spPr>
                <a:xfrm>
                  <a:off x="3189319" y="7540275"/>
                  <a:ext cx="80105" cy="99441"/>
                </a:xfrm>
                <a:custGeom>
                  <a:avLst/>
                  <a:gdLst>
                    <a:gd name="connsiteX0" fmla="*/ 21526 w 80105"/>
                    <a:gd name="connsiteY0" fmla="*/ 99441 h 99441"/>
                    <a:gd name="connsiteX1" fmla="*/ 0 w 80105"/>
                    <a:gd name="connsiteY1" fmla="*/ 99441 h 99441"/>
                    <a:gd name="connsiteX2" fmla="*/ 0 w 80105"/>
                    <a:gd name="connsiteY2" fmla="*/ 0 h 99441"/>
                    <a:gd name="connsiteX3" fmla="*/ 42482 w 80105"/>
                    <a:gd name="connsiteY3" fmla="*/ 0 h 99441"/>
                    <a:gd name="connsiteX4" fmla="*/ 76867 w 80105"/>
                    <a:gd name="connsiteY4" fmla="*/ 25813 h 99441"/>
                    <a:gd name="connsiteX5" fmla="*/ 56483 w 80105"/>
                    <a:gd name="connsiteY5" fmla="*/ 50006 h 99441"/>
                    <a:gd name="connsiteX6" fmla="*/ 56483 w 80105"/>
                    <a:gd name="connsiteY6" fmla="*/ 50578 h 99441"/>
                    <a:gd name="connsiteX7" fmla="*/ 74200 w 80105"/>
                    <a:gd name="connsiteY7" fmla="*/ 72580 h 99441"/>
                    <a:gd name="connsiteX8" fmla="*/ 74771 w 80105"/>
                    <a:gd name="connsiteY8" fmla="*/ 75819 h 99441"/>
                    <a:gd name="connsiteX9" fmla="*/ 80105 w 80105"/>
                    <a:gd name="connsiteY9" fmla="*/ 99441 h 99441"/>
                    <a:gd name="connsiteX10" fmla="*/ 57055 w 80105"/>
                    <a:gd name="connsiteY10" fmla="*/ 99441 h 99441"/>
                    <a:gd name="connsiteX11" fmla="*/ 53340 w 80105"/>
                    <a:gd name="connsiteY11" fmla="*/ 72580 h 99441"/>
                    <a:gd name="connsiteX12" fmla="*/ 44196 w 80105"/>
                    <a:gd name="connsiteY12" fmla="*/ 59722 h 99441"/>
                    <a:gd name="connsiteX13" fmla="*/ 21622 w 80105"/>
                    <a:gd name="connsiteY13" fmla="*/ 59722 h 99441"/>
                    <a:gd name="connsiteX14" fmla="*/ 21622 w 80105"/>
                    <a:gd name="connsiteY14" fmla="*/ 99441 h 99441"/>
                    <a:gd name="connsiteX15" fmla="*/ 21526 w 80105"/>
                    <a:gd name="connsiteY15" fmla="*/ 43053 h 99441"/>
                    <a:gd name="connsiteX16" fmla="*/ 39243 w 80105"/>
                    <a:gd name="connsiteY16" fmla="*/ 43053 h 99441"/>
                    <a:gd name="connsiteX17" fmla="*/ 54292 w 80105"/>
                    <a:gd name="connsiteY17" fmla="*/ 29146 h 99441"/>
                    <a:gd name="connsiteX18" fmla="*/ 39243 w 80105"/>
                    <a:gd name="connsiteY18" fmla="*/ 16764 h 99441"/>
                    <a:gd name="connsiteX19" fmla="*/ 21526 w 80105"/>
                    <a:gd name="connsiteY19" fmla="*/ 16764 h 99441"/>
                    <a:gd name="connsiteX20" fmla="*/ 21526 w 80105"/>
                    <a:gd name="connsiteY20" fmla="*/ 43053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0105" h="99441">
                      <a:moveTo>
                        <a:pt x="21526" y="99441"/>
                      </a:move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42482" y="0"/>
                      </a:lnTo>
                      <a:cubicBezTo>
                        <a:pt x="65056" y="381"/>
                        <a:pt x="76486" y="8954"/>
                        <a:pt x="76867" y="25813"/>
                      </a:cubicBezTo>
                      <a:cubicBezTo>
                        <a:pt x="76486" y="38671"/>
                        <a:pt x="69723" y="46768"/>
                        <a:pt x="56483" y="50006"/>
                      </a:cubicBezTo>
                      <a:lnTo>
                        <a:pt x="56483" y="50578"/>
                      </a:lnTo>
                      <a:cubicBezTo>
                        <a:pt x="67628" y="50959"/>
                        <a:pt x="73533" y="58293"/>
                        <a:pt x="74200" y="72580"/>
                      </a:cubicBezTo>
                      <a:cubicBezTo>
                        <a:pt x="74581" y="74009"/>
                        <a:pt x="74771" y="75152"/>
                        <a:pt x="74771" y="75819"/>
                      </a:cubicBezTo>
                      <a:cubicBezTo>
                        <a:pt x="75914" y="87630"/>
                        <a:pt x="77629" y="95536"/>
                        <a:pt x="80105" y="99441"/>
                      </a:cubicBezTo>
                      <a:lnTo>
                        <a:pt x="57055" y="99441"/>
                      </a:lnTo>
                      <a:cubicBezTo>
                        <a:pt x="54864" y="90869"/>
                        <a:pt x="53626" y="81915"/>
                        <a:pt x="53340" y="72580"/>
                      </a:cubicBezTo>
                      <a:cubicBezTo>
                        <a:pt x="52578" y="63913"/>
                        <a:pt x="49530" y="59722"/>
                        <a:pt x="44196" y="59722"/>
                      </a:cubicBezTo>
                      <a:lnTo>
                        <a:pt x="21622" y="59722"/>
                      </a:lnTo>
                      <a:lnTo>
                        <a:pt x="21622" y="99441"/>
                      </a:lnTo>
                      <a:close/>
                      <a:moveTo>
                        <a:pt x="21526" y="43053"/>
                      </a:moveTo>
                      <a:lnTo>
                        <a:pt x="39243" y="43053"/>
                      </a:lnTo>
                      <a:cubicBezTo>
                        <a:pt x="49340" y="43053"/>
                        <a:pt x="54292" y="38481"/>
                        <a:pt x="54292" y="29146"/>
                      </a:cubicBezTo>
                      <a:cubicBezTo>
                        <a:pt x="54292" y="20574"/>
                        <a:pt x="49244" y="16478"/>
                        <a:pt x="39243" y="16764"/>
                      </a:cubicBezTo>
                      <a:lnTo>
                        <a:pt x="21526" y="16764"/>
                      </a:lnTo>
                      <a:lnTo>
                        <a:pt x="21526" y="43053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31" name="任意多边形: 形状 1030">
                  <a:extLst>
                    <a:ext uri="{FF2B5EF4-FFF2-40B4-BE49-F238E27FC236}">
                      <a16:creationId xmlns:a16="http://schemas.microsoft.com/office/drawing/2014/main" id="{BA2315FE-C31A-4CD6-9CA6-EBFD570AD6A1}"/>
                    </a:ext>
                  </a:extLst>
                </p:cNvPr>
                <p:cNvSpPr/>
                <p:nvPr/>
              </p:nvSpPr>
              <p:spPr>
                <a:xfrm>
                  <a:off x="3280663" y="7540371"/>
                  <a:ext cx="68294" cy="99345"/>
                </a:xfrm>
                <a:custGeom>
                  <a:avLst/>
                  <a:gdLst>
                    <a:gd name="connsiteX0" fmla="*/ 95 w 68294"/>
                    <a:gd name="connsiteY0" fmla="*/ 0 h 99345"/>
                    <a:gd name="connsiteX1" fmla="*/ 66675 w 68294"/>
                    <a:gd name="connsiteY1" fmla="*/ 0 h 99345"/>
                    <a:gd name="connsiteX2" fmla="*/ 66675 w 68294"/>
                    <a:gd name="connsiteY2" fmla="*/ 16669 h 99345"/>
                    <a:gd name="connsiteX3" fmla="*/ 21527 w 68294"/>
                    <a:gd name="connsiteY3" fmla="*/ 16669 h 99345"/>
                    <a:gd name="connsiteX4" fmla="*/ 21527 w 68294"/>
                    <a:gd name="connsiteY4" fmla="*/ 39719 h 99345"/>
                    <a:gd name="connsiteX5" fmla="*/ 63437 w 68294"/>
                    <a:gd name="connsiteY5" fmla="*/ 39719 h 99345"/>
                    <a:gd name="connsiteX6" fmla="*/ 63437 w 68294"/>
                    <a:gd name="connsiteY6" fmla="*/ 56388 h 99345"/>
                    <a:gd name="connsiteX7" fmla="*/ 21527 w 68294"/>
                    <a:gd name="connsiteY7" fmla="*/ 56388 h 99345"/>
                    <a:gd name="connsiteX8" fmla="*/ 21527 w 68294"/>
                    <a:gd name="connsiteY8" fmla="*/ 82677 h 99345"/>
                    <a:gd name="connsiteX9" fmla="*/ 68294 w 68294"/>
                    <a:gd name="connsiteY9" fmla="*/ 82677 h 99345"/>
                    <a:gd name="connsiteX10" fmla="*/ 68294 w 68294"/>
                    <a:gd name="connsiteY10" fmla="*/ 99346 h 99345"/>
                    <a:gd name="connsiteX11" fmla="*/ 0 w 68294"/>
                    <a:gd name="connsiteY11" fmla="*/ 99346 h 99345"/>
                    <a:gd name="connsiteX12" fmla="*/ 0 w 68294"/>
                    <a:gd name="connsiteY12" fmla="*/ 0 h 993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68294" h="99345">
                      <a:moveTo>
                        <a:pt x="95" y="0"/>
                      </a:moveTo>
                      <a:lnTo>
                        <a:pt x="66675" y="0"/>
                      </a:lnTo>
                      <a:lnTo>
                        <a:pt x="66675" y="16669"/>
                      </a:lnTo>
                      <a:lnTo>
                        <a:pt x="21527" y="16669"/>
                      </a:lnTo>
                      <a:lnTo>
                        <a:pt x="21527" y="39719"/>
                      </a:lnTo>
                      <a:lnTo>
                        <a:pt x="63437" y="39719"/>
                      </a:lnTo>
                      <a:lnTo>
                        <a:pt x="63437" y="56388"/>
                      </a:lnTo>
                      <a:lnTo>
                        <a:pt x="21527" y="56388"/>
                      </a:lnTo>
                      <a:lnTo>
                        <a:pt x="21527" y="82677"/>
                      </a:lnTo>
                      <a:lnTo>
                        <a:pt x="68294" y="82677"/>
                      </a:lnTo>
                      <a:lnTo>
                        <a:pt x="68294" y="99346"/>
                      </a:lnTo>
                      <a:lnTo>
                        <a:pt x="0" y="9934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32" name="任意多边形: 形状 1031">
                  <a:extLst>
                    <a:ext uri="{FF2B5EF4-FFF2-40B4-BE49-F238E27FC236}">
                      <a16:creationId xmlns:a16="http://schemas.microsoft.com/office/drawing/2014/main" id="{E9BB3824-1827-471D-90AC-A9B14FA989DF}"/>
                    </a:ext>
                  </a:extLst>
                </p:cNvPr>
                <p:cNvSpPr/>
                <p:nvPr/>
              </p:nvSpPr>
              <p:spPr>
                <a:xfrm>
                  <a:off x="3396297" y="7540275"/>
                  <a:ext cx="96202" cy="99441"/>
                </a:xfrm>
                <a:custGeom>
                  <a:avLst/>
                  <a:gdLst>
                    <a:gd name="connsiteX0" fmla="*/ 0 w 96202"/>
                    <a:gd name="connsiteY0" fmla="*/ 99441 h 99441"/>
                    <a:gd name="connsiteX1" fmla="*/ 36004 w 96202"/>
                    <a:gd name="connsiteY1" fmla="*/ 0 h 99441"/>
                    <a:gd name="connsiteX2" fmla="*/ 61246 w 96202"/>
                    <a:gd name="connsiteY2" fmla="*/ 0 h 99441"/>
                    <a:gd name="connsiteX3" fmla="*/ 96203 w 96202"/>
                    <a:gd name="connsiteY3" fmla="*/ 99441 h 99441"/>
                    <a:gd name="connsiteX4" fmla="*/ 74771 w 96202"/>
                    <a:gd name="connsiteY4" fmla="*/ 99441 h 99441"/>
                    <a:gd name="connsiteX5" fmla="*/ 67247 w 96202"/>
                    <a:gd name="connsiteY5" fmla="*/ 78486 h 99441"/>
                    <a:gd name="connsiteX6" fmla="*/ 28004 w 96202"/>
                    <a:gd name="connsiteY6" fmla="*/ 78486 h 99441"/>
                    <a:gd name="connsiteX7" fmla="*/ 20479 w 96202"/>
                    <a:gd name="connsiteY7" fmla="*/ 99441 h 99441"/>
                    <a:gd name="connsiteX8" fmla="*/ 0 w 96202"/>
                    <a:gd name="connsiteY8" fmla="*/ 99441 h 99441"/>
                    <a:gd name="connsiteX9" fmla="*/ 61817 w 96202"/>
                    <a:gd name="connsiteY9" fmla="*/ 61913 h 99441"/>
                    <a:gd name="connsiteX10" fmla="*/ 48387 w 96202"/>
                    <a:gd name="connsiteY10" fmla="*/ 19431 h 99441"/>
                    <a:gd name="connsiteX11" fmla="*/ 47816 w 96202"/>
                    <a:gd name="connsiteY11" fmla="*/ 19431 h 99441"/>
                    <a:gd name="connsiteX12" fmla="*/ 33338 w 96202"/>
                    <a:gd name="connsiteY12" fmla="*/ 61913 h 99441"/>
                    <a:gd name="connsiteX13" fmla="*/ 61817 w 96202"/>
                    <a:gd name="connsiteY13" fmla="*/ 61913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96202" h="99441">
                      <a:moveTo>
                        <a:pt x="0" y="99441"/>
                      </a:moveTo>
                      <a:lnTo>
                        <a:pt x="36004" y="0"/>
                      </a:lnTo>
                      <a:lnTo>
                        <a:pt x="61246" y="0"/>
                      </a:lnTo>
                      <a:lnTo>
                        <a:pt x="96203" y="99441"/>
                      </a:lnTo>
                      <a:lnTo>
                        <a:pt x="74771" y="99441"/>
                      </a:lnTo>
                      <a:lnTo>
                        <a:pt x="67247" y="78486"/>
                      </a:lnTo>
                      <a:lnTo>
                        <a:pt x="28004" y="78486"/>
                      </a:lnTo>
                      <a:lnTo>
                        <a:pt x="20479" y="99441"/>
                      </a:lnTo>
                      <a:lnTo>
                        <a:pt x="0" y="99441"/>
                      </a:lnTo>
                      <a:close/>
                      <a:moveTo>
                        <a:pt x="61817" y="61913"/>
                      </a:moveTo>
                      <a:lnTo>
                        <a:pt x="48387" y="19431"/>
                      </a:lnTo>
                      <a:lnTo>
                        <a:pt x="47816" y="19431"/>
                      </a:lnTo>
                      <a:lnTo>
                        <a:pt x="33338" y="61913"/>
                      </a:lnTo>
                      <a:lnTo>
                        <a:pt x="61817" y="61913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33" name="任意多边形: 形状 1032">
                  <a:extLst>
                    <a:ext uri="{FF2B5EF4-FFF2-40B4-BE49-F238E27FC236}">
                      <a16:creationId xmlns:a16="http://schemas.microsoft.com/office/drawing/2014/main" id="{FB0648AF-B891-40F8-A850-581FE762368D}"/>
                    </a:ext>
                  </a:extLst>
                </p:cNvPr>
                <p:cNvSpPr/>
                <p:nvPr/>
              </p:nvSpPr>
              <p:spPr>
                <a:xfrm>
                  <a:off x="3502787" y="7540275"/>
                  <a:ext cx="89725" cy="99441"/>
                </a:xfrm>
                <a:custGeom>
                  <a:avLst/>
                  <a:gdLst>
                    <a:gd name="connsiteX0" fmla="*/ 59055 w 89725"/>
                    <a:gd name="connsiteY0" fmla="*/ 99441 h 99441"/>
                    <a:gd name="connsiteX1" fmla="*/ 20383 w 89725"/>
                    <a:gd name="connsiteY1" fmla="*/ 16669 h 99441"/>
                    <a:gd name="connsiteX2" fmla="*/ 19907 w 89725"/>
                    <a:gd name="connsiteY2" fmla="*/ 17240 h 99441"/>
                    <a:gd name="connsiteX3" fmla="*/ 19907 w 89725"/>
                    <a:gd name="connsiteY3" fmla="*/ 99441 h 99441"/>
                    <a:gd name="connsiteX4" fmla="*/ 0 w 89725"/>
                    <a:gd name="connsiteY4" fmla="*/ 99441 h 99441"/>
                    <a:gd name="connsiteX5" fmla="*/ 0 w 89725"/>
                    <a:gd name="connsiteY5" fmla="*/ 0 h 99441"/>
                    <a:gd name="connsiteX6" fmla="*/ 31718 w 89725"/>
                    <a:gd name="connsiteY6" fmla="*/ 0 h 99441"/>
                    <a:gd name="connsiteX7" fmla="*/ 69342 w 89725"/>
                    <a:gd name="connsiteY7" fmla="*/ 78391 h 99441"/>
                    <a:gd name="connsiteX8" fmla="*/ 69818 w 89725"/>
                    <a:gd name="connsiteY8" fmla="*/ 77914 h 99441"/>
                    <a:gd name="connsiteX9" fmla="*/ 69818 w 89725"/>
                    <a:gd name="connsiteY9" fmla="*/ 0 h 99441"/>
                    <a:gd name="connsiteX10" fmla="*/ 89725 w 89725"/>
                    <a:gd name="connsiteY10" fmla="*/ 0 h 99441"/>
                    <a:gd name="connsiteX11" fmla="*/ 89725 w 89725"/>
                    <a:gd name="connsiteY11" fmla="*/ 99441 h 99441"/>
                    <a:gd name="connsiteX12" fmla="*/ 59055 w 89725"/>
                    <a:gd name="connsiteY12" fmla="*/ 99441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9725" h="99441">
                      <a:moveTo>
                        <a:pt x="59055" y="99441"/>
                      </a:moveTo>
                      <a:lnTo>
                        <a:pt x="20383" y="16669"/>
                      </a:lnTo>
                      <a:lnTo>
                        <a:pt x="19907" y="17240"/>
                      </a:lnTo>
                      <a:lnTo>
                        <a:pt x="19907" y="99441"/>
                      </a:ln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31718" y="0"/>
                      </a:lnTo>
                      <a:lnTo>
                        <a:pt x="69342" y="78391"/>
                      </a:lnTo>
                      <a:lnTo>
                        <a:pt x="69818" y="77914"/>
                      </a:lnTo>
                      <a:lnTo>
                        <a:pt x="69818" y="0"/>
                      </a:lnTo>
                      <a:lnTo>
                        <a:pt x="89725" y="0"/>
                      </a:lnTo>
                      <a:lnTo>
                        <a:pt x="89725" y="99441"/>
                      </a:lnTo>
                      <a:lnTo>
                        <a:pt x="59055" y="9944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34" name="任意多边形: 形状 1033">
                  <a:extLst>
                    <a:ext uri="{FF2B5EF4-FFF2-40B4-BE49-F238E27FC236}">
                      <a16:creationId xmlns:a16="http://schemas.microsoft.com/office/drawing/2014/main" id="{8882BE49-E629-4EB5-BA1E-9E021D916ADD}"/>
                    </a:ext>
                  </a:extLst>
                </p:cNvPr>
                <p:cNvSpPr/>
                <p:nvPr/>
              </p:nvSpPr>
              <p:spPr>
                <a:xfrm>
                  <a:off x="3609657" y="7540371"/>
                  <a:ext cx="83820" cy="99440"/>
                </a:xfrm>
                <a:custGeom>
                  <a:avLst/>
                  <a:gdLst>
                    <a:gd name="connsiteX0" fmla="*/ 0 w 83820"/>
                    <a:gd name="connsiteY0" fmla="*/ 0 h 99440"/>
                    <a:gd name="connsiteX1" fmla="*/ 33814 w 83820"/>
                    <a:gd name="connsiteY1" fmla="*/ 0 h 99440"/>
                    <a:gd name="connsiteX2" fmla="*/ 83820 w 83820"/>
                    <a:gd name="connsiteY2" fmla="*/ 50006 h 99440"/>
                    <a:gd name="connsiteX3" fmla="*/ 33814 w 83820"/>
                    <a:gd name="connsiteY3" fmla="*/ 99441 h 99440"/>
                    <a:gd name="connsiteX4" fmla="*/ 0 w 83820"/>
                    <a:gd name="connsiteY4" fmla="*/ 99441 h 99440"/>
                    <a:gd name="connsiteX5" fmla="*/ 0 w 83820"/>
                    <a:gd name="connsiteY5" fmla="*/ 0 h 99440"/>
                    <a:gd name="connsiteX6" fmla="*/ 20955 w 83820"/>
                    <a:gd name="connsiteY6" fmla="*/ 82772 h 99440"/>
                    <a:gd name="connsiteX7" fmla="*/ 32290 w 83820"/>
                    <a:gd name="connsiteY7" fmla="*/ 82772 h 99440"/>
                    <a:gd name="connsiteX8" fmla="*/ 61341 w 83820"/>
                    <a:gd name="connsiteY8" fmla="*/ 49911 h 99440"/>
                    <a:gd name="connsiteX9" fmla="*/ 32290 w 83820"/>
                    <a:gd name="connsiteY9" fmla="*/ 16573 h 99440"/>
                    <a:gd name="connsiteX10" fmla="*/ 20955 w 83820"/>
                    <a:gd name="connsiteY10" fmla="*/ 16573 h 99440"/>
                    <a:gd name="connsiteX11" fmla="*/ 20955 w 83820"/>
                    <a:gd name="connsiteY11" fmla="*/ 82772 h 99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83820" h="99440">
                      <a:moveTo>
                        <a:pt x="0" y="0"/>
                      </a:moveTo>
                      <a:lnTo>
                        <a:pt x="33814" y="0"/>
                      </a:lnTo>
                      <a:cubicBezTo>
                        <a:pt x="66770" y="381"/>
                        <a:pt x="83439" y="17050"/>
                        <a:pt x="83820" y="50006"/>
                      </a:cubicBezTo>
                      <a:cubicBezTo>
                        <a:pt x="83439" y="82582"/>
                        <a:pt x="66770" y="99155"/>
                        <a:pt x="33814" y="99441"/>
                      </a:cubicBezTo>
                      <a:lnTo>
                        <a:pt x="0" y="99441"/>
                      </a:lnTo>
                      <a:lnTo>
                        <a:pt x="0" y="0"/>
                      </a:lnTo>
                      <a:close/>
                      <a:moveTo>
                        <a:pt x="20955" y="82772"/>
                      </a:moveTo>
                      <a:lnTo>
                        <a:pt x="32290" y="82772"/>
                      </a:lnTo>
                      <a:cubicBezTo>
                        <a:pt x="52006" y="83439"/>
                        <a:pt x="61627" y="72580"/>
                        <a:pt x="61341" y="49911"/>
                      </a:cubicBezTo>
                      <a:cubicBezTo>
                        <a:pt x="61627" y="27051"/>
                        <a:pt x="52006" y="15907"/>
                        <a:pt x="32290" y="16573"/>
                      </a:cubicBezTo>
                      <a:lnTo>
                        <a:pt x="20955" y="16573"/>
                      </a:lnTo>
                      <a:lnTo>
                        <a:pt x="20955" y="82772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35" name="任意多边形: 形状 1034">
                  <a:extLst>
                    <a:ext uri="{FF2B5EF4-FFF2-40B4-BE49-F238E27FC236}">
                      <a16:creationId xmlns:a16="http://schemas.microsoft.com/office/drawing/2014/main" id="{E892AEC1-35D9-4E11-A101-AE78AD503414}"/>
                    </a:ext>
                  </a:extLst>
                </p:cNvPr>
                <p:cNvSpPr/>
                <p:nvPr/>
              </p:nvSpPr>
              <p:spPr>
                <a:xfrm>
                  <a:off x="3747293" y="7540275"/>
                  <a:ext cx="63912" cy="99441"/>
                </a:xfrm>
                <a:custGeom>
                  <a:avLst/>
                  <a:gdLst>
                    <a:gd name="connsiteX0" fmla="*/ 0 w 63912"/>
                    <a:gd name="connsiteY0" fmla="*/ 99441 h 99441"/>
                    <a:gd name="connsiteX1" fmla="*/ 0 w 63912"/>
                    <a:gd name="connsiteY1" fmla="*/ 0 h 99441"/>
                    <a:gd name="connsiteX2" fmla="*/ 63913 w 63912"/>
                    <a:gd name="connsiteY2" fmla="*/ 0 h 99441"/>
                    <a:gd name="connsiteX3" fmla="*/ 63913 w 63912"/>
                    <a:gd name="connsiteY3" fmla="*/ 16669 h 99441"/>
                    <a:gd name="connsiteX4" fmla="*/ 20955 w 63912"/>
                    <a:gd name="connsiteY4" fmla="*/ 16669 h 99441"/>
                    <a:gd name="connsiteX5" fmla="*/ 20955 w 63912"/>
                    <a:gd name="connsiteY5" fmla="*/ 40291 h 99441"/>
                    <a:gd name="connsiteX6" fmla="*/ 61246 w 63912"/>
                    <a:gd name="connsiteY6" fmla="*/ 40291 h 99441"/>
                    <a:gd name="connsiteX7" fmla="*/ 61246 w 63912"/>
                    <a:gd name="connsiteY7" fmla="*/ 56959 h 99441"/>
                    <a:gd name="connsiteX8" fmla="*/ 20955 w 63912"/>
                    <a:gd name="connsiteY8" fmla="*/ 56959 h 99441"/>
                    <a:gd name="connsiteX9" fmla="*/ 20955 w 63912"/>
                    <a:gd name="connsiteY9" fmla="*/ 99441 h 99441"/>
                    <a:gd name="connsiteX10" fmla="*/ 0 w 63912"/>
                    <a:gd name="connsiteY10" fmla="*/ 99441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3912" h="99441">
                      <a:moveTo>
                        <a:pt x="0" y="99441"/>
                      </a:moveTo>
                      <a:lnTo>
                        <a:pt x="0" y="0"/>
                      </a:lnTo>
                      <a:lnTo>
                        <a:pt x="63913" y="0"/>
                      </a:lnTo>
                      <a:lnTo>
                        <a:pt x="63913" y="16669"/>
                      </a:lnTo>
                      <a:lnTo>
                        <a:pt x="20955" y="16669"/>
                      </a:lnTo>
                      <a:lnTo>
                        <a:pt x="20955" y="40291"/>
                      </a:lnTo>
                      <a:lnTo>
                        <a:pt x="61246" y="40291"/>
                      </a:lnTo>
                      <a:lnTo>
                        <a:pt x="61246" y="56959"/>
                      </a:lnTo>
                      <a:lnTo>
                        <a:pt x="20955" y="56959"/>
                      </a:lnTo>
                      <a:lnTo>
                        <a:pt x="20955" y="99441"/>
                      </a:lnTo>
                      <a:lnTo>
                        <a:pt x="0" y="9944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36" name="任意多边形: 形状 1035">
                  <a:extLst>
                    <a:ext uri="{FF2B5EF4-FFF2-40B4-BE49-F238E27FC236}">
                      <a16:creationId xmlns:a16="http://schemas.microsoft.com/office/drawing/2014/main" id="{BAC78990-A785-4D95-86C9-45B77FFAF8BB}"/>
                    </a:ext>
                  </a:extLst>
                </p:cNvPr>
                <p:cNvSpPr/>
                <p:nvPr/>
              </p:nvSpPr>
              <p:spPr>
                <a:xfrm>
                  <a:off x="3819779" y="7538180"/>
                  <a:ext cx="95059" cy="102584"/>
                </a:xfrm>
                <a:custGeom>
                  <a:avLst/>
                  <a:gdLst>
                    <a:gd name="connsiteX0" fmla="*/ 0 w 95059"/>
                    <a:gd name="connsiteY0" fmla="*/ 52102 h 102584"/>
                    <a:gd name="connsiteX1" fmla="*/ 47816 w 95059"/>
                    <a:gd name="connsiteY1" fmla="*/ 0 h 102584"/>
                    <a:gd name="connsiteX2" fmla="*/ 95059 w 95059"/>
                    <a:gd name="connsiteY2" fmla="*/ 52102 h 102584"/>
                    <a:gd name="connsiteX3" fmla="*/ 47816 w 95059"/>
                    <a:gd name="connsiteY3" fmla="*/ 102584 h 102584"/>
                    <a:gd name="connsiteX4" fmla="*/ 0 w 95059"/>
                    <a:gd name="connsiteY4" fmla="*/ 52102 h 102584"/>
                    <a:gd name="connsiteX5" fmla="*/ 22574 w 95059"/>
                    <a:gd name="connsiteY5" fmla="*/ 52102 h 102584"/>
                    <a:gd name="connsiteX6" fmla="*/ 47816 w 95059"/>
                    <a:gd name="connsiteY6" fmla="*/ 88106 h 102584"/>
                    <a:gd name="connsiteX7" fmla="*/ 72485 w 95059"/>
                    <a:gd name="connsiteY7" fmla="*/ 52102 h 102584"/>
                    <a:gd name="connsiteX8" fmla="*/ 47816 w 95059"/>
                    <a:gd name="connsiteY8" fmla="*/ 15621 h 102584"/>
                    <a:gd name="connsiteX9" fmla="*/ 22574 w 95059"/>
                    <a:gd name="connsiteY9" fmla="*/ 52102 h 102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5059" h="102584">
                      <a:moveTo>
                        <a:pt x="0" y="52102"/>
                      </a:moveTo>
                      <a:cubicBezTo>
                        <a:pt x="1143" y="18097"/>
                        <a:pt x="17050" y="667"/>
                        <a:pt x="47816" y="0"/>
                      </a:cubicBezTo>
                      <a:cubicBezTo>
                        <a:pt x="78200" y="762"/>
                        <a:pt x="94012" y="18097"/>
                        <a:pt x="95059" y="52102"/>
                      </a:cubicBezTo>
                      <a:cubicBezTo>
                        <a:pt x="94012" y="85058"/>
                        <a:pt x="78200" y="101917"/>
                        <a:pt x="47816" y="102584"/>
                      </a:cubicBezTo>
                      <a:cubicBezTo>
                        <a:pt x="16669" y="102013"/>
                        <a:pt x="762" y="85058"/>
                        <a:pt x="0" y="52102"/>
                      </a:cubicBezTo>
                      <a:close/>
                      <a:moveTo>
                        <a:pt x="22574" y="52102"/>
                      </a:moveTo>
                      <a:cubicBezTo>
                        <a:pt x="22574" y="76105"/>
                        <a:pt x="30956" y="88106"/>
                        <a:pt x="47816" y="88106"/>
                      </a:cubicBezTo>
                      <a:cubicBezTo>
                        <a:pt x="64294" y="88106"/>
                        <a:pt x="72485" y="76105"/>
                        <a:pt x="72485" y="52102"/>
                      </a:cubicBezTo>
                      <a:cubicBezTo>
                        <a:pt x="72485" y="27718"/>
                        <a:pt x="64294" y="15621"/>
                        <a:pt x="47816" y="15621"/>
                      </a:cubicBezTo>
                      <a:cubicBezTo>
                        <a:pt x="30956" y="15621"/>
                        <a:pt x="22574" y="27718"/>
                        <a:pt x="22574" y="5210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37" name="任意多边形: 形状 1036">
                  <a:extLst>
                    <a:ext uri="{FF2B5EF4-FFF2-40B4-BE49-F238E27FC236}">
                      <a16:creationId xmlns:a16="http://schemas.microsoft.com/office/drawing/2014/main" id="{6A2DFE51-0EBC-4B5A-B2EA-F782BC410727}"/>
                    </a:ext>
                  </a:extLst>
                </p:cNvPr>
                <p:cNvSpPr/>
                <p:nvPr/>
              </p:nvSpPr>
              <p:spPr>
                <a:xfrm>
                  <a:off x="3928840" y="7540275"/>
                  <a:ext cx="79914" cy="99441"/>
                </a:xfrm>
                <a:custGeom>
                  <a:avLst/>
                  <a:gdLst>
                    <a:gd name="connsiteX0" fmla="*/ 21527 w 79914"/>
                    <a:gd name="connsiteY0" fmla="*/ 99441 h 99441"/>
                    <a:gd name="connsiteX1" fmla="*/ 0 w 79914"/>
                    <a:gd name="connsiteY1" fmla="*/ 99441 h 99441"/>
                    <a:gd name="connsiteX2" fmla="*/ 0 w 79914"/>
                    <a:gd name="connsiteY2" fmla="*/ 0 h 99441"/>
                    <a:gd name="connsiteX3" fmla="*/ 42482 w 79914"/>
                    <a:gd name="connsiteY3" fmla="*/ 0 h 99441"/>
                    <a:gd name="connsiteX4" fmla="*/ 76867 w 79914"/>
                    <a:gd name="connsiteY4" fmla="*/ 25813 h 99441"/>
                    <a:gd name="connsiteX5" fmla="*/ 56388 w 79914"/>
                    <a:gd name="connsiteY5" fmla="*/ 50006 h 99441"/>
                    <a:gd name="connsiteX6" fmla="*/ 56388 w 79914"/>
                    <a:gd name="connsiteY6" fmla="*/ 50578 h 99441"/>
                    <a:gd name="connsiteX7" fmla="*/ 74104 w 79914"/>
                    <a:gd name="connsiteY7" fmla="*/ 72580 h 99441"/>
                    <a:gd name="connsiteX8" fmla="*/ 74581 w 79914"/>
                    <a:gd name="connsiteY8" fmla="*/ 75819 h 99441"/>
                    <a:gd name="connsiteX9" fmla="*/ 79915 w 79914"/>
                    <a:gd name="connsiteY9" fmla="*/ 99441 h 99441"/>
                    <a:gd name="connsiteX10" fmla="*/ 56864 w 79914"/>
                    <a:gd name="connsiteY10" fmla="*/ 99441 h 99441"/>
                    <a:gd name="connsiteX11" fmla="*/ 53054 w 79914"/>
                    <a:gd name="connsiteY11" fmla="*/ 72580 h 99441"/>
                    <a:gd name="connsiteX12" fmla="*/ 43910 w 79914"/>
                    <a:gd name="connsiteY12" fmla="*/ 59722 h 99441"/>
                    <a:gd name="connsiteX13" fmla="*/ 21336 w 79914"/>
                    <a:gd name="connsiteY13" fmla="*/ 59722 h 99441"/>
                    <a:gd name="connsiteX14" fmla="*/ 21336 w 79914"/>
                    <a:gd name="connsiteY14" fmla="*/ 99441 h 99441"/>
                    <a:gd name="connsiteX15" fmla="*/ 21527 w 79914"/>
                    <a:gd name="connsiteY15" fmla="*/ 43053 h 99441"/>
                    <a:gd name="connsiteX16" fmla="*/ 39243 w 79914"/>
                    <a:gd name="connsiteY16" fmla="*/ 43053 h 99441"/>
                    <a:gd name="connsiteX17" fmla="*/ 54292 w 79914"/>
                    <a:gd name="connsiteY17" fmla="*/ 29146 h 99441"/>
                    <a:gd name="connsiteX18" fmla="*/ 39243 w 79914"/>
                    <a:gd name="connsiteY18" fmla="*/ 16764 h 99441"/>
                    <a:gd name="connsiteX19" fmla="*/ 21527 w 79914"/>
                    <a:gd name="connsiteY19" fmla="*/ 16764 h 99441"/>
                    <a:gd name="connsiteX20" fmla="*/ 21527 w 79914"/>
                    <a:gd name="connsiteY20" fmla="*/ 43053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79914" h="99441">
                      <a:moveTo>
                        <a:pt x="21527" y="99441"/>
                      </a:move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42482" y="0"/>
                      </a:lnTo>
                      <a:cubicBezTo>
                        <a:pt x="65056" y="381"/>
                        <a:pt x="76486" y="8954"/>
                        <a:pt x="76867" y="25813"/>
                      </a:cubicBezTo>
                      <a:cubicBezTo>
                        <a:pt x="76486" y="38671"/>
                        <a:pt x="69723" y="46768"/>
                        <a:pt x="56388" y="50006"/>
                      </a:cubicBezTo>
                      <a:lnTo>
                        <a:pt x="56388" y="50578"/>
                      </a:lnTo>
                      <a:cubicBezTo>
                        <a:pt x="67532" y="50959"/>
                        <a:pt x="73438" y="58293"/>
                        <a:pt x="74104" y="72580"/>
                      </a:cubicBezTo>
                      <a:cubicBezTo>
                        <a:pt x="74486" y="74009"/>
                        <a:pt x="74581" y="75152"/>
                        <a:pt x="74581" y="75819"/>
                      </a:cubicBezTo>
                      <a:cubicBezTo>
                        <a:pt x="75724" y="87630"/>
                        <a:pt x="77438" y="95536"/>
                        <a:pt x="79915" y="99441"/>
                      </a:cubicBezTo>
                      <a:lnTo>
                        <a:pt x="56864" y="99441"/>
                      </a:lnTo>
                      <a:cubicBezTo>
                        <a:pt x="54674" y="90869"/>
                        <a:pt x="53435" y="81915"/>
                        <a:pt x="53054" y="72580"/>
                      </a:cubicBezTo>
                      <a:cubicBezTo>
                        <a:pt x="52292" y="63913"/>
                        <a:pt x="49244" y="59722"/>
                        <a:pt x="43910" y="59722"/>
                      </a:cubicBezTo>
                      <a:lnTo>
                        <a:pt x="21336" y="59722"/>
                      </a:lnTo>
                      <a:lnTo>
                        <a:pt x="21336" y="99441"/>
                      </a:lnTo>
                      <a:close/>
                      <a:moveTo>
                        <a:pt x="21527" y="43053"/>
                      </a:moveTo>
                      <a:lnTo>
                        <a:pt x="39243" y="43053"/>
                      </a:lnTo>
                      <a:cubicBezTo>
                        <a:pt x="49244" y="43053"/>
                        <a:pt x="54292" y="38481"/>
                        <a:pt x="54292" y="29146"/>
                      </a:cubicBezTo>
                      <a:cubicBezTo>
                        <a:pt x="54292" y="20574"/>
                        <a:pt x="49244" y="16478"/>
                        <a:pt x="39243" y="16764"/>
                      </a:cubicBezTo>
                      <a:lnTo>
                        <a:pt x="21527" y="16764"/>
                      </a:lnTo>
                      <a:lnTo>
                        <a:pt x="21527" y="43053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38" name="任意多边形: 形状 1037">
                  <a:extLst>
                    <a:ext uri="{FF2B5EF4-FFF2-40B4-BE49-F238E27FC236}">
                      <a16:creationId xmlns:a16="http://schemas.microsoft.com/office/drawing/2014/main" id="{3FEDC08D-9483-4D94-BD38-AE01574F5E44}"/>
                    </a:ext>
                  </a:extLst>
                </p:cNvPr>
                <p:cNvSpPr/>
                <p:nvPr/>
              </p:nvSpPr>
              <p:spPr>
                <a:xfrm>
                  <a:off x="4020184" y="7540371"/>
                  <a:ext cx="68294" cy="99345"/>
                </a:xfrm>
                <a:custGeom>
                  <a:avLst/>
                  <a:gdLst>
                    <a:gd name="connsiteX0" fmla="*/ 0 w 68294"/>
                    <a:gd name="connsiteY0" fmla="*/ 0 h 99345"/>
                    <a:gd name="connsiteX1" fmla="*/ 66675 w 68294"/>
                    <a:gd name="connsiteY1" fmla="*/ 0 h 99345"/>
                    <a:gd name="connsiteX2" fmla="*/ 66675 w 68294"/>
                    <a:gd name="connsiteY2" fmla="*/ 16669 h 99345"/>
                    <a:gd name="connsiteX3" fmla="*/ 21527 w 68294"/>
                    <a:gd name="connsiteY3" fmla="*/ 16669 h 99345"/>
                    <a:gd name="connsiteX4" fmla="*/ 21527 w 68294"/>
                    <a:gd name="connsiteY4" fmla="*/ 39719 h 99345"/>
                    <a:gd name="connsiteX5" fmla="*/ 63437 w 68294"/>
                    <a:gd name="connsiteY5" fmla="*/ 39719 h 99345"/>
                    <a:gd name="connsiteX6" fmla="*/ 63437 w 68294"/>
                    <a:gd name="connsiteY6" fmla="*/ 56388 h 99345"/>
                    <a:gd name="connsiteX7" fmla="*/ 21527 w 68294"/>
                    <a:gd name="connsiteY7" fmla="*/ 56388 h 99345"/>
                    <a:gd name="connsiteX8" fmla="*/ 21527 w 68294"/>
                    <a:gd name="connsiteY8" fmla="*/ 82677 h 99345"/>
                    <a:gd name="connsiteX9" fmla="*/ 68294 w 68294"/>
                    <a:gd name="connsiteY9" fmla="*/ 82677 h 99345"/>
                    <a:gd name="connsiteX10" fmla="*/ 68294 w 68294"/>
                    <a:gd name="connsiteY10" fmla="*/ 99346 h 99345"/>
                    <a:gd name="connsiteX11" fmla="*/ 95 w 68294"/>
                    <a:gd name="connsiteY11" fmla="*/ 99346 h 99345"/>
                    <a:gd name="connsiteX12" fmla="*/ 95 w 68294"/>
                    <a:gd name="connsiteY12" fmla="*/ 0 h 993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68294" h="99345">
                      <a:moveTo>
                        <a:pt x="0" y="0"/>
                      </a:moveTo>
                      <a:lnTo>
                        <a:pt x="66675" y="0"/>
                      </a:lnTo>
                      <a:lnTo>
                        <a:pt x="66675" y="16669"/>
                      </a:lnTo>
                      <a:lnTo>
                        <a:pt x="21527" y="16669"/>
                      </a:lnTo>
                      <a:lnTo>
                        <a:pt x="21527" y="39719"/>
                      </a:lnTo>
                      <a:lnTo>
                        <a:pt x="63437" y="39719"/>
                      </a:lnTo>
                      <a:lnTo>
                        <a:pt x="63437" y="56388"/>
                      </a:lnTo>
                      <a:lnTo>
                        <a:pt x="21527" y="56388"/>
                      </a:lnTo>
                      <a:lnTo>
                        <a:pt x="21527" y="82677"/>
                      </a:lnTo>
                      <a:lnTo>
                        <a:pt x="68294" y="82677"/>
                      </a:lnTo>
                      <a:lnTo>
                        <a:pt x="68294" y="99346"/>
                      </a:lnTo>
                      <a:lnTo>
                        <a:pt x="95" y="99346"/>
                      </a:lnTo>
                      <a:lnTo>
                        <a:pt x="95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39" name="任意多边形: 形状 1038">
                  <a:extLst>
                    <a:ext uri="{FF2B5EF4-FFF2-40B4-BE49-F238E27FC236}">
                      <a16:creationId xmlns:a16="http://schemas.microsoft.com/office/drawing/2014/main" id="{EC661C18-C81A-4686-BF81-557827EB62D7}"/>
                    </a:ext>
                  </a:extLst>
                </p:cNvPr>
                <p:cNvSpPr/>
                <p:nvPr/>
              </p:nvSpPr>
              <p:spPr>
                <a:xfrm>
                  <a:off x="4100948" y="7538180"/>
                  <a:ext cx="80598" cy="102679"/>
                </a:xfrm>
                <a:custGeom>
                  <a:avLst/>
                  <a:gdLst>
                    <a:gd name="connsiteX0" fmla="*/ 57444 w 80598"/>
                    <a:gd name="connsiteY0" fmla="*/ 30671 h 102679"/>
                    <a:gd name="connsiteX1" fmla="*/ 41347 w 80598"/>
                    <a:gd name="connsiteY1" fmla="*/ 15621 h 102679"/>
                    <a:gd name="connsiteX2" fmla="*/ 25250 w 80598"/>
                    <a:gd name="connsiteY2" fmla="*/ 28480 h 102679"/>
                    <a:gd name="connsiteX3" fmla="*/ 43538 w 80598"/>
                    <a:gd name="connsiteY3" fmla="*/ 42481 h 102679"/>
                    <a:gd name="connsiteX4" fmla="*/ 46205 w 80598"/>
                    <a:gd name="connsiteY4" fmla="*/ 42958 h 102679"/>
                    <a:gd name="connsiteX5" fmla="*/ 80590 w 80598"/>
                    <a:gd name="connsiteY5" fmla="*/ 70390 h 102679"/>
                    <a:gd name="connsiteX6" fmla="*/ 38108 w 80598"/>
                    <a:gd name="connsiteY6" fmla="*/ 102679 h 102679"/>
                    <a:gd name="connsiteX7" fmla="*/ 8 w 80598"/>
                    <a:gd name="connsiteY7" fmla="*/ 69818 h 102679"/>
                    <a:gd name="connsiteX8" fmla="*/ 21440 w 80598"/>
                    <a:gd name="connsiteY8" fmla="*/ 69818 h 102679"/>
                    <a:gd name="connsiteX9" fmla="*/ 38108 w 80598"/>
                    <a:gd name="connsiteY9" fmla="*/ 88106 h 102679"/>
                    <a:gd name="connsiteX10" fmla="*/ 58016 w 80598"/>
                    <a:gd name="connsiteY10" fmla="*/ 75247 h 102679"/>
                    <a:gd name="connsiteX11" fmla="*/ 39156 w 80598"/>
                    <a:gd name="connsiteY11" fmla="*/ 61246 h 102679"/>
                    <a:gd name="connsiteX12" fmla="*/ 35441 w 80598"/>
                    <a:gd name="connsiteY12" fmla="*/ 60198 h 102679"/>
                    <a:gd name="connsiteX13" fmla="*/ 2675 w 80598"/>
                    <a:gd name="connsiteY13" fmla="*/ 32766 h 102679"/>
                    <a:gd name="connsiteX14" fmla="*/ 44014 w 80598"/>
                    <a:gd name="connsiteY14" fmla="*/ 0 h 102679"/>
                    <a:gd name="connsiteX15" fmla="*/ 77923 w 80598"/>
                    <a:gd name="connsiteY15" fmla="*/ 30671 h 102679"/>
                    <a:gd name="connsiteX16" fmla="*/ 57444 w 80598"/>
                    <a:gd name="connsiteY16" fmla="*/ 30671 h 1026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80598" h="102679">
                      <a:moveTo>
                        <a:pt x="57444" y="30671"/>
                      </a:moveTo>
                      <a:cubicBezTo>
                        <a:pt x="57063" y="20669"/>
                        <a:pt x="51729" y="15621"/>
                        <a:pt x="41347" y="15621"/>
                      </a:cubicBezTo>
                      <a:cubicBezTo>
                        <a:pt x="30965" y="16383"/>
                        <a:pt x="25535" y="20669"/>
                        <a:pt x="25250" y="28480"/>
                      </a:cubicBezTo>
                      <a:cubicBezTo>
                        <a:pt x="24488" y="36004"/>
                        <a:pt x="30584" y="40672"/>
                        <a:pt x="43538" y="42481"/>
                      </a:cubicBezTo>
                      <a:cubicBezTo>
                        <a:pt x="43919" y="42481"/>
                        <a:pt x="44776" y="42672"/>
                        <a:pt x="46205" y="42958"/>
                      </a:cubicBezTo>
                      <a:cubicBezTo>
                        <a:pt x="69446" y="47625"/>
                        <a:pt x="80971" y="56769"/>
                        <a:pt x="80590" y="70390"/>
                      </a:cubicBezTo>
                      <a:cubicBezTo>
                        <a:pt x="80304" y="91249"/>
                        <a:pt x="66112" y="102013"/>
                        <a:pt x="38108" y="102679"/>
                      </a:cubicBezTo>
                      <a:cubicBezTo>
                        <a:pt x="12296" y="102679"/>
                        <a:pt x="-373" y="91821"/>
                        <a:pt x="8" y="69818"/>
                      </a:cubicBezTo>
                      <a:lnTo>
                        <a:pt x="21440" y="69818"/>
                      </a:lnTo>
                      <a:cubicBezTo>
                        <a:pt x="21440" y="81344"/>
                        <a:pt x="26964" y="87439"/>
                        <a:pt x="38108" y="88106"/>
                      </a:cubicBezTo>
                      <a:cubicBezTo>
                        <a:pt x="50967" y="87821"/>
                        <a:pt x="57634" y="83439"/>
                        <a:pt x="58016" y="75247"/>
                      </a:cubicBezTo>
                      <a:cubicBezTo>
                        <a:pt x="58016" y="68389"/>
                        <a:pt x="51729" y="63722"/>
                        <a:pt x="39156" y="61246"/>
                      </a:cubicBezTo>
                      <a:cubicBezTo>
                        <a:pt x="37346" y="60865"/>
                        <a:pt x="36108" y="60484"/>
                        <a:pt x="35441" y="60198"/>
                      </a:cubicBezTo>
                      <a:cubicBezTo>
                        <a:pt x="13629" y="55150"/>
                        <a:pt x="2675" y="46006"/>
                        <a:pt x="2675" y="32766"/>
                      </a:cubicBezTo>
                      <a:cubicBezTo>
                        <a:pt x="3723" y="12287"/>
                        <a:pt x="17534" y="1429"/>
                        <a:pt x="44014" y="0"/>
                      </a:cubicBezTo>
                      <a:cubicBezTo>
                        <a:pt x="65540" y="1048"/>
                        <a:pt x="76875" y="11335"/>
                        <a:pt x="77923" y="30671"/>
                      </a:cubicBezTo>
                      <a:lnTo>
                        <a:pt x="57444" y="3067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40" name="任意多边形: 形状 1039">
                  <a:extLst>
                    <a:ext uri="{FF2B5EF4-FFF2-40B4-BE49-F238E27FC236}">
                      <a16:creationId xmlns:a16="http://schemas.microsoft.com/office/drawing/2014/main" id="{23A778B3-D7EB-42D9-B03F-08BBAA4B5108}"/>
                    </a:ext>
                  </a:extLst>
                </p:cNvPr>
                <p:cNvSpPr/>
                <p:nvPr/>
              </p:nvSpPr>
              <p:spPr>
                <a:xfrm>
                  <a:off x="4188967" y="7540371"/>
                  <a:ext cx="80581" cy="99440"/>
                </a:xfrm>
                <a:custGeom>
                  <a:avLst/>
                  <a:gdLst>
                    <a:gd name="connsiteX0" fmla="*/ 0 w 80581"/>
                    <a:gd name="connsiteY0" fmla="*/ 0 h 99440"/>
                    <a:gd name="connsiteX1" fmla="*/ 80581 w 80581"/>
                    <a:gd name="connsiteY1" fmla="*/ 0 h 99440"/>
                    <a:gd name="connsiteX2" fmla="*/ 80581 w 80581"/>
                    <a:gd name="connsiteY2" fmla="*/ 16669 h 99440"/>
                    <a:gd name="connsiteX3" fmla="*/ 51054 w 80581"/>
                    <a:gd name="connsiteY3" fmla="*/ 16669 h 99440"/>
                    <a:gd name="connsiteX4" fmla="*/ 51054 w 80581"/>
                    <a:gd name="connsiteY4" fmla="*/ 99441 h 99440"/>
                    <a:gd name="connsiteX5" fmla="*/ 29528 w 80581"/>
                    <a:gd name="connsiteY5" fmla="*/ 99441 h 99440"/>
                    <a:gd name="connsiteX6" fmla="*/ 29528 w 80581"/>
                    <a:gd name="connsiteY6" fmla="*/ 16669 h 99440"/>
                    <a:gd name="connsiteX7" fmla="*/ 0 w 80581"/>
                    <a:gd name="connsiteY7" fmla="*/ 16669 h 99440"/>
                    <a:gd name="connsiteX8" fmla="*/ 0 w 80581"/>
                    <a:gd name="connsiteY8" fmla="*/ 0 h 99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0581" h="99440">
                      <a:moveTo>
                        <a:pt x="0" y="0"/>
                      </a:moveTo>
                      <a:lnTo>
                        <a:pt x="80581" y="0"/>
                      </a:lnTo>
                      <a:lnTo>
                        <a:pt x="80581" y="16669"/>
                      </a:lnTo>
                      <a:lnTo>
                        <a:pt x="51054" y="16669"/>
                      </a:lnTo>
                      <a:lnTo>
                        <a:pt x="51054" y="99441"/>
                      </a:lnTo>
                      <a:lnTo>
                        <a:pt x="29528" y="99441"/>
                      </a:lnTo>
                      <a:lnTo>
                        <a:pt x="29528" y="16669"/>
                      </a:lnTo>
                      <a:lnTo>
                        <a:pt x="0" y="1666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41" name="任意多边形: 形状 1040">
                  <a:extLst>
                    <a:ext uri="{FF2B5EF4-FFF2-40B4-BE49-F238E27FC236}">
                      <a16:creationId xmlns:a16="http://schemas.microsoft.com/office/drawing/2014/main" id="{BDB9C432-6689-4AC6-A49C-FF3BB3644875}"/>
                    </a:ext>
                  </a:extLst>
                </p:cNvPr>
                <p:cNvSpPr/>
                <p:nvPr/>
              </p:nvSpPr>
              <p:spPr>
                <a:xfrm>
                  <a:off x="4279265" y="7540275"/>
                  <a:ext cx="80009" cy="99441"/>
                </a:xfrm>
                <a:custGeom>
                  <a:avLst/>
                  <a:gdLst>
                    <a:gd name="connsiteX0" fmla="*/ 21526 w 80009"/>
                    <a:gd name="connsiteY0" fmla="*/ 99441 h 99441"/>
                    <a:gd name="connsiteX1" fmla="*/ 0 w 80009"/>
                    <a:gd name="connsiteY1" fmla="*/ 99441 h 99441"/>
                    <a:gd name="connsiteX2" fmla="*/ 0 w 80009"/>
                    <a:gd name="connsiteY2" fmla="*/ 0 h 99441"/>
                    <a:gd name="connsiteX3" fmla="*/ 42481 w 80009"/>
                    <a:gd name="connsiteY3" fmla="*/ 0 h 99441"/>
                    <a:gd name="connsiteX4" fmla="*/ 76867 w 80009"/>
                    <a:gd name="connsiteY4" fmla="*/ 25813 h 99441"/>
                    <a:gd name="connsiteX5" fmla="*/ 56388 w 80009"/>
                    <a:gd name="connsiteY5" fmla="*/ 50006 h 99441"/>
                    <a:gd name="connsiteX6" fmla="*/ 56388 w 80009"/>
                    <a:gd name="connsiteY6" fmla="*/ 50578 h 99441"/>
                    <a:gd name="connsiteX7" fmla="*/ 74104 w 80009"/>
                    <a:gd name="connsiteY7" fmla="*/ 72580 h 99441"/>
                    <a:gd name="connsiteX8" fmla="*/ 74676 w 80009"/>
                    <a:gd name="connsiteY8" fmla="*/ 75819 h 99441"/>
                    <a:gd name="connsiteX9" fmla="*/ 80010 w 80009"/>
                    <a:gd name="connsiteY9" fmla="*/ 99441 h 99441"/>
                    <a:gd name="connsiteX10" fmla="*/ 56864 w 80009"/>
                    <a:gd name="connsiteY10" fmla="*/ 99441 h 99441"/>
                    <a:gd name="connsiteX11" fmla="*/ 53149 w 80009"/>
                    <a:gd name="connsiteY11" fmla="*/ 72580 h 99441"/>
                    <a:gd name="connsiteX12" fmla="*/ 44005 w 80009"/>
                    <a:gd name="connsiteY12" fmla="*/ 59722 h 99441"/>
                    <a:gd name="connsiteX13" fmla="*/ 21431 w 80009"/>
                    <a:gd name="connsiteY13" fmla="*/ 59722 h 99441"/>
                    <a:gd name="connsiteX14" fmla="*/ 21431 w 80009"/>
                    <a:gd name="connsiteY14" fmla="*/ 99441 h 99441"/>
                    <a:gd name="connsiteX15" fmla="*/ 21526 w 80009"/>
                    <a:gd name="connsiteY15" fmla="*/ 43053 h 99441"/>
                    <a:gd name="connsiteX16" fmla="*/ 39243 w 80009"/>
                    <a:gd name="connsiteY16" fmla="*/ 43053 h 99441"/>
                    <a:gd name="connsiteX17" fmla="*/ 54292 w 80009"/>
                    <a:gd name="connsiteY17" fmla="*/ 29146 h 99441"/>
                    <a:gd name="connsiteX18" fmla="*/ 39243 w 80009"/>
                    <a:gd name="connsiteY18" fmla="*/ 16764 h 99441"/>
                    <a:gd name="connsiteX19" fmla="*/ 21526 w 80009"/>
                    <a:gd name="connsiteY19" fmla="*/ 16764 h 99441"/>
                    <a:gd name="connsiteX20" fmla="*/ 21526 w 80009"/>
                    <a:gd name="connsiteY20" fmla="*/ 43053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0009" h="99441">
                      <a:moveTo>
                        <a:pt x="21526" y="99441"/>
                      </a:move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42481" y="0"/>
                      </a:lnTo>
                      <a:cubicBezTo>
                        <a:pt x="65056" y="381"/>
                        <a:pt x="76486" y="8954"/>
                        <a:pt x="76867" y="25813"/>
                      </a:cubicBezTo>
                      <a:cubicBezTo>
                        <a:pt x="76486" y="38671"/>
                        <a:pt x="69628" y="46768"/>
                        <a:pt x="56388" y="50006"/>
                      </a:cubicBezTo>
                      <a:lnTo>
                        <a:pt x="56388" y="50578"/>
                      </a:lnTo>
                      <a:cubicBezTo>
                        <a:pt x="67532" y="50959"/>
                        <a:pt x="73438" y="58293"/>
                        <a:pt x="74104" y="72580"/>
                      </a:cubicBezTo>
                      <a:cubicBezTo>
                        <a:pt x="74486" y="74009"/>
                        <a:pt x="74676" y="75152"/>
                        <a:pt x="74676" y="75819"/>
                      </a:cubicBezTo>
                      <a:cubicBezTo>
                        <a:pt x="75724" y="87630"/>
                        <a:pt x="77533" y="95536"/>
                        <a:pt x="80010" y="99441"/>
                      </a:cubicBezTo>
                      <a:lnTo>
                        <a:pt x="56864" y="99441"/>
                      </a:lnTo>
                      <a:cubicBezTo>
                        <a:pt x="54673" y="90869"/>
                        <a:pt x="53435" y="81915"/>
                        <a:pt x="53149" y="72580"/>
                      </a:cubicBezTo>
                      <a:cubicBezTo>
                        <a:pt x="52388" y="63913"/>
                        <a:pt x="49339" y="59722"/>
                        <a:pt x="44005" y="59722"/>
                      </a:cubicBezTo>
                      <a:lnTo>
                        <a:pt x="21431" y="59722"/>
                      </a:lnTo>
                      <a:lnTo>
                        <a:pt x="21431" y="99441"/>
                      </a:lnTo>
                      <a:close/>
                      <a:moveTo>
                        <a:pt x="21526" y="43053"/>
                      </a:moveTo>
                      <a:lnTo>
                        <a:pt x="39243" y="43053"/>
                      </a:lnTo>
                      <a:cubicBezTo>
                        <a:pt x="49244" y="43053"/>
                        <a:pt x="54292" y="38481"/>
                        <a:pt x="54292" y="29146"/>
                      </a:cubicBezTo>
                      <a:cubicBezTo>
                        <a:pt x="54292" y="20574"/>
                        <a:pt x="49244" y="16478"/>
                        <a:pt x="39243" y="16764"/>
                      </a:cubicBezTo>
                      <a:lnTo>
                        <a:pt x="21526" y="16764"/>
                      </a:lnTo>
                      <a:lnTo>
                        <a:pt x="21526" y="43053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42" name="任意多边形: 形状 1041">
                  <a:extLst>
                    <a:ext uri="{FF2B5EF4-FFF2-40B4-BE49-F238E27FC236}">
                      <a16:creationId xmlns:a16="http://schemas.microsoft.com/office/drawing/2014/main" id="{EE714964-3E4D-43E2-BF83-814AD7E2DE85}"/>
                    </a:ext>
                  </a:extLst>
                </p:cNvPr>
                <p:cNvSpPr/>
                <p:nvPr/>
              </p:nvSpPr>
              <p:spPr>
                <a:xfrm>
                  <a:off x="4364227" y="7540371"/>
                  <a:ext cx="88106" cy="99440"/>
                </a:xfrm>
                <a:custGeom>
                  <a:avLst/>
                  <a:gdLst>
                    <a:gd name="connsiteX0" fmla="*/ 33814 w 88106"/>
                    <a:gd name="connsiteY0" fmla="*/ 67151 h 99440"/>
                    <a:gd name="connsiteX1" fmla="*/ 0 w 88106"/>
                    <a:gd name="connsiteY1" fmla="*/ 0 h 99440"/>
                    <a:gd name="connsiteX2" fmla="*/ 25241 w 88106"/>
                    <a:gd name="connsiteY2" fmla="*/ 0 h 99440"/>
                    <a:gd name="connsiteX3" fmla="*/ 45625 w 88106"/>
                    <a:gd name="connsiteY3" fmla="*/ 45625 h 99440"/>
                    <a:gd name="connsiteX4" fmla="*/ 66675 w 88106"/>
                    <a:gd name="connsiteY4" fmla="*/ 0 h 99440"/>
                    <a:gd name="connsiteX5" fmla="*/ 88106 w 88106"/>
                    <a:gd name="connsiteY5" fmla="*/ 0 h 99440"/>
                    <a:gd name="connsiteX6" fmla="*/ 54769 w 88106"/>
                    <a:gd name="connsiteY6" fmla="*/ 67151 h 99440"/>
                    <a:gd name="connsiteX7" fmla="*/ 54769 w 88106"/>
                    <a:gd name="connsiteY7" fmla="*/ 99441 h 99440"/>
                    <a:gd name="connsiteX8" fmla="*/ 33814 w 88106"/>
                    <a:gd name="connsiteY8" fmla="*/ 99441 h 99440"/>
                    <a:gd name="connsiteX9" fmla="*/ 33814 w 88106"/>
                    <a:gd name="connsiteY9" fmla="*/ 67151 h 99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8106" h="99440">
                      <a:moveTo>
                        <a:pt x="33814" y="67151"/>
                      </a:moveTo>
                      <a:lnTo>
                        <a:pt x="0" y="0"/>
                      </a:lnTo>
                      <a:lnTo>
                        <a:pt x="25241" y="0"/>
                      </a:lnTo>
                      <a:lnTo>
                        <a:pt x="45625" y="45625"/>
                      </a:lnTo>
                      <a:lnTo>
                        <a:pt x="66675" y="0"/>
                      </a:lnTo>
                      <a:lnTo>
                        <a:pt x="88106" y="0"/>
                      </a:lnTo>
                      <a:lnTo>
                        <a:pt x="54769" y="67151"/>
                      </a:lnTo>
                      <a:lnTo>
                        <a:pt x="54769" y="99441"/>
                      </a:lnTo>
                      <a:lnTo>
                        <a:pt x="33814" y="99441"/>
                      </a:lnTo>
                      <a:lnTo>
                        <a:pt x="33814" y="6715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43" name="任意多边形: 形状 1042">
                  <a:extLst>
                    <a:ext uri="{FF2B5EF4-FFF2-40B4-BE49-F238E27FC236}">
                      <a16:creationId xmlns:a16="http://schemas.microsoft.com/office/drawing/2014/main" id="{BC429FCA-F376-4C13-B8A2-FA2499ADA467}"/>
                    </a:ext>
                  </a:extLst>
                </p:cNvPr>
                <p:cNvSpPr/>
                <p:nvPr/>
              </p:nvSpPr>
              <p:spPr>
                <a:xfrm>
                  <a:off x="4502340" y="7540371"/>
                  <a:ext cx="86582" cy="100488"/>
                </a:xfrm>
                <a:custGeom>
                  <a:avLst/>
                  <a:gdLst>
                    <a:gd name="connsiteX0" fmla="*/ 86582 w 86582"/>
                    <a:gd name="connsiteY0" fmla="*/ 0 h 100488"/>
                    <a:gd name="connsiteX1" fmla="*/ 86582 w 86582"/>
                    <a:gd name="connsiteY1" fmla="*/ 62293 h 100488"/>
                    <a:gd name="connsiteX2" fmla="*/ 43529 w 86582"/>
                    <a:gd name="connsiteY2" fmla="*/ 100489 h 100488"/>
                    <a:gd name="connsiteX3" fmla="*/ 0 w 86582"/>
                    <a:gd name="connsiteY3" fmla="*/ 62293 h 100488"/>
                    <a:gd name="connsiteX4" fmla="*/ 0 w 86582"/>
                    <a:gd name="connsiteY4" fmla="*/ 0 h 100488"/>
                    <a:gd name="connsiteX5" fmla="*/ 21527 w 86582"/>
                    <a:gd name="connsiteY5" fmla="*/ 0 h 100488"/>
                    <a:gd name="connsiteX6" fmla="*/ 21527 w 86582"/>
                    <a:gd name="connsiteY6" fmla="*/ 54292 h 100488"/>
                    <a:gd name="connsiteX7" fmla="*/ 25813 w 86582"/>
                    <a:gd name="connsiteY7" fmla="*/ 78486 h 100488"/>
                    <a:gd name="connsiteX8" fmla="*/ 43529 w 86582"/>
                    <a:gd name="connsiteY8" fmla="*/ 86011 h 100488"/>
                    <a:gd name="connsiteX9" fmla="*/ 60674 w 86582"/>
                    <a:gd name="connsiteY9" fmla="*/ 78486 h 100488"/>
                    <a:gd name="connsiteX10" fmla="*/ 64961 w 86582"/>
                    <a:gd name="connsiteY10" fmla="*/ 54292 h 100488"/>
                    <a:gd name="connsiteX11" fmla="*/ 64961 w 86582"/>
                    <a:gd name="connsiteY11" fmla="*/ 0 h 100488"/>
                    <a:gd name="connsiteX12" fmla="*/ 86582 w 86582"/>
                    <a:gd name="connsiteY12" fmla="*/ 0 h 1004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6582" h="100488">
                      <a:moveTo>
                        <a:pt x="86582" y="0"/>
                      </a:moveTo>
                      <a:lnTo>
                        <a:pt x="86582" y="62293"/>
                      </a:lnTo>
                      <a:cubicBezTo>
                        <a:pt x="85439" y="87058"/>
                        <a:pt x="71152" y="99822"/>
                        <a:pt x="43529" y="100489"/>
                      </a:cubicBezTo>
                      <a:cubicBezTo>
                        <a:pt x="15240" y="99822"/>
                        <a:pt x="667" y="87058"/>
                        <a:pt x="0" y="62293"/>
                      </a:cubicBezTo>
                      <a:lnTo>
                        <a:pt x="0" y="0"/>
                      </a:lnTo>
                      <a:lnTo>
                        <a:pt x="21527" y="0"/>
                      </a:lnTo>
                      <a:lnTo>
                        <a:pt x="21527" y="54292"/>
                      </a:lnTo>
                      <a:cubicBezTo>
                        <a:pt x="21146" y="66103"/>
                        <a:pt x="22574" y="74200"/>
                        <a:pt x="25813" y="78486"/>
                      </a:cubicBezTo>
                      <a:cubicBezTo>
                        <a:pt x="29432" y="83534"/>
                        <a:pt x="35338" y="86011"/>
                        <a:pt x="43529" y="86011"/>
                      </a:cubicBezTo>
                      <a:cubicBezTo>
                        <a:pt x="51816" y="86011"/>
                        <a:pt x="57436" y="83534"/>
                        <a:pt x="60674" y="78486"/>
                      </a:cubicBezTo>
                      <a:cubicBezTo>
                        <a:pt x="63913" y="74200"/>
                        <a:pt x="65342" y="66199"/>
                        <a:pt x="64961" y="54292"/>
                      </a:cubicBezTo>
                      <a:lnTo>
                        <a:pt x="64961" y="0"/>
                      </a:lnTo>
                      <a:lnTo>
                        <a:pt x="86582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44" name="任意多边形: 形状 1043">
                  <a:extLst>
                    <a:ext uri="{FF2B5EF4-FFF2-40B4-BE49-F238E27FC236}">
                      <a16:creationId xmlns:a16="http://schemas.microsoft.com/office/drawing/2014/main" id="{4CBFC6A8-2F8E-4752-91FD-EFC2CFA38ED0}"/>
                    </a:ext>
                  </a:extLst>
                </p:cNvPr>
                <p:cNvSpPr/>
                <p:nvPr/>
              </p:nvSpPr>
              <p:spPr>
                <a:xfrm>
                  <a:off x="4608258" y="7540275"/>
                  <a:ext cx="89725" cy="99441"/>
                </a:xfrm>
                <a:custGeom>
                  <a:avLst/>
                  <a:gdLst>
                    <a:gd name="connsiteX0" fmla="*/ 59055 w 89725"/>
                    <a:gd name="connsiteY0" fmla="*/ 99441 h 99441"/>
                    <a:gd name="connsiteX1" fmla="*/ 20383 w 89725"/>
                    <a:gd name="connsiteY1" fmla="*/ 16669 h 99441"/>
                    <a:gd name="connsiteX2" fmla="*/ 19907 w 89725"/>
                    <a:gd name="connsiteY2" fmla="*/ 17240 h 99441"/>
                    <a:gd name="connsiteX3" fmla="*/ 19907 w 89725"/>
                    <a:gd name="connsiteY3" fmla="*/ 99441 h 99441"/>
                    <a:gd name="connsiteX4" fmla="*/ 0 w 89725"/>
                    <a:gd name="connsiteY4" fmla="*/ 99441 h 99441"/>
                    <a:gd name="connsiteX5" fmla="*/ 0 w 89725"/>
                    <a:gd name="connsiteY5" fmla="*/ 0 h 99441"/>
                    <a:gd name="connsiteX6" fmla="*/ 31718 w 89725"/>
                    <a:gd name="connsiteY6" fmla="*/ 0 h 99441"/>
                    <a:gd name="connsiteX7" fmla="*/ 69342 w 89725"/>
                    <a:gd name="connsiteY7" fmla="*/ 78391 h 99441"/>
                    <a:gd name="connsiteX8" fmla="*/ 69818 w 89725"/>
                    <a:gd name="connsiteY8" fmla="*/ 77914 h 99441"/>
                    <a:gd name="connsiteX9" fmla="*/ 69818 w 89725"/>
                    <a:gd name="connsiteY9" fmla="*/ 0 h 99441"/>
                    <a:gd name="connsiteX10" fmla="*/ 89725 w 89725"/>
                    <a:gd name="connsiteY10" fmla="*/ 0 h 99441"/>
                    <a:gd name="connsiteX11" fmla="*/ 89725 w 89725"/>
                    <a:gd name="connsiteY11" fmla="*/ 99441 h 99441"/>
                    <a:gd name="connsiteX12" fmla="*/ 59055 w 89725"/>
                    <a:gd name="connsiteY12" fmla="*/ 99441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9725" h="99441">
                      <a:moveTo>
                        <a:pt x="59055" y="99441"/>
                      </a:moveTo>
                      <a:lnTo>
                        <a:pt x="20383" y="16669"/>
                      </a:lnTo>
                      <a:lnTo>
                        <a:pt x="19907" y="17240"/>
                      </a:lnTo>
                      <a:lnTo>
                        <a:pt x="19907" y="99441"/>
                      </a:ln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31718" y="0"/>
                      </a:lnTo>
                      <a:lnTo>
                        <a:pt x="69342" y="78391"/>
                      </a:lnTo>
                      <a:lnTo>
                        <a:pt x="69818" y="77914"/>
                      </a:lnTo>
                      <a:lnTo>
                        <a:pt x="69818" y="0"/>
                      </a:lnTo>
                      <a:lnTo>
                        <a:pt x="89725" y="0"/>
                      </a:lnTo>
                      <a:lnTo>
                        <a:pt x="89725" y="99441"/>
                      </a:lnTo>
                      <a:lnTo>
                        <a:pt x="59055" y="9944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45" name="任意多边形: 形状 1044">
                  <a:extLst>
                    <a:ext uri="{FF2B5EF4-FFF2-40B4-BE49-F238E27FC236}">
                      <a16:creationId xmlns:a16="http://schemas.microsoft.com/office/drawing/2014/main" id="{02704A36-48D0-4969-89AF-1B0ECA496134}"/>
                    </a:ext>
                  </a:extLst>
                </p:cNvPr>
                <p:cNvSpPr/>
                <p:nvPr/>
              </p:nvSpPr>
              <p:spPr>
                <a:xfrm>
                  <a:off x="4714652" y="7540275"/>
                  <a:ext cx="21431" cy="99441"/>
                </a:xfrm>
                <a:custGeom>
                  <a:avLst/>
                  <a:gdLst>
                    <a:gd name="connsiteX0" fmla="*/ 21431 w 21431"/>
                    <a:gd name="connsiteY0" fmla="*/ 99441 h 99441"/>
                    <a:gd name="connsiteX1" fmla="*/ 0 w 21431"/>
                    <a:gd name="connsiteY1" fmla="*/ 99441 h 99441"/>
                    <a:gd name="connsiteX2" fmla="*/ 0 w 21431"/>
                    <a:gd name="connsiteY2" fmla="*/ 0 h 99441"/>
                    <a:gd name="connsiteX3" fmla="*/ 21431 w 21431"/>
                    <a:gd name="connsiteY3" fmla="*/ 0 h 99441"/>
                    <a:gd name="connsiteX4" fmla="*/ 21431 w 21431"/>
                    <a:gd name="connsiteY4" fmla="*/ 99441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431" h="99441">
                      <a:moveTo>
                        <a:pt x="21431" y="99441"/>
                      </a:move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21431" y="0"/>
                      </a:lnTo>
                      <a:lnTo>
                        <a:pt x="21431" y="9944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46" name="任意多边形: 形状 1045">
                  <a:extLst>
                    <a:ext uri="{FF2B5EF4-FFF2-40B4-BE49-F238E27FC236}">
                      <a16:creationId xmlns:a16="http://schemas.microsoft.com/office/drawing/2014/main" id="{5E5F4827-F81F-49B8-8D5E-1F35A48EB443}"/>
                    </a:ext>
                  </a:extLst>
                </p:cNvPr>
                <p:cNvSpPr/>
                <p:nvPr/>
              </p:nvSpPr>
              <p:spPr>
                <a:xfrm>
                  <a:off x="4745799" y="7540371"/>
                  <a:ext cx="96202" cy="99440"/>
                </a:xfrm>
                <a:custGeom>
                  <a:avLst/>
                  <a:gdLst>
                    <a:gd name="connsiteX0" fmla="*/ 0 w 96202"/>
                    <a:gd name="connsiteY0" fmla="*/ 0 h 99440"/>
                    <a:gd name="connsiteX1" fmla="*/ 23146 w 96202"/>
                    <a:gd name="connsiteY1" fmla="*/ 0 h 99440"/>
                    <a:gd name="connsiteX2" fmla="*/ 48863 w 96202"/>
                    <a:gd name="connsiteY2" fmla="*/ 78391 h 99440"/>
                    <a:gd name="connsiteX3" fmla="*/ 49435 w 96202"/>
                    <a:gd name="connsiteY3" fmla="*/ 78391 h 99440"/>
                    <a:gd name="connsiteX4" fmla="*/ 75248 w 96202"/>
                    <a:gd name="connsiteY4" fmla="*/ 0 h 99440"/>
                    <a:gd name="connsiteX5" fmla="*/ 96203 w 96202"/>
                    <a:gd name="connsiteY5" fmla="*/ 0 h 99440"/>
                    <a:gd name="connsiteX6" fmla="*/ 59627 w 96202"/>
                    <a:gd name="connsiteY6" fmla="*/ 99441 h 99440"/>
                    <a:gd name="connsiteX7" fmla="*/ 36576 w 96202"/>
                    <a:gd name="connsiteY7" fmla="*/ 99441 h 99440"/>
                    <a:gd name="connsiteX8" fmla="*/ 0 w 96202"/>
                    <a:gd name="connsiteY8" fmla="*/ 0 h 99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6202" h="99440">
                      <a:moveTo>
                        <a:pt x="0" y="0"/>
                      </a:moveTo>
                      <a:lnTo>
                        <a:pt x="23146" y="0"/>
                      </a:lnTo>
                      <a:lnTo>
                        <a:pt x="48863" y="78391"/>
                      </a:lnTo>
                      <a:lnTo>
                        <a:pt x="49435" y="78391"/>
                      </a:lnTo>
                      <a:lnTo>
                        <a:pt x="75248" y="0"/>
                      </a:lnTo>
                      <a:lnTo>
                        <a:pt x="96203" y="0"/>
                      </a:lnTo>
                      <a:lnTo>
                        <a:pt x="59627" y="99441"/>
                      </a:lnTo>
                      <a:lnTo>
                        <a:pt x="36576" y="9944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47" name="任意多边形: 形状 1046">
                  <a:extLst>
                    <a:ext uri="{FF2B5EF4-FFF2-40B4-BE49-F238E27FC236}">
                      <a16:creationId xmlns:a16="http://schemas.microsoft.com/office/drawing/2014/main" id="{89B2DD90-F09A-4EF8-8D1A-41C2AD733B92}"/>
                    </a:ext>
                  </a:extLst>
                </p:cNvPr>
                <p:cNvSpPr/>
                <p:nvPr/>
              </p:nvSpPr>
              <p:spPr>
                <a:xfrm>
                  <a:off x="4851050" y="7540371"/>
                  <a:ext cx="68294" cy="99345"/>
                </a:xfrm>
                <a:custGeom>
                  <a:avLst/>
                  <a:gdLst>
                    <a:gd name="connsiteX0" fmla="*/ 0 w 68294"/>
                    <a:gd name="connsiteY0" fmla="*/ 0 h 99345"/>
                    <a:gd name="connsiteX1" fmla="*/ 66675 w 68294"/>
                    <a:gd name="connsiteY1" fmla="*/ 0 h 99345"/>
                    <a:gd name="connsiteX2" fmla="*/ 66675 w 68294"/>
                    <a:gd name="connsiteY2" fmla="*/ 16669 h 99345"/>
                    <a:gd name="connsiteX3" fmla="*/ 21527 w 68294"/>
                    <a:gd name="connsiteY3" fmla="*/ 16669 h 99345"/>
                    <a:gd name="connsiteX4" fmla="*/ 21527 w 68294"/>
                    <a:gd name="connsiteY4" fmla="*/ 39719 h 99345"/>
                    <a:gd name="connsiteX5" fmla="*/ 63437 w 68294"/>
                    <a:gd name="connsiteY5" fmla="*/ 39719 h 99345"/>
                    <a:gd name="connsiteX6" fmla="*/ 63437 w 68294"/>
                    <a:gd name="connsiteY6" fmla="*/ 56388 h 99345"/>
                    <a:gd name="connsiteX7" fmla="*/ 21527 w 68294"/>
                    <a:gd name="connsiteY7" fmla="*/ 56388 h 99345"/>
                    <a:gd name="connsiteX8" fmla="*/ 21527 w 68294"/>
                    <a:gd name="connsiteY8" fmla="*/ 82677 h 99345"/>
                    <a:gd name="connsiteX9" fmla="*/ 68294 w 68294"/>
                    <a:gd name="connsiteY9" fmla="*/ 82677 h 99345"/>
                    <a:gd name="connsiteX10" fmla="*/ 68294 w 68294"/>
                    <a:gd name="connsiteY10" fmla="*/ 99346 h 99345"/>
                    <a:gd name="connsiteX11" fmla="*/ 0 w 68294"/>
                    <a:gd name="connsiteY11" fmla="*/ 99346 h 99345"/>
                    <a:gd name="connsiteX12" fmla="*/ 0 w 68294"/>
                    <a:gd name="connsiteY12" fmla="*/ 0 h 993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68294" h="99345">
                      <a:moveTo>
                        <a:pt x="0" y="0"/>
                      </a:moveTo>
                      <a:lnTo>
                        <a:pt x="66675" y="0"/>
                      </a:lnTo>
                      <a:lnTo>
                        <a:pt x="66675" y="16669"/>
                      </a:lnTo>
                      <a:lnTo>
                        <a:pt x="21527" y="16669"/>
                      </a:lnTo>
                      <a:lnTo>
                        <a:pt x="21527" y="39719"/>
                      </a:lnTo>
                      <a:lnTo>
                        <a:pt x="63437" y="39719"/>
                      </a:lnTo>
                      <a:lnTo>
                        <a:pt x="63437" y="56388"/>
                      </a:lnTo>
                      <a:lnTo>
                        <a:pt x="21527" y="56388"/>
                      </a:lnTo>
                      <a:lnTo>
                        <a:pt x="21527" y="82677"/>
                      </a:lnTo>
                      <a:lnTo>
                        <a:pt x="68294" y="82677"/>
                      </a:lnTo>
                      <a:lnTo>
                        <a:pt x="68294" y="99346"/>
                      </a:lnTo>
                      <a:lnTo>
                        <a:pt x="0" y="9934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48" name="任意多边形: 形状 1047">
                  <a:extLst>
                    <a:ext uri="{FF2B5EF4-FFF2-40B4-BE49-F238E27FC236}">
                      <a16:creationId xmlns:a16="http://schemas.microsoft.com/office/drawing/2014/main" id="{FE2D200C-8F2C-4FA0-8805-D44BBDC2EA5B}"/>
                    </a:ext>
                  </a:extLst>
                </p:cNvPr>
                <p:cNvSpPr/>
                <p:nvPr/>
              </p:nvSpPr>
              <p:spPr>
                <a:xfrm>
                  <a:off x="4934966" y="7540275"/>
                  <a:ext cx="80009" cy="99441"/>
                </a:xfrm>
                <a:custGeom>
                  <a:avLst/>
                  <a:gdLst>
                    <a:gd name="connsiteX0" fmla="*/ 21431 w 80009"/>
                    <a:gd name="connsiteY0" fmla="*/ 99441 h 99441"/>
                    <a:gd name="connsiteX1" fmla="*/ 0 w 80009"/>
                    <a:gd name="connsiteY1" fmla="*/ 99441 h 99441"/>
                    <a:gd name="connsiteX2" fmla="*/ 0 w 80009"/>
                    <a:gd name="connsiteY2" fmla="*/ 0 h 99441"/>
                    <a:gd name="connsiteX3" fmla="*/ 42481 w 80009"/>
                    <a:gd name="connsiteY3" fmla="*/ 0 h 99441"/>
                    <a:gd name="connsiteX4" fmla="*/ 76867 w 80009"/>
                    <a:gd name="connsiteY4" fmla="*/ 25813 h 99441"/>
                    <a:gd name="connsiteX5" fmla="*/ 56483 w 80009"/>
                    <a:gd name="connsiteY5" fmla="*/ 50006 h 99441"/>
                    <a:gd name="connsiteX6" fmla="*/ 56483 w 80009"/>
                    <a:gd name="connsiteY6" fmla="*/ 50578 h 99441"/>
                    <a:gd name="connsiteX7" fmla="*/ 74200 w 80009"/>
                    <a:gd name="connsiteY7" fmla="*/ 72580 h 99441"/>
                    <a:gd name="connsiteX8" fmla="*/ 74676 w 80009"/>
                    <a:gd name="connsiteY8" fmla="*/ 75819 h 99441"/>
                    <a:gd name="connsiteX9" fmla="*/ 80010 w 80009"/>
                    <a:gd name="connsiteY9" fmla="*/ 99441 h 99441"/>
                    <a:gd name="connsiteX10" fmla="*/ 56864 w 80009"/>
                    <a:gd name="connsiteY10" fmla="*/ 99441 h 99441"/>
                    <a:gd name="connsiteX11" fmla="*/ 53054 w 80009"/>
                    <a:gd name="connsiteY11" fmla="*/ 72580 h 99441"/>
                    <a:gd name="connsiteX12" fmla="*/ 43910 w 80009"/>
                    <a:gd name="connsiteY12" fmla="*/ 59722 h 99441"/>
                    <a:gd name="connsiteX13" fmla="*/ 21336 w 80009"/>
                    <a:gd name="connsiteY13" fmla="*/ 59722 h 99441"/>
                    <a:gd name="connsiteX14" fmla="*/ 21336 w 80009"/>
                    <a:gd name="connsiteY14" fmla="*/ 99441 h 99441"/>
                    <a:gd name="connsiteX15" fmla="*/ 21431 w 80009"/>
                    <a:gd name="connsiteY15" fmla="*/ 43053 h 99441"/>
                    <a:gd name="connsiteX16" fmla="*/ 39243 w 80009"/>
                    <a:gd name="connsiteY16" fmla="*/ 43053 h 99441"/>
                    <a:gd name="connsiteX17" fmla="*/ 54293 w 80009"/>
                    <a:gd name="connsiteY17" fmla="*/ 29146 h 99441"/>
                    <a:gd name="connsiteX18" fmla="*/ 39243 w 80009"/>
                    <a:gd name="connsiteY18" fmla="*/ 16764 h 99441"/>
                    <a:gd name="connsiteX19" fmla="*/ 21431 w 80009"/>
                    <a:gd name="connsiteY19" fmla="*/ 16764 h 99441"/>
                    <a:gd name="connsiteX20" fmla="*/ 21431 w 80009"/>
                    <a:gd name="connsiteY20" fmla="*/ 43053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0009" h="99441">
                      <a:moveTo>
                        <a:pt x="21431" y="99441"/>
                      </a:move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42481" y="0"/>
                      </a:lnTo>
                      <a:cubicBezTo>
                        <a:pt x="65056" y="381"/>
                        <a:pt x="76486" y="8954"/>
                        <a:pt x="76867" y="25813"/>
                      </a:cubicBezTo>
                      <a:cubicBezTo>
                        <a:pt x="76486" y="38671"/>
                        <a:pt x="69723" y="46768"/>
                        <a:pt x="56483" y="50006"/>
                      </a:cubicBezTo>
                      <a:lnTo>
                        <a:pt x="56483" y="50578"/>
                      </a:lnTo>
                      <a:cubicBezTo>
                        <a:pt x="67532" y="50959"/>
                        <a:pt x="73533" y="58293"/>
                        <a:pt x="74200" y="72580"/>
                      </a:cubicBezTo>
                      <a:cubicBezTo>
                        <a:pt x="74486" y="74009"/>
                        <a:pt x="74676" y="75152"/>
                        <a:pt x="74676" y="75819"/>
                      </a:cubicBezTo>
                      <a:cubicBezTo>
                        <a:pt x="75724" y="87630"/>
                        <a:pt x="77533" y="95536"/>
                        <a:pt x="80010" y="99441"/>
                      </a:cubicBezTo>
                      <a:lnTo>
                        <a:pt x="56864" y="99441"/>
                      </a:lnTo>
                      <a:cubicBezTo>
                        <a:pt x="54673" y="90869"/>
                        <a:pt x="53435" y="81915"/>
                        <a:pt x="53054" y="72580"/>
                      </a:cubicBezTo>
                      <a:cubicBezTo>
                        <a:pt x="52292" y="63913"/>
                        <a:pt x="49244" y="59722"/>
                        <a:pt x="43910" y="59722"/>
                      </a:cubicBezTo>
                      <a:lnTo>
                        <a:pt x="21336" y="59722"/>
                      </a:lnTo>
                      <a:lnTo>
                        <a:pt x="21336" y="99441"/>
                      </a:lnTo>
                      <a:close/>
                      <a:moveTo>
                        <a:pt x="21431" y="43053"/>
                      </a:moveTo>
                      <a:lnTo>
                        <a:pt x="39243" y="43053"/>
                      </a:lnTo>
                      <a:cubicBezTo>
                        <a:pt x="49244" y="43053"/>
                        <a:pt x="54293" y="38481"/>
                        <a:pt x="54293" y="29146"/>
                      </a:cubicBezTo>
                      <a:cubicBezTo>
                        <a:pt x="54293" y="20574"/>
                        <a:pt x="49244" y="16478"/>
                        <a:pt x="39243" y="16764"/>
                      </a:cubicBezTo>
                      <a:lnTo>
                        <a:pt x="21431" y="16764"/>
                      </a:lnTo>
                      <a:lnTo>
                        <a:pt x="21431" y="43053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49" name="任意多边形: 形状 1048">
                  <a:extLst>
                    <a:ext uri="{FF2B5EF4-FFF2-40B4-BE49-F238E27FC236}">
                      <a16:creationId xmlns:a16="http://schemas.microsoft.com/office/drawing/2014/main" id="{64C301F7-0F39-4ACF-AFAF-76F8BD04F775}"/>
                    </a:ext>
                  </a:extLst>
                </p:cNvPr>
                <p:cNvSpPr/>
                <p:nvPr/>
              </p:nvSpPr>
              <p:spPr>
                <a:xfrm>
                  <a:off x="5023059" y="7538180"/>
                  <a:ext cx="80603" cy="102679"/>
                </a:xfrm>
                <a:custGeom>
                  <a:avLst/>
                  <a:gdLst>
                    <a:gd name="connsiteX0" fmla="*/ 57544 w 80603"/>
                    <a:gd name="connsiteY0" fmla="*/ 30671 h 102679"/>
                    <a:gd name="connsiteX1" fmla="*/ 41447 w 80603"/>
                    <a:gd name="connsiteY1" fmla="*/ 15621 h 102679"/>
                    <a:gd name="connsiteX2" fmla="*/ 25254 w 80603"/>
                    <a:gd name="connsiteY2" fmla="*/ 28480 h 102679"/>
                    <a:gd name="connsiteX3" fmla="*/ 43542 w 80603"/>
                    <a:gd name="connsiteY3" fmla="*/ 42481 h 102679"/>
                    <a:gd name="connsiteX4" fmla="*/ 46209 w 80603"/>
                    <a:gd name="connsiteY4" fmla="*/ 42958 h 102679"/>
                    <a:gd name="connsiteX5" fmla="*/ 80594 w 80603"/>
                    <a:gd name="connsiteY5" fmla="*/ 70390 h 102679"/>
                    <a:gd name="connsiteX6" fmla="*/ 38113 w 80603"/>
                    <a:gd name="connsiteY6" fmla="*/ 102679 h 102679"/>
                    <a:gd name="connsiteX7" fmla="*/ 13 w 80603"/>
                    <a:gd name="connsiteY7" fmla="*/ 69818 h 102679"/>
                    <a:gd name="connsiteX8" fmla="*/ 21539 w 80603"/>
                    <a:gd name="connsiteY8" fmla="*/ 69818 h 102679"/>
                    <a:gd name="connsiteX9" fmla="*/ 38208 w 80603"/>
                    <a:gd name="connsiteY9" fmla="*/ 88106 h 102679"/>
                    <a:gd name="connsiteX10" fmla="*/ 58115 w 80603"/>
                    <a:gd name="connsiteY10" fmla="*/ 75247 h 102679"/>
                    <a:gd name="connsiteX11" fmla="*/ 39351 w 80603"/>
                    <a:gd name="connsiteY11" fmla="*/ 61246 h 102679"/>
                    <a:gd name="connsiteX12" fmla="*/ 35541 w 80603"/>
                    <a:gd name="connsiteY12" fmla="*/ 60198 h 102679"/>
                    <a:gd name="connsiteX13" fmla="*/ 2775 w 80603"/>
                    <a:gd name="connsiteY13" fmla="*/ 32766 h 102679"/>
                    <a:gd name="connsiteX14" fmla="*/ 44209 w 80603"/>
                    <a:gd name="connsiteY14" fmla="*/ 0 h 102679"/>
                    <a:gd name="connsiteX15" fmla="*/ 78118 w 80603"/>
                    <a:gd name="connsiteY15" fmla="*/ 30671 h 102679"/>
                    <a:gd name="connsiteX16" fmla="*/ 57544 w 80603"/>
                    <a:gd name="connsiteY16" fmla="*/ 30671 h 1026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80603" h="102679">
                      <a:moveTo>
                        <a:pt x="57544" y="30671"/>
                      </a:moveTo>
                      <a:cubicBezTo>
                        <a:pt x="57163" y="20669"/>
                        <a:pt x="51829" y="15621"/>
                        <a:pt x="41447" y="15621"/>
                      </a:cubicBezTo>
                      <a:cubicBezTo>
                        <a:pt x="31064" y="16383"/>
                        <a:pt x="25635" y="20669"/>
                        <a:pt x="25254" y="28480"/>
                      </a:cubicBezTo>
                      <a:cubicBezTo>
                        <a:pt x="24587" y="36004"/>
                        <a:pt x="30588" y="40672"/>
                        <a:pt x="43542" y="42481"/>
                      </a:cubicBezTo>
                      <a:cubicBezTo>
                        <a:pt x="43923" y="42481"/>
                        <a:pt x="44780" y="42672"/>
                        <a:pt x="46209" y="42958"/>
                      </a:cubicBezTo>
                      <a:cubicBezTo>
                        <a:pt x="69545" y="47625"/>
                        <a:pt x="80975" y="56769"/>
                        <a:pt x="80594" y="70390"/>
                      </a:cubicBezTo>
                      <a:cubicBezTo>
                        <a:pt x="80213" y="91249"/>
                        <a:pt x="66116" y="102013"/>
                        <a:pt x="38113" y="102679"/>
                      </a:cubicBezTo>
                      <a:cubicBezTo>
                        <a:pt x="12300" y="102679"/>
                        <a:pt x="-463" y="91821"/>
                        <a:pt x="13" y="69818"/>
                      </a:cubicBezTo>
                      <a:lnTo>
                        <a:pt x="21539" y="69818"/>
                      </a:lnTo>
                      <a:cubicBezTo>
                        <a:pt x="21539" y="81344"/>
                        <a:pt x="27064" y="87439"/>
                        <a:pt x="38208" y="88106"/>
                      </a:cubicBezTo>
                      <a:cubicBezTo>
                        <a:pt x="51162" y="87821"/>
                        <a:pt x="57734" y="83439"/>
                        <a:pt x="58115" y="75247"/>
                      </a:cubicBezTo>
                      <a:cubicBezTo>
                        <a:pt x="58115" y="68389"/>
                        <a:pt x="51829" y="63722"/>
                        <a:pt x="39351" y="61246"/>
                      </a:cubicBezTo>
                      <a:cubicBezTo>
                        <a:pt x="37541" y="60865"/>
                        <a:pt x="36303" y="60484"/>
                        <a:pt x="35541" y="60198"/>
                      </a:cubicBezTo>
                      <a:cubicBezTo>
                        <a:pt x="13729" y="55150"/>
                        <a:pt x="2775" y="46006"/>
                        <a:pt x="2775" y="32766"/>
                      </a:cubicBezTo>
                      <a:cubicBezTo>
                        <a:pt x="3918" y="12287"/>
                        <a:pt x="17729" y="1429"/>
                        <a:pt x="44209" y="0"/>
                      </a:cubicBezTo>
                      <a:cubicBezTo>
                        <a:pt x="65735" y="1048"/>
                        <a:pt x="76975" y="11335"/>
                        <a:pt x="78118" y="30671"/>
                      </a:cubicBezTo>
                      <a:lnTo>
                        <a:pt x="57544" y="3067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50" name="任意多边形: 形状 1049">
                  <a:extLst>
                    <a:ext uri="{FF2B5EF4-FFF2-40B4-BE49-F238E27FC236}">
                      <a16:creationId xmlns:a16="http://schemas.microsoft.com/office/drawing/2014/main" id="{1DD03908-DB5F-4A2F-BC47-9EE0A0D6338B}"/>
                    </a:ext>
                  </a:extLst>
                </p:cNvPr>
                <p:cNvSpPr/>
                <p:nvPr/>
              </p:nvSpPr>
              <p:spPr>
                <a:xfrm>
                  <a:off x="5118226" y="7540275"/>
                  <a:ext cx="21431" cy="99441"/>
                </a:xfrm>
                <a:custGeom>
                  <a:avLst/>
                  <a:gdLst>
                    <a:gd name="connsiteX0" fmla="*/ 21431 w 21431"/>
                    <a:gd name="connsiteY0" fmla="*/ 99441 h 99441"/>
                    <a:gd name="connsiteX1" fmla="*/ 0 w 21431"/>
                    <a:gd name="connsiteY1" fmla="*/ 99441 h 99441"/>
                    <a:gd name="connsiteX2" fmla="*/ 0 w 21431"/>
                    <a:gd name="connsiteY2" fmla="*/ 0 h 99441"/>
                    <a:gd name="connsiteX3" fmla="*/ 21431 w 21431"/>
                    <a:gd name="connsiteY3" fmla="*/ 0 h 99441"/>
                    <a:gd name="connsiteX4" fmla="*/ 21431 w 21431"/>
                    <a:gd name="connsiteY4" fmla="*/ 99441 h 99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431" h="99441">
                      <a:moveTo>
                        <a:pt x="21431" y="99441"/>
                      </a:moveTo>
                      <a:lnTo>
                        <a:pt x="0" y="99441"/>
                      </a:lnTo>
                      <a:lnTo>
                        <a:pt x="0" y="0"/>
                      </a:lnTo>
                      <a:lnTo>
                        <a:pt x="21431" y="0"/>
                      </a:lnTo>
                      <a:lnTo>
                        <a:pt x="21431" y="9944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51" name="任意多边形: 形状 1050">
                  <a:extLst>
                    <a:ext uri="{FF2B5EF4-FFF2-40B4-BE49-F238E27FC236}">
                      <a16:creationId xmlns:a16="http://schemas.microsoft.com/office/drawing/2014/main" id="{32F91C28-FADC-425C-B1CE-5E94602023CC}"/>
                    </a:ext>
                  </a:extLst>
                </p:cNvPr>
                <p:cNvSpPr/>
                <p:nvPr/>
              </p:nvSpPr>
              <p:spPr>
                <a:xfrm>
                  <a:off x="5149373" y="7540371"/>
                  <a:ext cx="80581" cy="99440"/>
                </a:xfrm>
                <a:custGeom>
                  <a:avLst/>
                  <a:gdLst>
                    <a:gd name="connsiteX0" fmla="*/ 0 w 80581"/>
                    <a:gd name="connsiteY0" fmla="*/ 0 h 99440"/>
                    <a:gd name="connsiteX1" fmla="*/ 80581 w 80581"/>
                    <a:gd name="connsiteY1" fmla="*/ 0 h 99440"/>
                    <a:gd name="connsiteX2" fmla="*/ 80581 w 80581"/>
                    <a:gd name="connsiteY2" fmla="*/ 16669 h 99440"/>
                    <a:gd name="connsiteX3" fmla="*/ 51054 w 80581"/>
                    <a:gd name="connsiteY3" fmla="*/ 16669 h 99440"/>
                    <a:gd name="connsiteX4" fmla="*/ 51054 w 80581"/>
                    <a:gd name="connsiteY4" fmla="*/ 99441 h 99440"/>
                    <a:gd name="connsiteX5" fmla="*/ 29527 w 80581"/>
                    <a:gd name="connsiteY5" fmla="*/ 99441 h 99440"/>
                    <a:gd name="connsiteX6" fmla="*/ 29527 w 80581"/>
                    <a:gd name="connsiteY6" fmla="*/ 16669 h 99440"/>
                    <a:gd name="connsiteX7" fmla="*/ 0 w 80581"/>
                    <a:gd name="connsiteY7" fmla="*/ 16669 h 99440"/>
                    <a:gd name="connsiteX8" fmla="*/ 0 w 80581"/>
                    <a:gd name="connsiteY8" fmla="*/ 0 h 99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0581" h="99440">
                      <a:moveTo>
                        <a:pt x="0" y="0"/>
                      </a:moveTo>
                      <a:lnTo>
                        <a:pt x="80581" y="0"/>
                      </a:lnTo>
                      <a:lnTo>
                        <a:pt x="80581" y="16669"/>
                      </a:lnTo>
                      <a:lnTo>
                        <a:pt x="51054" y="16669"/>
                      </a:lnTo>
                      <a:lnTo>
                        <a:pt x="51054" y="99441"/>
                      </a:lnTo>
                      <a:lnTo>
                        <a:pt x="29527" y="99441"/>
                      </a:lnTo>
                      <a:lnTo>
                        <a:pt x="29527" y="16669"/>
                      </a:lnTo>
                      <a:lnTo>
                        <a:pt x="0" y="1666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052" name="任意多边形: 形状 1051">
                  <a:extLst>
                    <a:ext uri="{FF2B5EF4-FFF2-40B4-BE49-F238E27FC236}">
                      <a16:creationId xmlns:a16="http://schemas.microsoft.com/office/drawing/2014/main" id="{0F45ED44-F2EE-4C41-8A3C-5D086B04119E}"/>
                    </a:ext>
                  </a:extLst>
                </p:cNvPr>
                <p:cNvSpPr/>
                <p:nvPr/>
              </p:nvSpPr>
              <p:spPr>
                <a:xfrm>
                  <a:off x="5233289" y="7540371"/>
                  <a:ext cx="88201" cy="99440"/>
                </a:xfrm>
                <a:custGeom>
                  <a:avLst/>
                  <a:gdLst>
                    <a:gd name="connsiteX0" fmla="*/ 33814 w 88201"/>
                    <a:gd name="connsiteY0" fmla="*/ 67151 h 99440"/>
                    <a:gd name="connsiteX1" fmla="*/ 0 w 88201"/>
                    <a:gd name="connsiteY1" fmla="*/ 0 h 99440"/>
                    <a:gd name="connsiteX2" fmla="*/ 25241 w 88201"/>
                    <a:gd name="connsiteY2" fmla="*/ 0 h 99440"/>
                    <a:gd name="connsiteX3" fmla="*/ 45720 w 88201"/>
                    <a:gd name="connsiteY3" fmla="*/ 45625 h 99440"/>
                    <a:gd name="connsiteX4" fmla="*/ 66675 w 88201"/>
                    <a:gd name="connsiteY4" fmla="*/ 0 h 99440"/>
                    <a:gd name="connsiteX5" fmla="*/ 88201 w 88201"/>
                    <a:gd name="connsiteY5" fmla="*/ 0 h 99440"/>
                    <a:gd name="connsiteX6" fmla="*/ 54864 w 88201"/>
                    <a:gd name="connsiteY6" fmla="*/ 67151 h 99440"/>
                    <a:gd name="connsiteX7" fmla="*/ 54864 w 88201"/>
                    <a:gd name="connsiteY7" fmla="*/ 99441 h 99440"/>
                    <a:gd name="connsiteX8" fmla="*/ 33909 w 88201"/>
                    <a:gd name="connsiteY8" fmla="*/ 99441 h 99440"/>
                    <a:gd name="connsiteX9" fmla="*/ 33909 w 88201"/>
                    <a:gd name="connsiteY9" fmla="*/ 67151 h 99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8201" h="99440">
                      <a:moveTo>
                        <a:pt x="33814" y="67151"/>
                      </a:moveTo>
                      <a:lnTo>
                        <a:pt x="0" y="0"/>
                      </a:lnTo>
                      <a:lnTo>
                        <a:pt x="25241" y="0"/>
                      </a:lnTo>
                      <a:lnTo>
                        <a:pt x="45720" y="45625"/>
                      </a:lnTo>
                      <a:lnTo>
                        <a:pt x="66675" y="0"/>
                      </a:lnTo>
                      <a:lnTo>
                        <a:pt x="88201" y="0"/>
                      </a:lnTo>
                      <a:lnTo>
                        <a:pt x="54864" y="67151"/>
                      </a:lnTo>
                      <a:lnTo>
                        <a:pt x="54864" y="99441"/>
                      </a:lnTo>
                      <a:lnTo>
                        <a:pt x="33909" y="99441"/>
                      </a:lnTo>
                      <a:lnTo>
                        <a:pt x="33909" y="6715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chemeClr val="accent1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7001C31-19DB-4311-A265-F634A06393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4E3E5D99-5E16-4EF9-9B74-22A88147C6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CF6A986-4DDF-4D9B-B655-0FE578B01C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/>
          </a:p>
        </p:txBody>
      </p:sp>
      <p:grpSp>
        <p:nvGrpSpPr>
          <p:cNvPr id="5" name="24799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624F2CF1-C9CC-4D6E-BF72-75E685DBFAB9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70718" y="1674782"/>
            <a:ext cx="10850563" cy="3927536"/>
            <a:chOff x="670718" y="1674782"/>
            <a:chExt cx="10850563" cy="3927536"/>
          </a:xfrm>
        </p:grpSpPr>
        <p:sp>
          <p:nvSpPr>
            <p:cNvPr id="6" name="iṧḻíḋé">
              <a:extLst>
                <a:ext uri="{FF2B5EF4-FFF2-40B4-BE49-F238E27FC236}">
                  <a16:creationId xmlns:a16="http://schemas.microsoft.com/office/drawing/2014/main" id="{D04826E5-85FD-4C87-B4B8-3004FDF656D3}"/>
                </a:ext>
              </a:extLst>
            </p:cNvPr>
            <p:cNvSpPr/>
            <p:nvPr/>
          </p:nvSpPr>
          <p:spPr>
            <a:xfrm>
              <a:off x="4627778" y="1674782"/>
              <a:ext cx="2941206" cy="29412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/>
              <a:endParaRPr dirty="0"/>
            </a:p>
          </p:txBody>
        </p:sp>
        <p:grpSp>
          <p:nvGrpSpPr>
            <p:cNvPr id="7" name="îslïḍè">
              <a:extLst>
                <a:ext uri="{FF2B5EF4-FFF2-40B4-BE49-F238E27FC236}">
                  <a16:creationId xmlns:a16="http://schemas.microsoft.com/office/drawing/2014/main" id="{3EAED468-2EF0-49AB-BB07-755B6FB9DF38}"/>
                </a:ext>
              </a:extLst>
            </p:cNvPr>
            <p:cNvGrpSpPr/>
            <p:nvPr/>
          </p:nvGrpSpPr>
          <p:grpSpPr>
            <a:xfrm>
              <a:off x="673893" y="1828036"/>
              <a:ext cx="3489325" cy="1152009"/>
              <a:chOff x="673100" y="1763208"/>
              <a:chExt cx="3489325" cy="1152009"/>
            </a:xfrm>
          </p:grpSpPr>
          <p:sp>
            <p:nvSpPr>
              <p:cNvPr id="25" name="íSḻîḓè">
                <a:extLst>
                  <a:ext uri="{FF2B5EF4-FFF2-40B4-BE49-F238E27FC236}">
                    <a16:creationId xmlns:a16="http://schemas.microsoft.com/office/drawing/2014/main" id="{CE8FB92D-27B0-49A1-BCA6-DB92F5D49307}"/>
                  </a:ext>
                </a:extLst>
              </p:cNvPr>
              <p:cNvSpPr/>
              <p:nvPr/>
            </p:nvSpPr>
            <p:spPr bwMode="auto">
              <a:xfrm>
                <a:off x="673100" y="2304901"/>
                <a:ext cx="3489325" cy="6103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26" name="ís1íḍé">
                <a:extLst>
                  <a:ext uri="{FF2B5EF4-FFF2-40B4-BE49-F238E27FC236}">
                    <a16:creationId xmlns:a16="http://schemas.microsoft.com/office/drawing/2014/main" id="{295FEF84-B090-45B0-B505-6C095F5B9C79}"/>
                  </a:ext>
                </a:extLst>
              </p:cNvPr>
              <p:cNvSpPr txBox="1"/>
              <p:nvPr/>
            </p:nvSpPr>
            <p:spPr bwMode="auto">
              <a:xfrm>
                <a:off x="673100" y="1763208"/>
                <a:ext cx="3489325" cy="54169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/>
                  <a:t>Text here</a:t>
                </a:r>
              </a:p>
            </p:txBody>
          </p:sp>
        </p:grpSp>
        <p:cxnSp>
          <p:nvCxnSpPr>
            <p:cNvPr id="8" name="直接连接符 7">
              <a:extLst>
                <a:ext uri="{FF2B5EF4-FFF2-40B4-BE49-F238E27FC236}">
                  <a16:creationId xmlns:a16="http://schemas.microsoft.com/office/drawing/2014/main" id="{80720C08-CEA7-4F81-835E-539202F3D398}"/>
                </a:ext>
              </a:extLst>
            </p:cNvPr>
            <p:cNvCxnSpPr/>
            <p:nvPr/>
          </p:nvCxnSpPr>
          <p:spPr>
            <a:xfrm flipH="1">
              <a:off x="670718" y="2980045"/>
              <a:ext cx="542766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直接连接符 8">
              <a:extLst>
                <a:ext uri="{FF2B5EF4-FFF2-40B4-BE49-F238E27FC236}">
                  <a16:creationId xmlns:a16="http://schemas.microsoft.com/office/drawing/2014/main" id="{9AFC18A4-8F00-48F8-8A6C-1B9F2EF46DBF}"/>
                </a:ext>
              </a:extLst>
            </p:cNvPr>
            <p:cNvCxnSpPr/>
            <p:nvPr/>
          </p:nvCxnSpPr>
          <p:spPr>
            <a:xfrm flipH="1">
              <a:off x="670718" y="3715177"/>
              <a:ext cx="470783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直接连接符 9">
              <a:extLst>
                <a:ext uri="{FF2B5EF4-FFF2-40B4-BE49-F238E27FC236}">
                  <a16:creationId xmlns:a16="http://schemas.microsoft.com/office/drawing/2014/main" id="{AF04EA65-82B6-41AD-8D67-95C1BFF5D5EA}"/>
                </a:ext>
              </a:extLst>
            </p:cNvPr>
            <p:cNvCxnSpPr/>
            <p:nvPr/>
          </p:nvCxnSpPr>
          <p:spPr>
            <a:xfrm>
              <a:off x="6098381" y="4450309"/>
              <a:ext cx="542290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直接连接符 10">
              <a:extLst>
                <a:ext uri="{FF2B5EF4-FFF2-40B4-BE49-F238E27FC236}">
                  <a16:creationId xmlns:a16="http://schemas.microsoft.com/office/drawing/2014/main" id="{0F7F85D2-C5FE-4A8C-AC0A-7978395B0128}"/>
                </a:ext>
              </a:extLst>
            </p:cNvPr>
            <p:cNvCxnSpPr/>
            <p:nvPr/>
          </p:nvCxnSpPr>
          <p:spPr>
            <a:xfrm>
              <a:off x="6833513" y="3715177"/>
              <a:ext cx="468776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îṧľíde">
              <a:extLst>
                <a:ext uri="{FF2B5EF4-FFF2-40B4-BE49-F238E27FC236}">
                  <a16:creationId xmlns:a16="http://schemas.microsoft.com/office/drawing/2014/main" id="{783FF5D2-DD01-4197-906C-C8707D1C1BF5}"/>
                </a:ext>
              </a:extLst>
            </p:cNvPr>
            <p:cNvSpPr/>
            <p:nvPr/>
          </p:nvSpPr>
          <p:spPr>
            <a:xfrm>
              <a:off x="5528588" y="1840459"/>
              <a:ext cx="1139586" cy="1139586"/>
            </a:xfrm>
            <a:prstGeom prst="ellipse">
              <a:avLst/>
            </a:prstGeom>
            <a:solidFill>
              <a:schemeClr val="accent1"/>
            </a:solidFill>
            <a:ln w="19050" cap="flat">
              <a:solidFill>
                <a:srgbClr val="FFFFFF"/>
              </a:solidFill>
              <a:prstDash val="solid"/>
              <a:miter lim="400000"/>
            </a:ln>
            <a:effectLst/>
          </p:spPr>
          <p:txBody>
            <a:bodyPr wrap="square" lIns="91440" tIns="45720" rIns="91440" bIns="45720" numCol="1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 algn="ctr"/>
              <a:r>
                <a:rPr lang="en-US" sz="2800" b="1" i="1" dirty="0">
                  <a:solidFill>
                    <a:schemeClr val="bg1"/>
                  </a:solidFill>
                </a:rPr>
                <a:t>S</a:t>
              </a:r>
              <a:endParaRPr sz="2800" b="1" i="1" dirty="0">
                <a:solidFill>
                  <a:schemeClr val="bg1"/>
                </a:solidFill>
              </a:endParaRPr>
            </a:p>
          </p:txBody>
        </p:sp>
        <p:sp>
          <p:nvSpPr>
            <p:cNvPr id="13" name="iŝḷiḋê">
              <a:extLst>
                <a:ext uri="{FF2B5EF4-FFF2-40B4-BE49-F238E27FC236}">
                  <a16:creationId xmlns:a16="http://schemas.microsoft.com/office/drawing/2014/main" id="{9FAEA6CE-E675-495B-BDD0-632D8F5802DA}"/>
                </a:ext>
              </a:extLst>
            </p:cNvPr>
            <p:cNvSpPr/>
            <p:nvPr/>
          </p:nvSpPr>
          <p:spPr>
            <a:xfrm>
              <a:off x="6263720" y="2575591"/>
              <a:ext cx="1139586" cy="1139586"/>
            </a:xfrm>
            <a:prstGeom prst="ellipse">
              <a:avLst/>
            </a:prstGeom>
            <a:solidFill>
              <a:schemeClr val="accent2"/>
            </a:solidFill>
            <a:ln w="19050" cap="flat">
              <a:solidFill>
                <a:srgbClr val="FFFFFF"/>
              </a:solidFill>
              <a:prstDash val="solid"/>
              <a:miter lim="400000"/>
            </a:ln>
            <a:effectLst/>
          </p:spPr>
          <p:txBody>
            <a:bodyPr wrap="square" lIns="91440" tIns="45720" rIns="91440" bIns="45720" numCol="1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 algn="ctr"/>
              <a:r>
                <a:rPr lang="en-US" sz="2800" b="1" i="1" dirty="0">
                  <a:solidFill>
                    <a:schemeClr val="bg1"/>
                  </a:solidFill>
                </a:rPr>
                <a:t>W</a:t>
              </a:r>
              <a:endParaRPr sz="2800" b="1" i="1" dirty="0">
                <a:solidFill>
                  <a:schemeClr val="bg1"/>
                </a:solidFill>
              </a:endParaRPr>
            </a:p>
          </p:txBody>
        </p:sp>
        <p:sp>
          <p:nvSpPr>
            <p:cNvPr id="14" name="ïṥlîḑè">
              <a:extLst>
                <a:ext uri="{FF2B5EF4-FFF2-40B4-BE49-F238E27FC236}">
                  <a16:creationId xmlns:a16="http://schemas.microsoft.com/office/drawing/2014/main" id="{0C63F98A-7EAA-4E27-B822-DC547ACF399D}"/>
                </a:ext>
              </a:extLst>
            </p:cNvPr>
            <p:cNvSpPr/>
            <p:nvPr/>
          </p:nvSpPr>
          <p:spPr>
            <a:xfrm>
              <a:off x="5528588" y="3310723"/>
              <a:ext cx="1139586" cy="1139586"/>
            </a:xfrm>
            <a:prstGeom prst="ellipse">
              <a:avLst/>
            </a:prstGeom>
            <a:solidFill>
              <a:schemeClr val="accent3"/>
            </a:solidFill>
            <a:ln w="19050" cap="flat">
              <a:solidFill>
                <a:srgbClr val="FFFFFF"/>
              </a:solidFill>
              <a:prstDash val="solid"/>
              <a:miter lim="400000"/>
            </a:ln>
            <a:effectLst/>
          </p:spPr>
          <p:txBody>
            <a:bodyPr wrap="square" lIns="91440" tIns="45720" rIns="91440" bIns="45720" numCol="1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 algn="ctr"/>
              <a:r>
                <a:rPr lang="en-US" sz="2800" b="1" i="1" dirty="0">
                  <a:solidFill>
                    <a:schemeClr val="bg1"/>
                  </a:solidFill>
                </a:rPr>
                <a:t>O</a:t>
              </a:r>
              <a:endParaRPr sz="2800" b="1" i="1" dirty="0">
                <a:solidFill>
                  <a:schemeClr val="bg1"/>
                </a:solidFill>
              </a:endParaRPr>
            </a:p>
          </p:txBody>
        </p:sp>
        <p:sp>
          <p:nvSpPr>
            <p:cNvPr id="15" name="îṡḷiḋê">
              <a:extLst>
                <a:ext uri="{FF2B5EF4-FFF2-40B4-BE49-F238E27FC236}">
                  <a16:creationId xmlns:a16="http://schemas.microsoft.com/office/drawing/2014/main" id="{54C1C91A-E921-450C-93D4-9374E3B4D84A}"/>
                </a:ext>
              </a:extLst>
            </p:cNvPr>
            <p:cNvSpPr/>
            <p:nvPr/>
          </p:nvSpPr>
          <p:spPr>
            <a:xfrm>
              <a:off x="4793456" y="2575591"/>
              <a:ext cx="1139586" cy="1139586"/>
            </a:xfrm>
            <a:prstGeom prst="ellipse">
              <a:avLst/>
            </a:prstGeom>
            <a:solidFill>
              <a:schemeClr val="accent4"/>
            </a:solidFill>
            <a:ln w="19050" cap="flat">
              <a:solidFill>
                <a:srgbClr val="FFFFFF"/>
              </a:solidFill>
              <a:prstDash val="solid"/>
              <a:miter lim="400000"/>
            </a:ln>
            <a:effectLst/>
          </p:spPr>
          <p:txBody>
            <a:bodyPr wrap="square" lIns="91440" tIns="45720" rIns="91440" bIns="45720" numCol="1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 algn="ctr"/>
              <a:r>
                <a:rPr lang="en-US" sz="2800" b="1" i="1" dirty="0">
                  <a:solidFill>
                    <a:schemeClr val="bg1"/>
                  </a:solidFill>
                </a:rPr>
                <a:t>T</a:t>
              </a:r>
              <a:endParaRPr sz="2800" b="1" i="1" dirty="0">
                <a:solidFill>
                  <a:schemeClr val="bg1"/>
                </a:solidFill>
              </a:endParaRPr>
            </a:p>
          </p:txBody>
        </p:sp>
        <p:grpSp>
          <p:nvGrpSpPr>
            <p:cNvPr id="16" name="iṩlîďê">
              <a:extLst>
                <a:ext uri="{FF2B5EF4-FFF2-40B4-BE49-F238E27FC236}">
                  <a16:creationId xmlns:a16="http://schemas.microsoft.com/office/drawing/2014/main" id="{6156E5F1-F2FC-4A06-8146-15153FC65FFA}"/>
                </a:ext>
              </a:extLst>
            </p:cNvPr>
            <p:cNvGrpSpPr/>
            <p:nvPr/>
          </p:nvGrpSpPr>
          <p:grpSpPr>
            <a:xfrm>
              <a:off x="673893" y="3715177"/>
              <a:ext cx="3489325" cy="1152009"/>
              <a:chOff x="673100" y="1763208"/>
              <a:chExt cx="3489325" cy="1152009"/>
            </a:xfrm>
          </p:grpSpPr>
          <p:sp>
            <p:nvSpPr>
              <p:cNvPr id="23" name="ïśľïḑê">
                <a:extLst>
                  <a:ext uri="{FF2B5EF4-FFF2-40B4-BE49-F238E27FC236}">
                    <a16:creationId xmlns:a16="http://schemas.microsoft.com/office/drawing/2014/main" id="{CE8FB92D-27B0-49A1-BCA6-DB92F5D49307}"/>
                  </a:ext>
                </a:extLst>
              </p:cNvPr>
              <p:cNvSpPr/>
              <p:nvPr/>
            </p:nvSpPr>
            <p:spPr bwMode="auto">
              <a:xfrm>
                <a:off x="673100" y="2304901"/>
                <a:ext cx="3489325" cy="6103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24" name="ïšḷíḋé">
                <a:extLst>
                  <a:ext uri="{FF2B5EF4-FFF2-40B4-BE49-F238E27FC236}">
                    <a16:creationId xmlns:a16="http://schemas.microsoft.com/office/drawing/2014/main" id="{295FEF84-B090-45B0-B505-6C095F5B9C79}"/>
                  </a:ext>
                </a:extLst>
              </p:cNvPr>
              <p:cNvSpPr txBox="1"/>
              <p:nvPr/>
            </p:nvSpPr>
            <p:spPr bwMode="auto">
              <a:xfrm>
                <a:off x="673100" y="1763208"/>
                <a:ext cx="3489325" cy="54169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/>
                  <a:t>Text here</a:t>
                </a:r>
              </a:p>
            </p:txBody>
          </p:sp>
        </p:grpSp>
        <p:grpSp>
          <p:nvGrpSpPr>
            <p:cNvPr id="17" name="îšḻíḋê">
              <a:extLst>
                <a:ext uri="{FF2B5EF4-FFF2-40B4-BE49-F238E27FC236}">
                  <a16:creationId xmlns:a16="http://schemas.microsoft.com/office/drawing/2014/main" id="{35348C29-2E32-4383-AFEB-915F59833829}"/>
                </a:ext>
              </a:extLst>
            </p:cNvPr>
            <p:cNvGrpSpPr/>
            <p:nvPr/>
          </p:nvGrpSpPr>
          <p:grpSpPr>
            <a:xfrm>
              <a:off x="8030368" y="2563168"/>
              <a:ext cx="3489325" cy="1152009"/>
              <a:chOff x="673100" y="1763208"/>
              <a:chExt cx="3489325" cy="1152009"/>
            </a:xfrm>
          </p:grpSpPr>
          <p:sp>
            <p:nvSpPr>
              <p:cNvPr id="21" name="îŝḷïḍè">
                <a:extLst>
                  <a:ext uri="{FF2B5EF4-FFF2-40B4-BE49-F238E27FC236}">
                    <a16:creationId xmlns:a16="http://schemas.microsoft.com/office/drawing/2014/main" id="{CE8FB92D-27B0-49A1-BCA6-DB92F5D49307}"/>
                  </a:ext>
                </a:extLst>
              </p:cNvPr>
              <p:cNvSpPr/>
              <p:nvPr/>
            </p:nvSpPr>
            <p:spPr bwMode="auto">
              <a:xfrm>
                <a:off x="673100" y="2304901"/>
                <a:ext cx="3489325" cy="6103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22" name="ï$ḻiḓe">
                <a:extLst>
                  <a:ext uri="{FF2B5EF4-FFF2-40B4-BE49-F238E27FC236}">
                    <a16:creationId xmlns:a16="http://schemas.microsoft.com/office/drawing/2014/main" id="{295FEF84-B090-45B0-B505-6C095F5B9C79}"/>
                  </a:ext>
                </a:extLst>
              </p:cNvPr>
              <p:cNvSpPr txBox="1"/>
              <p:nvPr/>
            </p:nvSpPr>
            <p:spPr bwMode="auto">
              <a:xfrm>
                <a:off x="673100" y="1763208"/>
                <a:ext cx="3489325" cy="54169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/>
                  <a:t>Text here</a:t>
                </a:r>
              </a:p>
            </p:txBody>
          </p:sp>
        </p:grpSp>
        <p:grpSp>
          <p:nvGrpSpPr>
            <p:cNvPr id="18" name="ïṣľiďê">
              <a:extLst>
                <a:ext uri="{FF2B5EF4-FFF2-40B4-BE49-F238E27FC236}">
                  <a16:creationId xmlns:a16="http://schemas.microsoft.com/office/drawing/2014/main" id="{7F548CB1-A4F3-41BF-B5A0-A7A74F271ECC}"/>
                </a:ext>
              </a:extLst>
            </p:cNvPr>
            <p:cNvGrpSpPr/>
            <p:nvPr/>
          </p:nvGrpSpPr>
          <p:grpSpPr>
            <a:xfrm>
              <a:off x="8030368" y="4450309"/>
              <a:ext cx="3489325" cy="1152009"/>
              <a:chOff x="673100" y="1763208"/>
              <a:chExt cx="3489325" cy="1152009"/>
            </a:xfrm>
          </p:grpSpPr>
          <p:sp>
            <p:nvSpPr>
              <p:cNvPr id="19" name="iṣļïḓe">
                <a:extLst>
                  <a:ext uri="{FF2B5EF4-FFF2-40B4-BE49-F238E27FC236}">
                    <a16:creationId xmlns:a16="http://schemas.microsoft.com/office/drawing/2014/main" id="{CE8FB92D-27B0-49A1-BCA6-DB92F5D49307}"/>
                  </a:ext>
                </a:extLst>
              </p:cNvPr>
              <p:cNvSpPr/>
              <p:nvPr/>
            </p:nvSpPr>
            <p:spPr bwMode="auto">
              <a:xfrm>
                <a:off x="673100" y="2304901"/>
                <a:ext cx="3489325" cy="6103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20" name="iṡļîḓê">
                <a:extLst>
                  <a:ext uri="{FF2B5EF4-FFF2-40B4-BE49-F238E27FC236}">
                    <a16:creationId xmlns:a16="http://schemas.microsoft.com/office/drawing/2014/main" id="{295FEF84-B090-45B0-B505-6C095F5B9C79}"/>
                  </a:ext>
                </a:extLst>
              </p:cNvPr>
              <p:cNvSpPr txBox="1"/>
              <p:nvPr/>
            </p:nvSpPr>
            <p:spPr bwMode="auto">
              <a:xfrm>
                <a:off x="673100" y="1763208"/>
                <a:ext cx="3489325" cy="54169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/>
                  <a:t>Text her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5586627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330601B-95A9-4437-98AC-6C004B444E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D73CD715-6981-4CC2-A583-33DD3FE7B7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8F27951-C0F5-4AFF-981E-69263C32AE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grpSp>
        <p:nvGrpSpPr>
          <p:cNvPr id="5" name="24932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CACCCDA-76EF-4B35-8C43-C2818ACA58AC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73100" y="1473200"/>
            <a:ext cx="10845800" cy="4477222"/>
            <a:chOff x="673100" y="1473200"/>
            <a:chExt cx="10845800" cy="4477222"/>
          </a:xfrm>
        </p:grpSpPr>
        <p:grpSp>
          <p:nvGrpSpPr>
            <p:cNvPr id="6" name="išľîdé">
              <a:extLst>
                <a:ext uri="{FF2B5EF4-FFF2-40B4-BE49-F238E27FC236}">
                  <a16:creationId xmlns:a16="http://schemas.microsoft.com/office/drawing/2014/main" id="{185001CB-7E79-4F56-AA87-6B672F626BB0}"/>
                </a:ext>
              </a:extLst>
            </p:cNvPr>
            <p:cNvGrpSpPr/>
            <p:nvPr/>
          </p:nvGrpSpPr>
          <p:grpSpPr>
            <a:xfrm>
              <a:off x="8825141" y="2313336"/>
              <a:ext cx="1130695" cy="686814"/>
              <a:chOff x="8825141" y="2313336"/>
              <a:chExt cx="1130695" cy="686814"/>
            </a:xfrm>
          </p:grpSpPr>
          <p:sp>
            <p:nvSpPr>
              <p:cNvPr id="23" name="ïṧḻiḍê">
                <a:extLst>
                  <a:ext uri="{FF2B5EF4-FFF2-40B4-BE49-F238E27FC236}">
                    <a16:creationId xmlns:a16="http://schemas.microsoft.com/office/drawing/2014/main" id="{BD7D4260-0045-4C4B-9ED8-3B3F3DBB760C}"/>
                  </a:ext>
                </a:extLst>
              </p:cNvPr>
              <p:cNvSpPr/>
              <p:nvPr/>
            </p:nvSpPr>
            <p:spPr>
              <a:xfrm>
                <a:off x="8825141" y="2313336"/>
                <a:ext cx="1093433" cy="65289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526" extrusionOk="0">
                    <a:moveTo>
                      <a:pt x="0" y="3"/>
                    </a:moveTo>
                    <a:cubicBezTo>
                      <a:pt x="4291" y="-74"/>
                      <a:pt x="8517" y="1763"/>
                      <a:pt x="12240" y="5325"/>
                    </a:cubicBezTo>
                    <a:cubicBezTo>
                      <a:pt x="16219" y="9131"/>
                      <a:pt x="19466" y="14751"/>
                      <a:pt x="21600" y="21526"/>
                    </a:cubicBezTo>
                  </a:path>
                </a:pathLst>
              </a:custGeom>
              <a:noFill/>
              <a:ln w="12700" cap="flat">
                <a:solidFill>
                  <a:schemeClr val="bg1">
                    <a:lumMod val="75000"/>
                  </a:schemeClr>
                </a:solidFill>
                <a:prstDash val="solid"/>
                <a:miter lim="400000"/>
              </a:ln>
              <a:effectLst/>
            </p:spPr>
            <p:txBody>
              <a:bodyPr wrap="square" lIns="91440" tIns="45720" rIns="91440" bIns="45720" numCol="1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90000"/>
                  </a:lnSpc>
                  <a:spcBef>
                    <a:spcPts val="2250"/>
                  </a:spcBef>
                  <a:defRPr sz="2500" cap="all" spc="125"/>
                </a:pPr>
                <a:endParaRPr dirty="0"/>
              </a:p>
            </p:txBody>
          </p:sp>
          <p:sp>
            <p:nvSpPr>
              <p:cNvPr id="24" name="ïSḷíďê">
                <a:extLst>
                  <a:ext uri="{FF2B5EF4-FFF2-40B4-BE49-F238E27FC236}">
                    <a16:creationId xmlns:a16="http://schemas.microsoft.com/office/drawing/2014/main" id="{D4F91EBA-B4A8-49F1-86F3-B0A72070735C}"/>
                  </a:ext>
                </a:extLst>
              </p:cNvPr>
              <p:cNvSpPr/>
              <p:nvPr/>
            </p:nvSpPr>
            <p:spPr>
              <a:xfrm rot="9239731">
                <a:off x="9808308" y="2852622"/>
                <a:ext cx="147528" cy="14752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numCol="1" anchor="ctr">
                <a:normAutofit fontScale="250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90000"/>
                  </a:lnSpc>
                  <a:spcBef>
                    <a:spcPts val="2250"/>
                  </a:spcBef>
                  <a:defRPr sz="2500" cap="all" spc="125"/>
                </a:pPr>
                <a:endParaRPr dirty="0"/>
              </a:p>
            </p:txBody>
          </p:sp>
        </p:grpSp>
        <p:grpSp>
          <p:nvGrpSpPr>
            <p:cNvPr id="7" name="ïṣḷiḍè">
              <a:extLst>
                <a:ext uri="{FF2B5EF4-FFF2-40B4-BE49-F238E27FC236}">
                  <a16:creationId xmlns:a16="http://schemas.microsoft.com/office/drawing/2014/main" id="{1FFC2FE4-9D1F-4DEE-95A1-7D0DCF36D0AD}"/>
                </a:ext>
              </a:extLst>
            </p:cNvPr>
            <p:cNvGrpSpPr/>
            <p:nvPr/>
          </p:nvGrpSpPr>
          <p:grpSpPr>
            <a:xfrm>
              <a:off x="2236164" y="2313336"/>
              <a:ext cx="1142016" cy="698135"/>
              <a:chOff x="2236164" y="2313336"/>
              <a:chExt cx="1142016" cy="698135"/>
            </a:xfrm>
          </p:grpSpPr>
          <p:sp>
            <p:nvSpPr>
              <p:cNvPr id="21" name="îṩḷiḓè">
                <a:extLst>
                  <a:ext uri="{FF2B5EF4-FFF2-40B4-BE49-F238E27FC236}">
                    <a16:creationId xmlns:a16="http://schemas.microsoft.com/office/drawing/2014/main" id="{64DA9DFA-9C78-479C-AA5E-73FDA3ACA301}"/>
                  </a:ext>
                </a:extLst>
              </p:cNvPr>
              <p:cNvSpPr/>
              <p:nvPr/>
            </p:nvSpPr>
            <p:spPr>
              <a:xfrm flipH="1">
                <a:off x="2284746" y="2313336"/>
                <a:ext cx="1093434" cy="65289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526" extrusionOk="0">
                    <a:moveTo>
                      <a:pt x="0" y="3"/>
                    </a:moveTo>
                    <a:cubicBezTo>
                      <a:pt x="4291" y="-74"/>
                      <a:pt x="8517" y="1763"/>
                      <a:pt x="12240" y="5325"/>
                    </a:cubicBezTo>
                    <a:cubicBezTo>
                      <a:pt x="16219" y="9131"/>
                      <a:pt x="19466" y="14751"/>
                      <a:pt x="21600" y="21526"/>
                    </a:cubicBezTo>
                  </a:path>
                </a:pathLst>
              </a:custGeom>
              <a:noFill/>
              <a:ln w="12700" cap="flat">
                <a:solidFill>
                  <a:schemeClr val="bg1">
                    <a:lumMod val="75000"/>
                  </a:schemeClr>
                </a:solidFill>
                <a:prstDash val="solid"/>
                <a:miter lim="400000"/>
              </a:ln>
              <a:effectLst/>
            </p:spPr>
            <p:txBody>
              <a:bodyPr wrap="square" lIns="91440" tIns="45720" rIns="91440" bIns="45720" numCol="1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90000"/>
                  </a:lnSpc>
                  <a:spcBef>
                    <a:spcPts val="2250"/>
                  </a:spcBef>
                  <a:defRPr sz="2500" cap="all" spc="125"/>
                </a:pPr>
                <a:endParaRPr dirty="0"/>
              </a:p>
            </p:txBody>
          </p:sp>
          <p:sp>
            <p:nvSpPr>
              <p:cNvPr id="22" name="íśļíḓe">
                <a:extLst>
                  <a:ext uri="{FF2B5EF4-FFF2-40B4-BE49-F238E27FC236}">
                    <a16:creationId xmlns:a16="http://schemas.microsoft.com/office/drawing/2014/main" id="{EB3E9ADE-3C83-4E96-A6D9-B5FE898FD02E}"/>
                  </a:ext>
                </a:extLst>
              </p:cNvPr>
              <p:cNvSpPr/>
              <p:nvPr/>
            </p:nvSpPr>
            <p:spPr>
              <a:xfrm rot="12360269" flipH="1">
                <a:off x="2236164" y="2841301"/>
                <a:ext cx="170170" cy="17017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lnTo>
                      <a:pt x="21600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numCol="1" anchor="ctr">
                <a:normAutofit fontScale="250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90000"/>
                  </a:lnSpc>
                  <a:spcBef>
                    <a:spcPts val="2250"/>
                  </a:spcBef>
                  <a:defRPr sz="2500" cap="all" spc="125"/>
                </a:pPr>
                <a:endParaRPr dirty="0"/>
              </a:p>
            </p:txBody>
          </p:sp>
        </p:grpSp>
        <p:sp>
          <p:nvSpPr>
            <p:cNvPr id="8" name="íśľîḑè">
              <a:extLst>
                <a:ext uri="{FF2B5EF4-FFF2-40B4-BE49-F238E27FC236}">
                  <a16:creationId xmlns:a16="http://schemas.microsoft.com/office/drawing/2014/main" id="{D855F942-4BB7-4343-8B28-56978E972531}"/>
                </a:ext>
              </a:extLst>
            </p:cNvPr>
            <p:cNvSpPr/>
            <p:nvPr/>
          </p:nvSpPr>
          <p:spPr>
            <a:xfrm>
              <a:off x="3724435" y="1473200"/>
              <a:ext cx="4754451" cy="26634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99" extrusionOk="0">
                  <a:moveTo>
                    <a:pt x="14239" y="0"/>
                  </a:moveTo>
                  <a:cubicBezTo>
                    <a:pt x="14165" y="2"/>
                    <a:pt x="14091" y="45"/>
                    <a:pt x="14030" y="125"/>
                  </a:cubicBezTo>
                  <a:lnTo>
                    <a:pt x="12883" y="2112"/>
                  </a:lnTo>
                  <a:cubicBezTo>
                    <a:pt x="12824" y="2266"/>
                    <a:pt x="12835" y="2471"/>
                    <a:pt x="12909" y="2603"/>
                  </a:cubicBezTo>
                  <a:cubicBezTo>
                    <a:pt x="12972" y="2717"/>
                    <a:pt x="13069" y="2747"/>
                    <a:pt x="13151" y="2679"/>
                  </a:cubicBezTo>
                  <a:lnTo>
                    <a:pt x="14025" y="1278"/>
                  </a:lnTo>
                  <a:lnTo>
                    <a:pt x="14678" y="3906"/>
                  </a:lnTo>
                  <a:lnTo>
                    <a:pt x="8202" y="6937"/>
                  </a:lnTo>
                  <a:lnTo>
                    <a:pt x="7638" y="5210"/>
                  </a:lnTo>
                  <a:cubicBezTo>
                    <a:pt x="7708" y="5176"/>
                    <a:pt x="7772" y="5144"/>
                    <a:pt x="7851" y="5105"/>
                  </a:cubicBezTo>
                  <a:cubicBezTo>
                    <a:pt x="9004" y="4544"/>
                    <a:pt x="9360" y="4452"/>
                    <a:pt x="9364" y="4158"/>
                  </a:cubicBezTo>
                  <a:cubicBezTo>
                    <a:pt x="9370" y="3656"/>
                    <a:pt x="9196" y="3655"/>
                    <a:pt x="9031" y="3655"/>
                  </a:cubicBezTo>
                  <a:lnTo>
                    <a:pt x="5999" y="3655"/>
                  </a:lnTo>
                  <a:cubicBezTo>
                    <a:pt x="5877" y="3655"/>
                    <a:pt x="5764" y="3773"/>
                    <a:pt x="5704" y="3963"/>
                  </a:cubicBezTo>
                  <a:cubicBezTo>
                    <a:pt x="5644" y="4153"/>
                    <a:pt x="5647" y="4386"/>
                    <a:pt x="5710" y="4573"/>
                  </a:cubicBezTo>
                  <a:lnTo>
                    <a:pt x="6011" y="5498"/>
                  </a:lnTo>
                  <a:cubicBezTo>
                    <a:pt x="6073" y="5682"/>
                    <a:pt x="6184" y="5788"/>
                    <a:pt x="6300" y="5788"/>
                  </a:cubicBezTo>
                  <a:cubicBezTo>
                    <a:pt x="6468" y="5788"/>
                    <a:pt x="6589" y="5737"/>
                    <a:pt x="6928" y="5566"/>
                  </a:cubicBezTo>
                  <a:lnTo>
                    <a:pt x="7081" y="5673"/>
                  </a:lnTo>
                  <a:lnTo>
                    <a:pt x="7025" y="5730"/>
                  </a:lnTo>
                  <a:cubicBezTo>
                    <a:pt x="7025" y="5730"/>
                    <a:pt x="8397" y="10125"/>
                    <a:pt x="8431" y="10248"/>
                  </a:cubicBezTo>
                  <a:cubicBezTo>
                    <a:pt x="8482" y="10437"/>
                    <a:pt x="8468" y="10594"/>
                    <a:pt x="8360" y="10647"/>
                  </a:cubicBezTo>
                  <a:cubicBezTo>
                    <a:pt x="8335" y="10659"/>
                    <a:pt x="7769" y="11039"/>
                    <a:pt x="7523" y="11200"/>
                  </a:cubicBezTo>
                  <a:cubicBezTo>
                    <a:pt x="7334" y="10561"/>
                    <a:pt x="7089" y="9965"/>
                    <a:pt x="6791" y="9437"/>
                  </a:cubicBezTo>
                  <a:cubicBezTo>
                    <a:pt x="6030" y="8093"/>
                    <a:pt x="5036" y="7354"/>
                    <a:pt x="3991" y="7354"/>
                  </a:cubicBezTo>
                  <a:cubicBezTo>
                    <a:pt x="1790" y="7354"/>
                    <a:pt x="0" y="10548"/>
                    <a:pt x="0" y="14476"/>
                  </a:cubicBezTo>
                  <a:cubicBezTo>
                    <a:pt x="0" y="18403"/>
                    <a:pt x="1790" y="21599"/>
                    <a:pt x="3991" y="21599"/>
                  </a:cubicBezTo>
                  <a:cubicBezTo>
                    <a:pt x="6097" y="21599"/>
                    <a:pt x="7823" y="18668"/>
                    <a:pt x="7967" y="14973"/>
                  </a:cubicBezTo>
                  <a:lnTo>
                    <a:pt x="8717" y="14973"/>
                  </a:lnTo>
                  <a:cubicBezTo>
                    <a:pt x="8895" y="16028"/>
                    <a:pt x="9444" y="16800"/>
                    <a:pt x="10093" y="16800"/>
                  </a:cubicBezTo>
                  <a:cubicBezTo>
                    <a:pt x="10285" y="16800"/>
                    <a:pt x="10467" y="16731"/>
                    <a:pt x="10634" y="16609"/>
                  </a:cubicBezTo>
                  <a:lnTo>
                    <a:pt x="11049" y="18041"/>
                  </a:lnTo>
                  <a:lnTo>
                    <a:pt x="10789" y="18041"/>
                  </a:lnTo>
                  <a:cubicBezTo>
                    <a:pt x="10654" y="18041"/>
                    <a:pt x="10545" y="18236"/>
                    <a:pt x="10545" y="18477"/>
                  </a:cubicBezTo>
                  <a:cubicBezTo>
                    <a:pt x="10545" y="18717"/>
                    <a:pt x="10654" y="18912"/>
                    <a:pt x="10789" y="18912"/>
                  </a:cubicBezTo>
                  <a:lnTo>
                    <a:pt x="11992" y="18912"/>
                  </a:lnTo>
                  <a:cubicBezTo>
                    <a:pt x="12127" y="18912"/>
                    <a:pt x="12236" y="18717"/>
                    <a:pt x="12236" y="18477"/>
                  </a:cubicBezTo>
                  <a:cubicBezTo>
                    <a:pt x="12236" y="18236"/>
                    <a:pt x="12127" y="18041"/>
                    <a:pt x="11992" y="18041"/>
                  </a:cubicBezTo>
                  <a:lnTo>
                    <a:pt x="11569" y="18041"/>
                  </a:lnTo>
                  <a:lnTo>
                    <a:pt x="11027" y="16168"/>
                  </a:lnTo>
                  <a:cubicBezTo>
                    <a:pt x="11332" y="15698"/>
                    <a:pt x="11530" y="15011"/>
                    <a:pt x="11530" y="14236"/>
                  </a:cubicBezTo>
                  <a:cubicBezTo>
                    <a:pt x="11530" y="13821"/>
                    <a:pt x="11474" y="13429"/>
                    <a:pt x="11376" y="13082"/>
                  </a:cubicBezTo>
                  <a:lnTo>
                    <a:pt x="15249" y="6237"/>
                  </a:lnTo>
                  <a:lnTo>
                    <a:pt x="15708" y="8110"/>
                  </a:lnTo>
                  <a:cubicBezTo>
                    <a:pt x="14465" y="9318"/>
                    <a:pt x="13620" y="11670"/>
                    <a:pt x="13620" y="14369"/>
                  </a:cubicBezTo>
                  <a:cubicBezTo>
                    <a:pt x="13620" y="18297"/>
                    <a:pt x="15409" y="21493"/>
                    <a:pt x="17609" y="21493"/>
                  </a:cubicBezTo>
                  <a:cubicBezTo>
                    <a:pt x="19810" y="21493"/>
                    <a:pt x="21600" y="18297"/>
                    <a:pt x="21600" y="14369"/>
                  </a:cubicBezTo>
                  <a:cubicBezTo>
                    <a:pt x="21600" y="12476"/>
                    <a:pt x="21177" y="10687"/>
                    <a:pt x="20409" y="9331"/>
                  </a:cubicBezTo>
                  <a:cubicBezTo>
                    <a:pt x="19649" y="7987"/>
                    <a:pt x="18655" y="7247"/>
                    <a:pt x="17609" y="7247"/>
                  </a:cubicBezTo>
                  <a:cubicBezTo>
                    <a:pt x="17164" y="7247"/>
                    <a:pt x="16735" y="7378"/>
                    <a:pt x="16335" y="7620"/>
                  </a:cubicBezTo>
                  <a:lnTo>
                    <a:pt x="15650" y="4808"/>
                  </a:lnTo>
                  <a:lnTo>
                    <a:pt x="15492" y="4162"/>
                  </a:lnTo>
                  <a:lnTo>
                    <a:pt x="14558" y="324"/>
                  </a:lnTo>
                  <a:cubicBezTo>
                    <a:pt x="14506" y="162"/>
                    <a:pt x="14417" y="48"/>
                    <a:pt x="14314" y="12"/>
                  </a:cubicBezTo>
                  <a:cubicBezTo>
                    <a:pt x="14289" y="3"/>
                    <a:pt x="14264" y="-1"/>
                    <a:pt x="14239" y="0"/>
                  </a:cubicBezTo>
                  <a:close/>
                  <a:moveTo>
                    <a:pt x="14588" y="5236"/>
                  </a:moveTo>
                  <a:lnTo>
                    <a:pt x="10892" y="12105"/>
                  </a:lnTo>
                  <a:cubicBezTo>
                    <a:pt x="10665" y="11821"/>
                    <a:pt x="10389" y="11660"/>
                    <a:pt x="10093" y="11670"/>
                  </a:cubicBezTo>
                  <a:cubicBezTo>
                    <a:pt x="9970" y="11675"/>
                    <a:pt x="9849" y="11710"/>
                    <a:pt x="9735" y="11771"/>
                  </a:cubicBezTo>
                  <a:lnTo>
                    <a:pt x="8626" y="8017"/>
                  </a:lnTo>
                  <a:lnTo>
                    <a:pt x="14588" y="5236"/>
                  </a:lnTo>
                  <a:close/>
                  <a:moveTo>
                    <a:pt x="3949" y="8707"/>
                  </a:moveTo>
                  <a:cubicBezTo>
                    <a:pt x="5138" y="8707"/>
                    <a:pt x="6200" y="9939"/>
                    <a:pt x="6748" y="11712"/>
                  </a:cubicBezTo>
                  <a:cubicBezTo>
                    <a:pt x="5357" y="12638"/>
                    <a:pt x="3664" y="13774"/>
                    <a:pt x="3664" y="13774"/>
                  </a:cubicBezTo>
                  <a:cubicBezTo>
                    <a:pt x="3480" y="13875"/>
                    <a:pt x="3377" y="14220"/>
                    <a:pt x="3431" y="14549"/>
                  </a:cubicBezTo>
                  <a:cubicBezTo>
                    <a:pt x="3469" y="14776"/>
                    <a:pt x="3578" y="14942"/>
                    <a:pt x="3710" y="14973"/>
                  </a:cubicBezTo>
                  <a:lnTo>
                    <a:pt x="7123" y="14973"/>
                  </a:lnTo>
                  <a:cubicBezTo>
                    <a:pt x="6962" y="17846"/>
                    <a:pt x="5600" y="20098"/>
                    <a:pt x="3949" y="20098"/>
                  </a:cubicBezTo>
                  <a:cubicBezTo>
                    <a:pt x="2189" y="20098"/>
                    <a:pt x="758" y="17543"/>
                    <a:pt x="758" y="14402"/>
                  </a:cubicBezTo>
                  <a:cubicBezTo>
                    <a:pt x="758" y="11261"/>
                    <a:pt x="2189" y="8707"/>
                    <a:pt x="3949" y="8707"/>
                  </a:cubicBezTo>
                  <a:close/>
                  <a:moveTo>
                    <a:pt x="17609" y="8726"/>
                  </a:moveTo>
                  <a:cubicBezTo>
                    <a:pt x="19323" y="8726"/>
                    <a:pt x="20771" y="11310"/>
                    <a:pt x="20771" y="14369"/>
                  </a:cubicBezTo>
                  <a:cubicBezTo>
                    <a:pt x="20771" y="17481"/>
                    <a:pt x="19353" y="20012"/>
                    <a:pt x="17609" y="20012"/>
                  </a:cubicBezTo>
                  <a:cubicBezTo>
                    <a:pt x="15866" y="20012"/>
                    <a:pt x="14448" y="17481"/>
                    <a:pt x="14448" y="14369"/>
                  </a:cubicBezTo>
                  <a:cubicBezTo>
                    <a:pt x="14448" y="12276"/>
                    <a:pt x="15090" y="10447"/>
                    <a:pt x="16041" y="9473"/>
                  </a:cubicBezTo>
                  <a:lnTo>
                    <a:pt x="17299" y="14610"/>
                  </a:lnTo>
                  <a:cubicBezTo>
                    <a:pt x="17354" y="14838"/>
                    <a:pt x="17479" y="14974"/>
                    <a:pt x="17609" y="14974"/>
                  </a:cubicBezTo>
                  <a:cubicBezTo>
                    <a:pt x="17654" y="14974"/>
                    <a:pt x="17701" y="14957"/>
                    <a:pt x="17744" y="14923"/>
                  </a:cubicBezTo>
                  <a:cubicBezTo>
                    <a:pt x="17916" y="14790"/>
                    <a:pt x="17994" y="14434"/>
                    <a:pt x="17920" y="14128"/>
                  </a:cubicBezTo>
                  <a:lnTo>
                    <a:pt x="16666" y="8982"/>
                  </a:lnTo>
                  <a:cubicBezTo>
                    <a:pt x="16964" y="8816"/>
                    <a:pt x="17281" y="8726"/>
                    <a:pt x="17609" y="8726"/>
                  </a:cubicBezTo>
                  <a:close/>
                </a:path>
              </a:pathLst>
            </a:custGeom>
            <a:solidFill>
              <a:schemeClr val="accent1"/>
            </a:solidFill>
            <a:ln w="12700">
              <a:miter lim="400000"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90000"/>
                </a:lnSpc>
                <a:spcBef>
                  <a:spcPts val="2250"/>
                </a:spcBef>
                <a:defRPr sz="2500" cap="all" spc="125"/>
              </a:pPr>
              <a:endParaRPr sz="1250" dirty="0"/>
            </a:p>
          </p:txBody>
        </p:sp>
        <p:grpSp>
          <p:nvGrpSpPr>
            <p:cNvPr id="9" name="íSļïdê">
              <a:extLst>
                <a:ext uri="{FF2B5EF4-FFF2-40B4-BE49-F238E27FC236}">
                  <a16:creationId xmlns:a16="http://schemas.microsoft.com/office/drawing/2014/main" id="{ACE3A102-70D2-4570-9F24-FE66D809E8A4}"/>
                </a:ext>
              </a:extLst>
            </p:cNvPr>
            <p:cNvGrpSpPr/>
            <p:nvPr/>
          </p:nvGrpSpPr>
          <p:grpSpPr>
            <a:xfrm>
              <a:off x="673100" y="3351637"/>
              <a:ext cx="3051333" cy="2598785"/>
              <a:chOff x="673100" y="3351637"/>
              <a:chExt cx="3051333" cy="2598785"/>
            </a:xfrm>
          </p:grpSpPr>
          <p:sp>
            <p:nvSpPr>
              <p:cNvPr id="16" name="ïšḷíḓé">
                <a:extLst>
                  <a:ext uri="{FF2B5EF4-FFF2-40B4-BE49-F238E27FC236}">
                    <a16:creationId xmlns:a16="http://schemas.microsoft.com/office/drawing/2014/main" id="{31A898CE-26CE-4E95-BCD8-909356E71BF9}"/>
                  </a:ext>
                </a:extLst>
              </p:cNvPr>
              <p:cNvSpPr txBox="1"/>
              <p:nvPr/>
            </p:nvSpPr>
            <p:spPr>
              <a:xfrm>
                <a:off x="673100" y="3846627"/>
                <a:ext cx="3051333" cy="449615"/>
              </a:xfrm>
              <a:prstGeom prst="rect">
                <a:avLst/>
              </a:prstGeom>
            </p:spPr>
            <p:txBody>
              <a:bodyPr vert="horz"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b="1" dirty="0"/>
                  <a:t>Text here</a:t>
                </a:r>
                <a:endParaRPr lang="zh-CN" altLang="en-US" b="1" dirty="0"/>
              </a:p>
            </p:txBody>
          </p:sp>
          <p:sp>
            <p:nvSpPr>
              <p:cNvPr id="17" name="î$ḻîďê">
                <a:extLst>
                  <a:ext uri="{FF2B5EF4-FFF2-40B4-BE49-F238E27FC236}">
                    <a16:creationId xmlns:a16="http://schemas.microsoft.com/office/drawing/2014/main" id="{C75DC510-2268-41AA-A89D-6C0E76AA8671}"/>
                  </a:ext>
                </a:extLst>
              </p:cNvPr>
              <p:cNvSpPr txBox="1"/>
              <p:nvPr/>
            </p:nvSpPr>
            <p:spPr>
              <a:xfrm>
                <a:off x="673100" y="4515788"/>
                <a:ext cx="3051333" cy="685266"/>
              </a:xfrm>
              <a:prstGeom prst="rect">
                <a:avLst/>
              </a:prstGeom>
            </p:spPr>
            <p:txBody>
              <a:bodyPr vert="horz" wrap="square" lIns="91440" tIns="45720" rIns="91440" bIns="4572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>
                  <a:lnSpc>
                    <a:spcPct val="150000"/>
                  </a:lnSpc>
                  <a:spcBef>
                    <a:spcPct val="0"/>
                  </a:spcBef>
                  <a:defRPr/>
                </a:pPr>
                <a:r>
                  <a:rPr lang="en-US" altLang="zh-CN" sz="1100" dirty="0">
                    <a:solidFill>
                      <a:schemeClr val="dk1">
                        <a:lumMod val="100000"/>
                      </a:schemeClr>
                    </a:solidFill>
                  </a:rPr>
                  <a:t>Copy paste fonts. Choose the only option to retain text… …</a:t>
                </a:r>
                <a:endParaRPr lang="zh-CN" altLang="en-US" sz="1100" dirty="0">
                  <a:solidFill>
                    <a:schemeClr val="dk1">
                      <a:lumMod val="100000"/>
                    </a:schemeClr>
                  </a:solidFill>
                </a:endParaRPr>
              </a:p>
            </p:txBody>
          </p:sp>
          <p:sp>
            <p:nvSpPr>
              <p:cNvPr id="18" name="ïŝlíďê">
                <a:extLst>
                  <a:ext uri="{FF2B5EF4-FFF2-40B4-BE49-F238E27FC236}">
                    <a16:creationId xmlns:a16="http://schemas.microsoft.com/office/drawing/2014/main" id="{C75DC510-2268-41AA-A89D-6C0E76AA8671}"/>
                  </a:ext>
                </a:extLst>
              </p:cNvPr>
              <p:cNvSpPr txBox="1"/>
              <p:nvPr/>
            </p:nvSpPr>
            <p:spPr>
              <a:xfrm>
                <a:off x="673100" y="5265156"/>
                <a:ext cx="3051333" cy="685266"/>
              </a:xfrm>
              <a:prstGeom prst="rect">
                <a:avLst/>
              </a:prstGeom>
            </p:spPr>
            <p:txBody>
              <a:bodyPr vert="horz" wrap="square" lIns="91440" tIns="45720" rIns="91440" bIns="4572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>
                  <a:lnSpc>
                    <a:spcPct val="150000"/>
                  </a:lnSpc>
                  <a:spcBef>
                    <a:spcPct val="0"/>
                  </a:spcBef>
                  <a:defRPr/>
                </a:pPr>
                <a:r>
                  <a:rPr lang="en-US" altLang="zh-CN" sz="1100" dirty="0">
                    <a:solidFill>
                      <a:schemeClr val="dk1">
                        <a:lumMod val="100000"/>
                      </a:schemeClr>
                    </a:solidFill>
                  </a:rPr>
                  <a:t>Copy paste fonts. Choose the only option to retain text… …</a:t>
                </a:r>
                <a:endParaRPr lang="zh-CN" altLang="en-US" sz="1100" dirty="0">
                  <a:solidFill>
                    <a:schemeClr val="dk1">
                      <a:lumMod val="100000"/>
                    </a:schemeClr>
                  </a:solidFill>
                </a:endParaRPr>
              </a:p>
            </p:txBody>
          </p:sp>
          <p:sp>
            <p:nvSpPr>
              <p:cNvPr id="19" name="îSľídé">
                <a:extLst>
                  <a:ext uri="{FF2B5EF4-FFF2-40B4-BE49-F238E27FC236}">
                    <a16:creationId xmlns:a16="http://schemas.microsoft.com/office/drawing/2014/main" id="{31A898CE-26CE-4E95-BCD8-909356E71BF9}"/>
                  </a:ext>
                </a:extLst>
              </p:cNvPr>
              <p:cNvSpPr txBox="1"/>
              <p:nvPr/>
            </p:nvSpPr>
            <p:spPr>
              <a:xfrm>
                <a:off x="1849953" y="3351637"/>
                <a:ext cx="697627" cy="400110"/>
              </a:xfrm>
              <a:prstGeom prst="rect">
                <a:avLst/>
              </a:prstGeom>
            </p:spPr>
            <p:txBody>
              <a:bodyPr vert="horz"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sz="2000" b="1" i="1" u="sng" dirty="0">
                    <a:solidFill>
                      <a:schemeClr val="accent2"/>
                    </a:solidFill>
                  </a:rPr>
                  <a:t>56%</a:t>
                </a:r>
                <a:endParaRPr lang="zh-CN" altLang="en-US" sz="2000" b="1" i="1" u="sng" dirty="0">
                  <a:solidFill>
                    <a:schemeClr val="accent2"/>
                  </a:solidFill>
                </a:endParaRPr>
              </a:p>
            </p:txBody>
          </p:sp>
          <p:cxnSp>
            <p:nvCxnSpPr>
              <p:cNvPr id="20" name="直接连接符 19">
                <a:extLst>
                  <a:ext uri="{FF2B5EF4-FFF2-40B4-BE49-F238E27FC236}">
                    <a16:creationId xmlns:a16="http://schemas.microsoft.com/office/drawing/2014/main" id="{40A4E4E0-C376-4855-A6C7-934C17F4A721}"/>
                  </a:ext>
                </a:extLst>
              </p:cNvPr>
              <p:cNvCxnSpPr/>
              <p:nvPr/>
            </p:nvCxnSpPr>
            <p:spPr>
              <a:xfrm>
                <a:off x="854327" y="5233105"/>
                <a:ext cx="2688879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íṩľiḋê">
              <a:extLst>
                <a:ext uri="{FF2B5EF4-FFF2-40B4-BE49-F238E27FC236}">
                  <a16:creationId xmlns:a16="http://schemas.microsoft.com/office/drawing/2014/main" id="{887B5DF7-4BC0-4B45-B055-76CA5C1915A9}"/>
                </a:ext>
              </a:extLst>
            </p:cNvPr>
            <p:cNvGrpSpPr/>
            <p:nvPr/>
          </p:nvGrpSpPr>
          <p:grpSpPr>
            <a:xfrm>
              <a:off x="8467567" y="3351637"/>
              <a:ext cx="3051333" cy="2598785"/>
              <a:chOff x="8467567" y="3351637"/>
              <a:chExt cx="3051333" cy="2598785"/>
            </a:xfrm>
          </p:grpSpPr>
          <p:sp>
            <p:nvSpPr>
              <p:cNvPr id="11" name="ïṥ1îḑe">
                <a:extLst>
                  <a:ext uri="{FF2B5EF4-FFF2-40B4-BE49-F238E27FC236}">
                    <a16:creationId xmlns:a16="http://schemas.microsoft.com/office/drawing/2014/main" id="{31A898CE-26CE-4E95-BCD8-909356E71BF9}"/>
                  </a:ext>
                </a:extLst>
              </p:cNvPr>
              <p:cNvSpPr txBox="1"/>
              <p:nvPr/>
            </p:nvSpPr>
            <p:spPr>
              <a:xfrm>
                <a:off x="8467567" y="3846627"/>
                <a:ext cx="3051333" cy="449615"/>
              </a:xfrm>
              <a:prstGeom prst="rect">
                <a:avLst/>
              </a:prstGeom>
            </p:spPr>
            <p:txBody>
              <a:bodyPr vert="horz"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b="1" dirty="0"/>
                  <a:t>Text here</a:t>
                </a:r>
                <a:endParaRPr lang="zh-CN" altLang="en-US" b="1" dirty="0"/>
              </a:p>
            </p:txBody>
          </p:sp>
          <p:sp>
            <p:nvSpPr>
              <p:cNvPr id="12" name="ísļíḍe">
                <a:extLst>
                  <a:ext uri="{FF2B5EF4-FFF2-40B4-BE49-F238E27FC236}">
                    <a16:creationId xmlns:a16="http://schemas.microsoft.com/office/drawing/2014/main" id="{C75DC510-2268-41AA-A89D-6C0E76AA8671}"/>
                  </a:ext>
                </a:extLst>
              </p:cNvPr>
              <p:cNvSpPr txBox="1"/>
              <p:nvPr/>
            </p:nvSpPr>
            <p:spPr>
              <a:xfrm>
                <a:off x="8467567" y="4515788"/>
                <a:ext cx="3051333" cy="685266"/>
              </a:xfrm>
              <a:prstGeom prst="rect">
                <a:avLst/>
              </a:prstGeom>
            </p:spPr>
            <p:txBody>
              <a:bodyPr vert="horz" wrap="square" lIns="91440" tIns="45720" rIns="91440" bIns="4572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>
                  <a:lnSpc>
                    <a:spcPct val="150000"/>
                  </a:lnSpc>
                  <a:spcBef>
                    <a:spcPct val="0"/>
                  </a:spcBef>
                  <a:defRPr/>
                </a:pPr>
                <a:r>
                  <a:rPr lang="en-US" altLang="zh-CN" sz="1100" dirty="0">
                    <a:solidFill>
                      <a:schemeClr val="dk1">
                        <a:lumMod val="100000"/>
                      </a:schemeClr>
                    </a:solidFill>
                  </a:rPr>
                  <a:t>Copy paste fonts. Choose the only option to retain text… …</a:t>
                </a:r>
                <a:endParaRPr lang="zh-CN" altLang="en-US" sz="1100" dirty="0">
                  <a:solidFill>
                    <a:schemeClr val="dk1">
                      <a:lumMod val="100000"/>
                    </a:schemeClr>
                  </a:solidFill>
                </a:endParaRPr>
              </a:p>
            </p:txBody>
          </p:sp>
          <p:sp>
            <p:nvSpPr>
              <p:cNvPr id="13" name="iSļíḍé">
                <a:extLst>
                  <a:ext uri="{FF2B5EF4-FFF2-40B4-BE49-F238E27FC236}">
                    <a16:creationId xmlns:a16="http://schemas.microsoft.com/office/drawing/2014/main" id="{C75DC510-2268-41AA-A89D-6C0E76AA8671}"/>
                  </a:ext>
                </a:extLst>
              </p:cNvPr>
              <p:cNvSpPr txBox="1"/>
              <p:nvPr/>
            </p:nvSpPr>
            <p:spPr>
              <a:xfrm>
                <a:off x="8467567" y="5265156"/>
                <a:ext cx="3051333" cy="685266"/>
              </a:xfrm>
              <a:prstGeom prst="rect">
                <a:avLst/>
              </a:prstGeom>
            </p:spPr>
            <p:txBody>
              <a:bodyPr vert="horz" wrap="square" lIns="91440" tIns="45720" rIns="91440" bIns="4572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>
                  <a:lnSpc>
                    <a:spcPct val="150000"/>
                  </a:lnSpc>
                  <a:spcBef>
                    <a:spcPct val="0"/>
                  </a:spcBef>
                  <a:defRPr/>
                </a:pPr>
                <a:r>
                  <a:rPr lang="en-US" altLang="zh-CN" sz="1100" dirty="0">
                    <a:solidFill>
                      <a:schemeClr val="dk1">
                        <a:lumMod val="100000"/>
                      </a:schemeClr>
                    </a:solidFill>
                  </a:rPr>
                  <a:t>Copy paste fonts. Choose the only option to retain text… …</a:t>
                </a:r>
                <a:endParaRPr lang="zh-CN" altLang="en-US" sz="1100" dirty="0">
                  <a:solidFill>
                    <a:schemeClr val="dk1">
                      <a:lumMod val="100000"/>
                    </a:schemeClr>
                  </a:solidFill>
                </a:endParaRPr>
              </a:p>
            </p:txBody>
          </p:sp>
          <p:sp>
            <p:nvSpPr>
              <p:cNvPr id="14" name="íṧľïḍê">
                <a:extLst>
                  <a:ext uri="{FF2B5EF4-FFF2-40B4-BE49-F238E27FC236}">
                    <a16:creationId xmlns:a16="http://schemas.microsoft.com/office/drawing/2014/main" id="{31A898CE-26CE-4E95-BCD8-909356E71BF9}"/>
                  </a:ext>
                </a:extLst>
              </p:cNvPr>
              <p:cNvSpPr txBox="1"/>
              <p:nvPr/>
            </p:nvSpPr>
            <p:spPr>
              <a:xfrm>
                <a:off x="9644420" y="3351637"/>
                <a:ext cx="697627" cy="400110"/>
              </a:xfrm>
              <a:prstGeom prst="rect">
                <a:avLst/>
              </a:prstGeom>
            </p:spPr>
            <p:txBody>
              <a:bodyPr vert="horz"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sz="2000" b="1" i="1" u="sng" dirty="0">
                    <a:solidFill>
                      <a:schemeClr val="accent2"/>
                    </a:solidFill>
                  </a:rPr>
                  <a:t>88%</a:t>
                </a:r>
                <a:endParaRPr lang="zh-CN" altLang="en-US" sz="2000" b="1" i="1" u="sng" dirty="0">
                  <a:solidFill>
                    <a:schemeClr val="accent2"/>
                  </a:solidFill>
                </a:endParaRPr>
              </a:p>
            </p:txBody>
          </p:sp>
          <p:cxnSp>
            <p:nvCxnSpPr>
              <p:cNvPr id="15" name="直接连接符 14">
                <a:extLst>
                  <a:ext uri="{FF2B5EF4-FFF2-40B4-BE49-F238E27FC236}">
                    <a16:creationId xmlns:a16="http://schemas.microsoft.com/office/drawing/2014/main" id="{D09E507C-80FE-4433-A6F4-AAB8CD42EC3B}"/>
                  </a:ext>
                </a:extLst>
              </p:cNvPr>
              <p:cNvCxnSpPr/>
              <p:nvPr/>
            </p:nvCxnSpPr>
            <p:spPr>
              <a:xfrm>
                <a:off x="8648794" y="5233105"/>
                <a:ext cx="2688879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91425207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4AF71AC-A967-4DD7-A983-6F7E99CED7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92B762B-22F2-4316-87AE-3ED6A08FC1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12006F2-3E7D-4658-833D-5371DA4B9E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 dirty="0"/>
          </a:p>
        </p:txBody>
      </p:sp>
      <p:grpSp>
        <p:nvGrpSpPr>
          <p:cNvPr id="380" name="íşlïďe">
            <a:extLst>
              <a:ext uri="{FF2B5EF4-FFF2-40B4-BE49-F238E27FC236}">
                <a16:creationId xmlns:a16="http://schemas.microsoft.com/office/drawing/2014/main" id="{C38DAA2D-2B66-4AF3-A709-22ECBF2CDB04}"/>
              </a:ext>
            </a:extLst>
          </p:cNvPr>
          <p:cNvGrpSpPr/>
          <p:nvPr/>
        </p:nvGrpSpPr>
        <p:grpSpPr>
          <a:xfrm>
            <a:off x="2635250" y="1130300"/>
            <a:ext cx="6908800" cy="1612899"/>
            <a:chOff x="660400" y="1130300"/>
            <a:chExt cx="10858500" cy="1612899"/>
          </a:xfrm>
        </p:grpSpPr>
        <p:sp>
          <p:nvSpPr>
            <p:cNvPr id="564" name="iśļïďè">
              <a:extLst>
                <a:ext uri="{FF2B5EF4-FFF2-40B4-BE49-F238E27FC236}">
                  <a16:creationId xmlns:a16="http://schemas.microsoft.com/office/drawing/2014/main" id="{F6C0B8BD-8162-4FCA-B7AC-235FD87189C5}"/>
                </a:ext>
              </a:extLst>
            </p:cNvPr>
            <p:cNvSpPr txBox="1"/>
            <p:nvPr/>
          </p:nvSpPr>
          <p:spPr>
            <a:xfrm>
              <a:off x="660400" y="1130300"/>
              <a:ext cx="10858500" cy="63441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SzPct val="25000"/>
              </a:pPr>
              <a:r>
                <a:rPr lang="en-US" sz="2400" b="1" dirty="0"/>
                <a:t>Unified fonts make reading more fluent.</a:t>
              </a:r>
            </a:p>
          </p:txBody>
        </p:sp>
        <p:sp>
          <p:nvSpPr>
            <p:cNvPr id="565" name="is1iḓê">
              <a:extLst>
                <a:ext uri="{FF2B5EF4-FFF2-40B4-BE49-F238E27FC236}">
                  <a16:creationId xmlns:a16="http://schemas.microsoft.com/office/drawing/2014/main" id="{4526A6D4-3938-483E-AE04-387A4D4F50AE}"/>
                </a:ext>
              </a:extLst>
            </p:cNvPr>
            <p:cNvSpPr txBox="1"/>
            <p:nvPr/>
          </p:nvSpPr>
          <p:spPr>
            <a:xfrm>
              <a:off x="660400" y="1764712"/>
              <a:ext cx="10858500" cy="9784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  <a:buSzPct val="25000"/>
              </a:pPr>
              <a:r>
                <a:rPr lang="en-US" altLang="zh-CN" sz="1200" dirty="0"/>
                <a:t>Theme color makes PPT more convenient to </a:t>
              </a:r>
              <a:r>
                <a:rPr lang="en-US" altLang="zh-CN" sz="1200" dirty="0" err="1"/>
                <a:t>change.Adjust</a:t>
              </a:r>
              <a:r>
                <a:rPr lang="en-US" altLang="zh-CN" sz="1200" dirty="0"/>
                <a:t> the spacing to adapt to Chinese typesetting, use the reference line in PPT.</a:t>
              </a:r>
            </a:p>
            <a:p>
              <a:pPr algn="ctr">
                <a:lnSpc>
                  <a:spcPct val="150000"/>
                </a:lnSpc>
                <a:buSzPct val="25000"/>
              </a:pPr>
              <a:r>
                <a:rPr lang="en-US" altLang="zh-CN" sz="1200" dirty="0"/>
                <a:t>……</a:t>
              </a:r>
            </a:p>
          </p:txBody>
        </p:sp>
      </p:grpSp>
      <p:sp>
        <p:nvSpPr>
          <p:cNvPr id="562" name="ïşḻiḍê">
            <a:extLst>
              <a:ext uri="{FF2B5EF4-FFF2-40B4-BE49-F238E27FC236}">
                <a16:creationId xmlns:a16="http://schemas.microsoft.com/office/drawing/2014/main" id="{E58D5C9D-AE0F-46EB-8790-126759E2A89C}"/>
              </a:ext>
            </a:extLst>
          </p:cNvPr>
          <p:cNvSpPr/>
          <p:nvPr/>
        </p:nvSpPr>
        <p:spPr>
          <a:xfrm>
            <a:off x="3504344" y="2730499"/>
            <a:ext cx="5170611" cy="3652236"/>
          </a:xfrm>
          <a:prstGeom prst="roundRect">
            <a:avLst>
              <a:gd name="adj" fmla="val 6930"/>
            </a:avLst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563" name="íSļíďè">
            <a:extLst>
              <a:ext uri="{FF2B5EF4-FFF2-40B4-BE49-F238E27FC236}">
                <a16:creationId xmlns:a16="http://schemas.microsoft.com/office/drawing/2014/main" id="{751296C6-49CD-4CE3-A373-47F3F356CD3A}"/>
              </a:ext>
            </a:extLst>
          </p:cNvPr>
          <p:cNvSpPr/>
          <p:nvPr/>
        </p:nvSpPr>
        <p:spPr>
          <a:xfrm>
            <a:off x="3733800" y="2931568"/>
            <a:ext cx="4711700" cy="3250098"/>
          </a:xfrm>
          <a:prstGeom prst="roundRect">
            <a:avLst>
              <a:gd name="adj" fmla="val 5726"/>
            </a:avLst>
          </a:prstGeom>
          <a:solidFill>
            <a:schemeClr val="bg1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382" name="íṩlïḍ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8C27D8AE-9A15-4F35-BDA0-0EE5F514B520}"/>
              </a:ext>
            </a:extLst>
          </p:cNvPr>
          <p:cNvGrpSpPr>
            <a:grpSpLocks noChangeAspect="1"/>
          </p:cNvGrpSpPr>
          <p:nvPr/>
        </p:nvGrpSpPr>
        <p:grpSpPr>
          <a:xfrm>
            <a:off x="3969403" y="3535874"/>
            <a:ext cx="4240498" cy="2041492"/>
            <a:chOff x="1071716" y="1247323"/>
            <a:chExt cx="10048568" cy="4837661"/>
          </a:xfrm>
          <a:solidFill>
            <a:schemeClr val="bg1">
              <a:lumMod val="75000"/>
            </a:schemeClr>
          </a:solidFill>
        </p:grpSpPr>
        <p:sp>
          <p:nvSpPr>
            <p:cNvPr id="419" name="ïŝḷîḑê">
              <a:extLst>
                <a:ext uri="{FF2B5EF4-FFF2-40B4-BE49-F238E27FC236}">
                  <a16:creationId xmlns:a16="http://schemas.microsoft.com/office/drawing/2014/main" id="{3579CB76-2CC0-4C80-A267-A7468921798C}"/>
                </a:ext>
              </a:extLst>
            </p:cNvPr>
            <p:cNvSpPr/>
            <p:nvPr/>
          </p:nvSpPr>
          <p:spPr>
            <a:xfrm>
              <a:off x="1071716" y="1560254"/>
              <a:ext cx="2892665" cy="2241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71" y="862"/>
                  </a:moveTo>
                  <a:lnTo>
                    <a:pt x="3355" y="857"/>
                  </a:lnTo>
                  <a:lnTo>
                    <a:pt x="3271" y="882"/>
                  </a:lnTo>
                  <a:lnTo>
                    <a:pt x="3183" y="953"/>
                  </a:lnTo>
                  <a:lnTo>
                    <a:pt x="3184" y="1042"/>
                  </a:lnTo>
                  <a:lnTo>
                    <a:pt x="3333" y="1224"/>
                  </a:lnTo>
                  <a:lnTo>
                    <a:pt x="3405" y="1341"/>
                  </a:lnTo>
                  <a:lnTo>
                    <a:pt x="3390" y="1464"/>
                  </a:lnTo>
                  <a:lnTo>
                    <a:pt x="3242" y="1537"/>
                  </a:lnTo>
                  <a:lnTo>
                    <a:pt x="3142" y="1593"/>
                  </a:lnTo>
                  <a:lnTo>
                    <a:pt x="3051" y="1629"/>
                  </a:lnTo>
                  <a:lnTo>
                    <a:pt x="2932" y="1629"/>
                  </a:lnTo>
                  <a:lnTo>
                    <a:pt x="2859" y="1585"/>
                  </a:lnTo>
                  <a:lnTo>
                    <a:pt x="2789" y="1563"/>
                  </a:lnTo>
                  <a:lnTo>
                    <a:pt x="2709" y="1563"/>
                  </a:lnTo>
                  <a:lnTo>
                    <a:pt x="2538" y="1534"/>
                  </a:lnTo>
                  <a:lnTo>
                    <a:pt x="2466" y="1563"/>
                  </a:lnTo>
                  <a:lnTo>
                    <a:pt x="2365" y="1607"/>
                  </a:lnTo>
                  <a:lnTo>
                    <a:pt x="2298" y="1641"/>
                  </a:lnTo>
                  <a:lnTo>
                    <a:pt x="2170" y="1699"/>
                  </a:lnTo>
                  <a:lnTo>
                    <a:pt x="2067" y="1750"/>
                  </a:lnTo>
                  <a:lnTo>
                    <a:pt x="1990" y="1821"/>
                  </a:lnTo>
                  <a:lnTo>
                    <a:pt x="1951" y="1874"/>
                  </a:lnTo>
                  <a:lnTo>
                    <a:pt x="1983" y="1939"/>
                  </a:lnTo>
                  <a:lnTo>
                    <a:pt x="2111" y="2002"/>
                  </a:lnTo>
                  <a:lnTo>
                    <a:pt x="2233" y="2014"/>
                  </a:lnTo>
                  <a:lnTo>
                    <a:pt x="2276" y="2084"/>
                  </a:lnTo>
                  <a:lnTo>
                    <a:pt x="2346" y="2091"/>
                  </a:lnTo>
                  <a:lnTo>
                    <a:pt x="2437" y="2062"/>
                  </a:lnTo>
                  <a:lnTo>
                    <a:pt x="2540" y="1999"/>
                  </a:lnTo>
                  <a:lnTo>
                    <a:pt x="2612" y="1957"/>
                  </a:lnTo>
                  <a:lnTo>
                    <a:pt x="2743" y="1921"/>
                  </a:lnTo>
                  <a:lnTo>
                    <a:pt x="2857" y="1964"/>
                  </a:lnTo>
                  <a:lnTo>
                    <a:pt x="2857" y="2077"/>
                  </a:lnTo>
                  <a:lnTo>
                    <a:pt x="2787" y="2146"/>
                  </a:lnTo>
                  <a:lnTo>
                    <a:pt x="2684" y="2233"/>
                  </a:lnTo>
                  <a:lnTo>
                    <a:pt x="2588" y="2379"/>
                  </a:lnTo>
                  <a:lnTo>
                    <a:pt x="2406" y="2517"/>
                  </a:lnTo>
                  <a:lnTo>
                    <a:pt x="2207" y="2539"/>
                  </a:lnTo>
                  <a:lnTo>
                    <a:pt x="1909" y="2568"/>
                  </a:lnTo>
                  <a:lnTo>
                    <a:pt x="1651" y="2627"/>
                  </a:lnTo>
                  <a:lnTo>
                    <a:pt x="1469" y="2721"/>
                  </a:lnTo>
                  <a:lnTo>
                    <a:pt x="1322" y="2843"/>
                  </a:lnTo>
                  <a:lnTo>
                    <a:pt x="1251" y="2882"/>
                  </a:lnTo>
                  <a:lnTo>
                    <a:pt x="1186" y="3000"/>
                  </a:lnTo>
                  <a:lnTo>
                    <a:pt x="1231" y="3090"/>
                  </a:lnTo>
                  <a:lnTo>
                    <a:pt x="1253" y="3243"/>
                  </a:lnTo>
                  <a:lnTo>
                    <a:pt x="1206" y="3386"/>
                  </a:lnTo>
                  <a:lnTo>
                    <a:pt x="1138" y="3503"/>
                  </a:lnTo>
                  <a:lnTo>
                    <a:pt x="1047" y="3568"/>
                  </a:lnTo>
                  <a:lnTo>
                    <a:pt x="990" y="3598"/>
                  </a:lnTo>
                  <a:lnTo>
                    <a:pt x="895" y="3671"/>
                  </a:lnTo>
                  <a:lnTo>
                    <a:pt x="846" y="3748"/>
                  </a:lnTo>
                  <a:lnTo>
                    <a:pt x="900" y="3817"/>
                  </a:lnTo>
                  <a:lnTo>
                    <a:pt x="1049" y="3874"/>
                  </a:lnTo>
                  <a:lnTo>
                    <a:pt x="1159" y="3952"/>
                  </a:lnTo>
                  <a:lnTo>
                    <a:pt x="1272" y="3905"/>
                  </a:lnTo>
                  <a:lnTo>
                    <a:pt x="1375" y="3811"/>
                  </a:lnTo>
                  <a:lnTo>
                    <a:pt x="1500" y="3789"/>
                  </a:lnTo>
                  <a:lnTo>
                    <a:pt x="1562" y="3898"/>
                  </a:lnTo>
                  <a:lnTo>
                    <a:pt x="1479" y="4034"/>
                  </a:lnTo>
                  <a:lnTo>
                    <a:pt x="1276" y="4180"/>
                  </a:lnTo>
                  <a:lnTo>
                    <a:pt x="967" y="4357"/>
                  </a:lnTo>
                  <a:lnTo>
                    <a:pt x="603" y="4579"/>
                  </a:lnTo>
                  <a:lnTo>
                    <a:pt x="227" y="4739"/>
                  </a:lnTo>
                  <a:lnTo>
                    <a:pt x="77" y="4776"/>
                  </a:lnTo>
                  <a:lnTo>
                    <a:pt x="0" y="4852"/>
                  </a:lnTo>
                  <a:lnTo>
                    <a:pt x="90" y="4896"/>
                  </a:lnTo>
                  <a:lnTo>
                    <a:pt x="253" y="4896"/>
                  </a:lnTo>
                  <a:lnTo>
                    <a:pt x="574" y="4762"/>
                  </a:lnTo>
                  <a:lnTo>
                    <a:pt x="1090" y="4512"/>
                  </a:lnTo>
                  <a:lnTo>
                    <a:pt x="1721" y="4146"/>
                  </a:lnTo>
                  <a:lnTo>
                    <a:pt x="1947" y="4061"/>
                  </a:lnTo>
                  <a:lnTo>
                    <a:pt x="2151" y="4010"/>
                  </a:lnTo>
                  <a:lnTo>
                    <a:pt x="2424" y="3876"/>
                  </a:lnTo>
                  <a:lnTo>
                    <a:pt x="2669" y="3694"/>
                  </a:lnTo>
                  <a:lnTo>
                    <a:pt x="2845" y="3589"/>
                  </a:lnTo>
                  <a:lnTo>
                    <a:pt x="3007" y="3485"/>
                  </a:lnTo>
                  <a:lnTo>
                    <a:pt x="3144" y="3448"/>
                  </a:lnTo>
                  <a:lnTo>
                    <a:pt x="3223" y="3477"/>
                  </a:lnTo>
                  <a:lnTo>
                    <a:pt x="3316" y="3526"/>
                  </a:lnTo>
                  <a:lnTo>
                    <a:pt x="3468" y="3467"/>
                  </a:lnTo>
                  <a:lnTo>
                    <a:pt x="3802" y="3365"/>
                  </a:lnTo>
                  <a:lnTo>
                    <a:pt x="3944" y="3233"/>
                  </a:lnTo>
                  <a:lnTo>
                    <a:pt x="4086" y="3138"/>
                  </a:lnTo>
                  <a:lnTo>
                    <a:pt x="4204" y="3181"/>
                  </a:lnTo>
                  <a:lnTo>
                    <a:pt x="4397" y="3244"/>
                  </a:lnTo>
                  <a:lnTo>
                    <a:pt x="4521" y="3281"/>
                  </a:lnTo>
                  <a:lnTo>
                    <a:pt x="4639" y="3339"/>
                  </a:lnTo>
                  <a:lnTo>
                    <a:pt x="4775" y="3368"/>
                  </a:lnTo>
                  <a:lnTo>
                    <a:pt x="4854" y="3425"/>
                  </a:lnTo>
                  <a:lnTo>
                    <a:pt x="5019" y="3462"/>
                  </a:lnTo>
                  <a:lnTo>
                    <a:pt x="5175" y="3517"/>
                  </a:lnTo>
                  <a:lnTo>
                    <a:pt x="5355" y="3539"/>
                  </a:lnTo>
                  <a:lnTo>
                    <a:pt x="5417" y="3626"/>
                  </a:lnTo>
                  <a:lnTo>
                    <a:pt x="5565" y="3719"/>
                  </a:lnTo>
                  <a:lnTo>
                    <a:pt x="5597" y="3852"/>
                  </a:lnTo>
                  <a:lnTo>
                    <a:pt x="5745" y="3981"/>
                  </a:lnTo>
                  <a:lnTo>
                    <a:pt x="5908" y="3981"/>
                  </a:lnTo>
                  <a:lnTo>
                    <a:pt x="6085" y="4147"/>
                  </a:lnTo>
                  <a:lnTo>
                    <a:pt x="6174" y="4375"/>
                  </a:lnTo>
                  <a:lnTo>
                    <a:pt x="6176" y="4532"/>
                  </a:lnTo>
                  <a:lnTo>
                    <a:pt x="6104" y="4646"/>
                  </a:lnTo>
                  <a:lnTo>
                    <a:pt x="6105" y="4760"/>
                  </a:lnTo>
                  <a:lnTo>
                    <a:pt x="6133" y="4859"/>
                  </a:lnTo>
                  <a:lnTo>
                    <a:pt x="6182" y="4992"/>
                  </a:lnTo>
                  <a:lnTo>
                    <a:pt x="6142" y="5132"/>
                  </a:lnTo>
                  <a:lnTo>
                    <a:pt x="6087" y="5256"/>
                  </a:lnTo>
                  <a:lnTo>
                    <a:pt x="6047" y="5423"/>
                  </a:lnTo>
                  <a:lnTo>
                    <a:pt x="5980" y="5547"/>
                  </a:lnTo>
                  <a:lnTo>
                    <a:pt x="5974" y="5648"/>
                  </a:lnTo>
                  <a:lnTo>
                    <a:pt x="5991" y="5729"/>
                  </a:lnTo>
                  <a:lnTo>
                    <a:pt x="6063" y="5807"/>
                  </a:lnTo>
                  <a:lnTo>
                    <a:pt x="6052" y="5953"/>
                  </a:lnTo>
                  <a:lnTo>
                    <a:pt x="5940" y="6067"/>
                  </a:lnTo>
                  <a:lnTo>
                    <a:pt x="5904" y="6154"/>
                  </a:lnTo>
                  <a:lnTo>
                    <a:pt x="5939" y="6241"/>
                  </a:lnTo>
                  <a:lnTo>
                    <a:pt x="6058" y="6365"/>
                  </a:lnTo>
                  <a:lnTo>
                    <a:pt x="6223" y="6556"/>
                  </a:lnTo>
                  <a:lnTo>
                    <a:pt x="6343" y="6699"/>
                  </a:lnTo>
                  <a:lnTo>
                    <a:pt x="6434" y="6845"/>
                  </a:lnTo>
                  <a:lnTo>
                    <a:pt x="6500" y="7107"/>
                  </a:lnTo>
                  <a:lnTo>
                    <a:pt x="6489" y="7297"/>
                  </a:lnTo>
                  <a:lnTo>
                    <a:pt x="6460" y="7435"/>
                  </a:lnTo>
                  <a:lnTo>
                    <a:pt x="6404" y="7536"/>
                  </a:lnTo>
                  <a:lnTo>
                    <a:pt x="6347" y="7646"/>
                  </a:lnTo>
                  <a:lnTo>
                    <a:pt x="6233" y="7774"/>
                  </a:lnTo>
                  <a:lnTo>
                    <a:pt x="6155" y="7825"/>
                  </a:lnTo>
                  <a:lnTo>
                    <a:pt x="6116" y="7774"/>
                  </a:lnTo>
                  <a:lnTo>
                    <a:pt x="6099" y="7686"/>
                  </a:lnTo>
                  <a:lnTo>
                    <a:pt x="6184" y="7556"/>
                  </a:lnTo>
                  <a:lnTo>
                    <a:pt x="6118" y="7534"/>
                  </a:lnTo>
                  <a:lnTo>
                    <a:pt x="5937" y="7519"/>
                  </a:lnTo>
                  <a:lnTo>
                    <a:pt x="5869" y="7534"/>
                  </a:lnTo>
                  <a:lnTo>
                    <a:pt x="5847" y="7626"/>
                  </a:lnTo>
                  <a:lnTo>
                    <a:pt x="5773" y="7891"/>
                  </a:lnTo>
                  <a:lnTo>
                    <a:pt x="5640" y="8226"/>
                  </a:lnTo>
                  <a:lnTo>
                    <a:pt x="5551" y="8409"/>
                  </a:lnTo>
                  <a:lnTo>
                    <a:pt x="5477" y="8496"/>
                  </a:lnTo>
                  <a:lnTo>
                    <a:pt x="5437" y="8605"/>
                  </a:lnTo>
                  <a:lnTo>
                    <a:pt x="5358" y="8684"/>
                  </a:lnTo>
                  <a:lnTo>
                    <a:pt x="5286" y="8789"/>
                  </a:lnTo>
                  <a:lnTo>
                    <a:pt x="5207" y="8896"/>
                  </a:lnTo>
                  <a:lnTo>
                    <a:pt x="5129" y="8983"/>
                  </a:lnTo>
                  <a:lnTo>
                    <a:pt x="5067" y="9121"/>
                  </a:lnTo>
                  <a:lnTo>
                    <a:pt x="4998" y="9301"/>
                  </a:lnTo>
                  <a:lnTo>
                    <a:pt x="4938" y="9544"/>
                  </a:lnTo>
                  <a:lnTo>
                    <a:pt x="4887" y="9705"/>
                  </a:lnTo>
                  <a:lnTo>
                    <a:pt x="4728" y="9947"/>
                  </a:lnTo>
                  <a:lnTo>
                    <a:pt x="4614" y="10032"/>
                  </a:lnTo>
                  <a:lnTo>
                    <a:pt x="4588" y="10124"/>
                  </a:lnTo>
                  <a:lnTo>
                    <a:pt x="4607" y="10221"/>
                  </a:lnTo>
                  <a:lnTo>
                    <a:pt x="4667" y="10298"/>
                  </a:lnTo>
                  <a:lnTo>
                    <a:pt x="4646" y="10400"/>
                  </a:lnTo>
                  <a:lnTo>
                    <a:pt x="4578" y="10466"/>
                  </a:lnTo>
                  <a:lnTo>
                    <a:pt x="4533" y="10596"/>
                  </a:lnTo>
                  <a:lnTo>
                    <a:pt x="4533" y="10730"/>
                  </a:lnTo>
                  <a:lnTo>
                    <a:pt x="4564" y="10866"/>
                  </a:lnTo>
                  <a:lnTo>
                    <a:pt x="4615" y="10975"/>
                  </a:lnTo>
                  <a:lnTo>
                    <a:pt x="4687" y="11050"/>
                  </a:lnTo>
                  <a:lnTo>
                    <a:pt x="4672" y="11124"/>
                  </a:lnTo>
                  <a:lnTo>
                    <a:pt x="4602" y="11167"/>
                  </a:lnTo>
                  <a:lnTo>
                    <a:pt x="4575" y="11232"/>
                  </a:lnTo>
                  <a:lnTo>
                    <a:pt x="4638" y="11310"/>
                  </a:lnTo>
                  <a:lnTo>
                    <a:pt x="4658" y="11489"/>
                  </a:lnTo>
                  <a:lnTo>
                    <a:pt x="4708" y="11732"/>
                  </a:lnTo>
                  <a:lnTo>
                    <a:pt x="4757" y="12031"/>
                  </a:lnTo>
                  <a:lnTo>
                    <a:pt x="4809" y="12198"/>
                  </a:lnTo>
                  <a:lnTo>
                    <a:pt x="4889" y="12242"/>
                  </a:lnTo>
                  <a:lnTo>
                    <a:pt x="4983" y="12307"/>
                  </a:lnTo>
                  <a:lnTo>
                    <a:pt x="5074" y="12365"/>
                  </a:lnTo>
                  <a:lnTo>
                    <a:pt x="5182" y="12551"/>
                  </a:lnTo>
                  <a:lnTo>
                    <a:pt x="5257" y="12784"/>
                  </a:lnTo>
                  <a:lnTo>
                    <a:pt x="5291" y="13051"/>
                  </a:lnTo>
                  <a:lnTo>
                    <a:pt x="5251" y="13252"/>
                  </a:lnTo>
                  <a:lnTo>
                    <a:pt x="5228" y="13427"/>
                  </a:lnTo>
                  <a:lnTo>
                    <a:pt x="5243" y="13556"/>
                  </a:lnTo>
                  <a:lnTo>
                    <a:pt x="5361" y="13731"/>
                  </a:lnTo>
                  <a:lnTo>
                    <a:pt x="5475" y="14018"/>
                  </a:lnTo>
                  <a:lnTo>
                    <a:pt x="5549" y="14237"/>
                  </a:lnTo>
                  <a:lnTo>
                    <a:pt x="5534" y="14380"/>
                  </a:lnTo>
                  <a:lnTo>
                    <a:pt x="5455" y="14489"/>
                  </a:lnTo>
                  <a:lnTo>
                    <a:pt x="5444" y="14620"/>
                  </a:lnTo>
                  <a:lnTo>
                    <a:pt x="5538" y="14705"/>
                  </a:lnTo>
                  <a:lnTo>
                    <a:pt x="5553" y="14790"/>
                  </a:lnTo>
                  <a:lnTo>
                    <a:pt x="5597" y="14873"/>
                  </a:lnTo>
                  <a:lnTo>
                    <a:pt x="5705" y="14957"/>
                  </a:lnTo>
                  <a:lnTo>
                    <a:pt x="5832" y="15137"/>
                  </a:lnTo>
                  <a:lnTo>
                    <a:pt x="5849" y="15280"/>
                  </a:lnTo>
                  <a:lnTo>
                    <a:pt x="5806" y="15409"/>
                  </a:lnTo>
                  <a:lnTo>
                    <a:pt x="5785" y="15479"/>
                  </a:lnTo>
                  <a:lnTo>
                    <a:pt x="5785" y="15568"/>
                  </a:lnTo>
                  <a:lnTo>
                    <a:pt x="5876" y="15690"/>
                  </a:lnTo>
                  <a:lnTo>
                    <a:pt x="5983" y="15842"/>
                  </a:lnTo>
                  <a:lnTo>
                    <a:pt x="6074" y="15973"/>
                  </a:lnTo>
                  <a:lnTo>
                    <a:pt x="6165" y="16095"/>
                  </a:lnTo>
                  <a:lnTo>
                    <a:pt x="6241" y="16141"/>
                  </a:lnTo>
                  <a:lnTo>
                    <a:pt x="6223" y="16045"/>
                  </a:lnTo>
                  <a:lnTo>
                    <a:pt x="6167" y="15916"/>
                  </a:lnTo>
                  <a:lnTo>
                    <a:pt x="6083" y="15746"/>
                  </a:lnTo>
                  <a:lnTo>
                    <a:pt x="6049" y="15645"/>
                  </a:lnTo>
                  <a:lnTo>
                    <a:pt x="6033" y="15535"/>
                  </a:lnTo>
                  <a:lnTo>
                    <a:pt x="6033" y="15389"/>
                  </a:lnTo>
                  <a:lnTo>
                    <a:pt x="6006" y="15260"/>
                  </a:lnTo>
                  <a:lnTo>
                    <a:pt x="5944" y="15173"/>
                  </a:lnTo>
                  <a:lnTo>
                    <a:pt x="5928" y="15052"/>
                  </a:lnTo>
                  <a:lnTo>
                    <a:pt x="5923" y="14877"/>
                  </a:lnTo>
                  <a:lnTo>
                    <a:pt x="5917" y="14782"/>
                  </a:lnTo>
                  <a:lnTo>
                    <a:pt x="5826" y="14534"/>
                  </a:lnTo>
                  <a:lnTo>
                    <a:pt x="5720" y="14254"/>
                  </a:lnTo>
                  <a:lnTo>
                    <a:pt x="5646" y="13909"/>
                  </a:lnTo>
                  <a:lnTo>
                    <a:pt x="5549" y="13654"/>
                  </a:lnTo>
                  <a:lnTo>
                    <a:pt x="5538" y="13489"/>
                  </a:lnTo>
                  <a:lnTo>
                    <a:pt x="5583" y="13314"/>
                  </a:lnTo>
                  <a:lnTo>
                    <a:pt x="5657" y="13214"/>
                  </a:lnTo>
                  <a:lnTo>
                    <a:pt x="5739" y="13178"/>
                  </a:lnTo>
                  <a:lnTo>
                    <a:pt x="5837" y="13204"/>
                  </a:lnTo>
                  <a:lnTo>
                    <a:pt x="6002" y="13298"/>
                  </a:lnTo>
                  <a:lnTo>
                    <a:pt x="6041" y="13466"/>
                  </a:lnTo>
                  <a:lnTo>
                    <a:pt x="6021" y="13669"/>
                  </a:lnTo>
                  <a:lnTo>
                    <a:pt x="6083" y="13842"/>
                  </a:lnTo>
                  <a:lnTo>
                    <a:pt x="6123" y="14044"/>
                  </a:lnTo>
                  <a:lnTo>
                    <a:pt x="6214" y="14248"/>
                  </a:lnTo>
                  <a:lnTo>
                    <a:pt x="6284" y="14430"/>
                  </a:lnTo>
                  <a:lnTo>
                    <a:pt x="6364" y="14595"/>
                  </a:lnTo>
                  <a:lnTo>
                    <a:pt x="6436" y="14724"/>
                  </a:lnTo>
                  <a:lnTo>
                    <a:pt x="6560" y="14862"/>
                  </a:lnTo>
                  <a:lnTo>
                    <a:pt x="6578" y="15043"/>
                  </a:lnTo>
                  <a:lnTo>
                    <a:pt x="6534" y="15102"/>
                  </a:lnTo>
                  <a:lnTo>
                    <a:pt x="6506" y="15225"/>
                  </a:lnTo>
                  <a:lnTo>
                    <a:pt x="6626" y="15313"/>
                  </a:lnTo>
                  <a:lnTo>
                    <a:pt x="6758" y="15490"/>
                  </a:lnTo>
                  <a:lnTo>
                    <a:pt x="6832" y="15660"/>
                  </a:lnTo>
                  <a:lnTo>
                    <a:pt x="6946" y="15755"/>
                  </a:lnTo>
                  <a:lnTo>
                    <a:pt x="7001" y="15932"/>
                  </a:lnTo>
                  <a:lnTo>
                    <a:pt x="7069" y="16078"/>
                  </a:lnTo>
                  <a:lnTo>
                    <a:pt x="7141" y="16216"/>
                  </a:lnTo>
                  <a:lnTo>
                    <a:pt x="7193" y="16447"/>
                  </a:lnTo>
                  <a:lnTo>
                    <a:pt x="7230" y="16668"/>
                  </a:lnTo>
                  <a:lnTo>
                    <a:pt x="7224" y="16870"/>
                  </a:lnTo>
                  <a:lnTo>
                    <a:pt x="7174" y="17029"/>
                  </a:lnTo>
                  <a:lnTo>
                    <a:pt x="7125" y="17173"/>
                  </a:lnTo>
                  <a:lnTo>
                    <a:pt x="7142" y="17291"/>
                  </a:lnTo>
                  <a:lnTo>
                    <a:pt x="7204" y="17363"/>
                  </a:lnTo>
                  <a:lnTo>
                    <a:pt x="7292" y="17443"/>
                  </a:lnTo>
                  <a:lnTo>
                    <a:pt x="7417" y="17611"/>
                  </a:lnTo>
                  <a:lnTo>
                    <a:pt x="7500" y="17756"/>
                  </a:lnTo>
                  <a:lnTo>
                    <a:pt x="7591" y="17820"/>
                  </a:lnTo>
                  <a:lnTo>
                    <a:pt x="7800" y="17893"/>
                  </a:lnTo>
                  <a:lnTo>
                    <a:pt x="7925" y="18009"/>
                  </a:lnTo>
                  <a:lnTo>
                    <a:pt x="8090" y="18111"/>
                  </a:lnTo>
                  <a:lnTo>
                    <a:pt x="8241" y="18220"/>
                  </a:lnTo>
                  <a:lnTo>
                    <a:pt x="8372" y="18315"/>
                  </a:lnTo>
                  <a:lnTo>
                    <a:pt x="8507" y="18400"/>
                  </a:lnTo>
                  <a:lnTo>
                    <a:pt x="8706" y="18516"/>
                  </a:lnTo>
                  <a:lnTo>
                    <a:pt x="8842" y="18596"/>
                  </a:lnTo>
                  <a:lnTo>
                    <a:pt x="8943" y="18660"/>
                  </a:lnTo>
                  <a:lnTo>
                    <a:pt x="9047" y="18713"/>
                  </a:lnTo>
                  <a:lnTo>
                    <a:pt x="9142" y="18769"/>
                  </a:lnTo>
                  <a:lnTo>
                    <a:pt x="9212" y="18725"/>
                  </a:lnTo>
                  <a:lnTo>
                    <a:pt x="9284" y="18698"/>
                  </a:lnTo>
                  <a:lnTo>
                    <a:pt x="9443" y="18618"/>
                  </a:lnTo>
                  <a:lnTo>
                    <a:pt x="9551" y="18567"/>
                  </a:lnTo>
                  <a:lnTo>
                    <a:pt x="9694" y="18567"/>
                  </a:lnTo>
                  <a:lnTo>
                    <a:pt x="9830" y="18670"/>
                  </a:lnTo>
                  <a:lnTo>
                    <a:pt x="10001" y="18799"/>
                  </a:lnTo>
                  <a:lnTo>
                    <a:pt x="10103" y="18897"/>
                  </a:lnTo>
                  <a:lnTo>
                    <a:pt x="10183" y="19065"/>
                  </a:lnTo>
                  <a:lnTo>
                    <a:pt x="10280" y="19194"/>
                  </a:lnTo>
                  <a:lnTo>
                    <a:pt x="10399" y="19279"/>
                  </a:lnTo>
                  <a:lnTo>
                    <a:pt x="10524" y="19345"/>
                  </a:lnTo>
                  <a:lnTo>
                    <a:pt x="10621" y="19420"/>
                  </a:lnTo>
                  <a:lnTo>
                    <a:pt x="10755" y="19493"/>
                  </a:lnTo>
                  <a:lnTo>
                    <a:pt x="10877" y="19578"/>
                  </a:lnTo>
                  <a:lnTo>
                    <a:pt x="11002" y="19607"/>
                  </a:lnTo>
                  <a:lnTo>
                    <a:pt x="11156" y="19612"/>
                  </a:lnTo>
                  <a:lnTo>
                    <a:pt x="11241" y="19532"/>
                  </a:lnTo>
                  <a:lnTo>
                    <a:pt x="11335" y="19547"/>
                  </a:lnTo>
                  <a:lnTo>
                    <a:pt x="11364" y="19707"/>
                  </a:lnTo>
                  <a:lnTo>
                    <a:pt x="11392" y="19855"/>
                  </a:lnTo>
                  <a:lnTo>
                    <a:pt x="11426" y="19991"/>
                  </a:lnTo>
                  <a:lnTo>
                    <a:pt x="11500" y="20114"/>
                  </a:lnTo>
                  <a:lnTo>
                    <a:pt x="11589" y="20243"/>
                  </a:lnTo>
                  <a:lnTo>
                    <a:pt x="11653" y="20382"/>
                  </a:lnTo>
                  <a:lnTo>
                    <a:pt x="11664" y="20506"/>
                  </a:lnTo>
                  <a:lnTo>
                    <a:pt x="11682" y="20676"/>
                  </a:lnTo>
                  <a:lnTo>
                    <a:pt x="11772" y="20819"/>
                  </a:lnTo>
                  <a:lnTo>
                    <a:pt x="11902" y="20848"/>
                  </a:lnTo>
                  <a:lnTo>
                    <a:pt x="12025" y="20953"/>
                  </a:lnTo>
                  <a:lnTo>
                    <a:pt x="12094" y="21084"/>
                  </a:lnTo>
                  <a:lnTo>
                    <a:pt x="12179" y="21177"/>
                  </a:lnTo>
                  <a:lnTo>
                    <a:pt x="12295" y="21296"/>
                  </a:lnTo>
                  <a:lnTo>
                    <a:pt x="12435" y="21310"/>
                  </a:lnTo>
                  <a:lnTo>
                    <a:pt x="12549" y="21391"/>
                  </a:lnTo>
                  <a:lnTo>
                    <a:pt x="12667" y="21461"/>
                  </a:lnTo>
                  <a:lnTo>
                    <a:pt x="12729" y="21510"/>
                  </a:lnTo>
                  <a:lnTo>
                    <a:pt x="12864" y="21571"/>
                  </a:lnTo>
                  <a:lnTo>
                    <a:pt x="12989" y="21600"/>
                  </a:lnTo>
                  <a:lnTo>
                    <a:pt x="13033" y="21529"/>
                  </a:lnTo>
                  <a:lnTo>
                    <a:pt x="12995" y="21406"/>
                  </a:lnTo>
                  <a:lnTo>
                    <a:pt x="13103" y="21304"/>
                  </a:lnTo>
                  <a:lnTo>
                    <a:pt x="13183" y="21223"/>
                  </a:lnTo>
                  <a:lnTo>
                    <a:pt x="13268" y="21158"/>
                  </a:lnTo>
                  <a:lnTo>
                    <a:pt x="13213" y="21056"/>
                  </a:lnTo>
                  <a:lnTo>
                    <a:pt x="13081" y="21093"/>
                  </a:lnTo>
                  <a:lnTo>
                    <a:pt x="12971" y="21149"/>
                  </a:lnTo>
                  <a:lnTo>
                    <a:pt x="12887" y="21241"/>
                  </a:lnTo>
                  <a:lnTo>
                    <a:pt x="12803" y="21285"/>
                  </a:lnTo>
                  <a:lnTo>
                    <a:pt x="12762" y="21202"/>
                  </a:lnTo>
                  <a:lnTo>
                    <a:pt x="12656" y="21154"/>
                  </a:lnTo>
                  <a:lnTo>
                    <a:pt x="12537" y="21095"/>
                  </a:lnTo>
                  <a:lnTo>
                    <a:pt x="12412" y="20986"/>
                  </a:lnTo>
                  <a:lnTo>
                    <a:pt x="12350" y="20797"/>
                  </a:lnTo>
                  <a:lnTo>
                    <a:pt x="12262" y="20656"/>
                  </a:lnTo>
                  <a:lnTo>
                    <a:pt x="12209" y="20570"/>
                  </a:lnTo>
                  <a:lnTo>
                    <a:pt x="12187" y="20410"/>
                  </a:lnTo>
                  <a:lnTo>
                    <a:pt x="12198" y="20249"/>
                  </a:lnTo>
                  <a:lnTo>
                    <a:pt x="12225" y="20028"/>
                  </a:lnTo>
                  <a:lnTo>
                    <a:pt x="12236" y="19853"/>
                  </a:lnTo>
                  <a:lnTo>
                    <a:pt x="12264" y="19692"/>
                  </a:lnTo>
                  <a:lnTo>
                    <a:pt x="12287" y="19534"/>
                  </a:lnTo>
                  <a:lnTo>
                    <a:pt x="12302" y="19376"/>
                  </a:lnTo>
                  <a:lnTo>
                    <a:pt x="12330" y="19230"/>
                  </a:lnTo>
                  <a:lnTo>
                    <a:pt x="12364" y="19073"/>
                  </a:lnTo>
                  <a:lnTo>
                    <a:pt x="12324" y="18924"/>
                  </a:lnTo>
                  <a:lnTo>
                    <a:pt x="12279" y="18783"/>
                  </a:lnTo>
                  <a:lnTo>
                    <a:pt x="12107" y="18728"/>
                  </a:lnTo>
                  <a:lnTo>
                    <a:pt x="11924" y="18714"/>
                  </a:lnTo>
                  <a:lnTo>
                    <a:pt x="11751" y="18714"/>
                  </a:lnTo>
                  <a:lnTo>
                    <a:pt x="11628" y="18765"/>
                  </a:lnTo>
                  <a:lnTo>
                    <a:pt x="11406" y="18816"/>
                  </a:lnTo>
                  <a:lnTo>
                    <a:pt x="11165" y="18816"/>
                  </a:lnTo>
                  <a:lnTo>
                    <a:pt x="11133" y="18658"/>
                  </a:lnTo>
                  <a:lnTo>
                    <a:pt x="11154" y="18467"/>
                  </a:lnTo>
                  <a:lnTo>
                    <a:pt x="11237" y="18145"/>
                  </a:lnTo>
                  <a:lnTo>
                    <a:pt x="11347" y="17912"/>
                  </a:lnTo>
                  <a:lnTo>
                    <a:pt x="11460" y="17663"/>
                  </a:lnTo>
                  <a:lnTo>
                    <a:pt x="11505" y="17483"/>
                  </a:lnTo>
                  <a:lnTo>
                    <a:pt x="11604" y="17196"/>
                  </a:lnTo>
                  <a:lnTo>
                    <a:pt x="11683" y="17024"/>
                  </a:lnTo>
                  <a:lnTo>
                    <a:pt x="11689" y="16887"/>
                  </a:lnTo>
                  <a:lnTo>
                    <a:pt x="11632" y="16817"/>
                  </a:lnTo>
                  <a:lnTo>
                    <a:pt x="11551" y="16802"/>
                  </a:lnTo>
                  <a:lnTo>
                    <a:pt x="11477" y="16780"/>
                  </a:lnTo>
                  <a:lnTo>
                    <a:pt x="11365" y="16780"/>
                  </a:lnTo>
                  <a:lnTo>
                    <a:pt x="11234" y="16802"/>
                  </a:lnTo>
                  <a:lnTo>
                    <a:pt x="11104" y="16839"/>
                  </a:lnTo>
                  <a:lnTo>
                    <a:pt x="11028" y="16887"/>
                  </a:lnTo>
                  <a:lnTo>
                    <a:pt x="10924" y="16956"/>
                  </a:lnTo>
                  <a:lnTo>
                    <a:pt x="10890" y="17029"/>
                  </a:lnTo>
                  <a:lnTo>
                    <a:pt x="10884" y="17157"/>
                  </a:lnTo>
                  <a:lnTo>
                    <a:pt x="10833" y="17347"/>
                  </a:lnTo>
                  <a:lnTo>
                    <a:pt x="10751" y="17509"/>
                  </a:lnTo>
                  <a:lnTo>
                    <a:pt x="10649" y="17596"/>
                  </a:lnTo>
                  <a:lnTo>
                    <a:pt x="10454" y="17759"/>
                  </a:lnTo>
                  <a:lnTo>
                    <a:pt x="10312" y="17818"/>
                  </a:lnTo>
                  <a:lnTo>
                    <a:pt x="10135" y="17898"/>
                  </a:lnTo>
                  <a:lnTo>
                    <a:pt x="9999" y="17898"/>
                  </a:lnTo>
                  <a:lnTo>
                    <a:pt x="9792" y="17879"/>
                  </a:lnTo>
                  <a:lnTo>
                    <a:pt x="9606" y="17831"/>
                  </a:lnTo>
                  <a:lnTo>
                    <a:pt x="9447" y="17654"/>
                  </a:lnTo>
                  <a:lnTo>
                    <a:pt x="9334" y="17487"/>
                  </a:lnTo>
                  <a:lnTo>
                    <a:pt x="9279" y="17285"/>
                  </a:lnTo>
                  <a:lnTo>
                    <a:pt x="9196" y="16914"/>
                  </a:lnTo>
                  <a:lnTo>
                    <a:pt x="9146" y="16624"/>
                  </a:lnTo>
                  <a:lnTo>
                    <a:pt x="9129" y="16345"/>
                  </a:lnTo>
                  <a:lnTo>
                    <a:pt x="9167" y="16032"/>
                  </a:lnTo>
                  <a:lnTo>
                    <a:pt x="9286" y="15655"/>
                  </a:lnTo>
                  <a:lnTo>
                    <a:pt x="9383" y="15401"/>
                  </a:lnTo>
                  <a:lnTo>
                    <a:pt x="9400" y="15183"/>
                  </a:lnTo>
                  <a:lnTo>
                    <a:pt x="9406" y="14977"/>
                  </a:lnTo>
                  <a:lnTo>
                    <a:pt x="9444" y="14790"/>
                  </a:lnTo>
                  <a:lnTo>
                    <a:pt x="9506" y="14595"/>
                  </a:lnTo>
                  <a:lnTo>
                    <a:pt x="9635" y="14457"/>
                  </a:lnTo>
                  <a:lnTo>
                    <a:pt x="9806" y="14284"/>
                  </a:lnTo>
                  <a:lnTo>
                    <a:pt x="10189" y="14050"/>
                  </a:lnTo>
                  <a:lnTo>
                    <a:pt x="10354" y="13911"/>
                  </a:lnTo>
                  <a:lnTo>
                    <a:pt x="10480" y="13836"/>
                  </a:lnTo>
                  <a:lnTo>
                    <a:pt x="10603" y="13720"/>
                  </a:lnTo>
                  <a:lnTo>
                    <a:pt x="10739" y="13684"/>
                  </a:lnTo>
                  <a:lnTo>
                    <a:pt x="10870" y="13684"/>
                  </a:lnTo>
                  <a:lnTo>
                    <a:pt x="10993" y="13742"/>
                  </a:lnTo>
                  <a:lnTo>
                    <a:pt x="11150" y="13886"/>
                  </a:lnTo>
                  <a:lnTo>
                    <a:pt x="11296" y="13993"/>
                  </a:lnTo>
                  <a:lnTo>
                    <a:pt x="11413" y="14043"/>
                  </a:lnTo>
                  <a:lnTo>
                    <a:pt x="11504" y="14043"/>
                  </a:lnTo>
                  <a:lnTo>
                    <a:pt x="11606" y="13970"/>
                  </a:lnTo>
                  <a:lnTo>
                    <a:pt x="11711" y="13735"/>
                  </a:lnTo>
                  <a:lnTo>
                    <a:pt x="11875" y="13611"/>
                  </a:lnTo>
                  <a:lnTo>
                    <a:pt x="12014" y="13548"/>
                  </a:lnTo>
                  <a:lnTo>
                    <a:pt x="12178" y="13504"/>
                  </a:lnTo>
                  <a:lnTo>
                    <a:pt x="12297" y="13548"/>
                  </a:lnTo>
                  <a:lnTo>
                    <a:pt x="12373" y="13646"/>
                  </a:lnTo>
                  <a:lnTo>
                    <a:pt x="12497" y="13704"/>
                  </a:lnTo>
                  <a:lnTo>
                    <a:pt x="12604" y="13781"/>
                  </a:lnTo>
                  <a:lnTo>
                    <a:pt x="12701" y="13812"/>
                  </a:lnTo>
                  <a:lnTo>
                    <a:pt x="12778" y="13740"/>
                  </a:lnTo>
                  <a:lnTo>
                    <a:pt x="12875" y="13710"/>
                  </a:lnTo>
                  <a:lnTo>
                    <a:pt x="12998" y="13746"/>
                  </a:lnTo>
                  <a:lnTo>
                    <a:pt x="13081" y="13890"/>
                  </a:lnTo>
                  <a:lnTo>
                    <a:pt x="13168" y="13996"/>
                  </a:lnTo>
                  <a:lnTo>
                    <a:pt x="13228" y="14124"/>
                  </a:lnTo>
                  <a:lnTo>
                    <a:pt x="13245" y="14260"/>
                  </a:lnTo>
                  <a:lnTo>
                    <a:pt x="13188" y="14382"/>
                  </a:lnTo>
                  <a:lnTo>
                    <a:pt x="13150" y="14515"/>
                  </a:lnTo>
                  <a:lnTo>
                    <a:pt x="13150" y="14661"/>
                  </a:lnTo>
                  <a:lnTo>
                    <a:pt x="13213" y="14744"/>
                  </a:lnTo>
                  <a:lnTo>
                    <a:pt x="13265" y="14853"/>
                  </a:lnTo>
                  <a:lnTo>
                    <a:pt x="13283" y="15108"/>
                  </a:lnTo>
                  <a:lnTo>
                    <a:pt x="13334" y="15290"/>
                  </a:lnTo>
                  <a:lnTo>
                    <a:pt x="13452" y="15424"/>
                  </a:lnTo>
                  <a:lnTo>
                    <a:pt x="13548" y="15365"/>
                  </a:lnTo>
                  <a:lnTo>
                    <a:pt x="13603" y="15222"/>
                  </a:lnTo>
                  <a:lnTo>
                    <a:pt x="13654" y="15037"/>
                  </a:lnTo>
                  <a:lnTo>
                    <a:pt x="13654" y="14814"/>
                  </a:lnTo>
                  <a:lnTo>
                    <a:pt x="13681" y="14602"/>
                  </a:lnTo>
                  <a:lnTo>
                    <a:pt x="13650" y="14293"/>
                  </a:lnTo>
                  <a:lnTo>
                    <a:pt x="13616" y="14170"/>
                  </a:lnTo>
                  <a:lnTo>
                    <a:pt x="13599" y="13973"/>
                  </a:lnTo>
                  <a:lnTo>
                    <a:pt x="13582" y="13688"/>
                  </a:lnTo>
                  <a:lnTo>
                    <a:pt x="13593" y="13506"/>
                  </a:lnTo>
                  <a:lnTo>
                    <a:pt x="13658" y="13353"/>
                  </a:lnTo>
                  <a:lnTo>
                    <a:pt x="13728" y="13200"/>
                  </a:lnTo>
                  <a:lnTo>
                    <a:pt x="13825" y="13091"/>
                  </a:lnTo>
                  <a:lnTo>
                    <a:pt x="13927" y="12967"/>
                  </a:lnTo>
                  <a:lnTo>
                    <a:pt x="14218" y="12701"/>
                  </a:lnTo>
                  <a:lnTo>
                    <a:pt x="14326" y="12563"/>
                  </a:lnTo>
                  <a:lnTo>
                    <a:pt x="14453" y="12468"/>
                  </a:lnTo>
                  <a:lnTo>
                    <a:pt x="14577" y="12404"/>
                  </a:lnTo>
                  <a:lnTo>
                    <a:pt x="14723" y="12341"/>
                  </a:lnTo>
                  <a:lnTo>
                    <a:pt x="14852" y="12246"/>
                  </a:lnTo>
                  <a:lnTo>
                    <a:pt x="14935" y="12127"/>
                  </a:lnTo>
                  <a:lnTo>
                    <a:pt x="15055" y="12032"/>
                  </a:lnTo>
                  <a:lnTo>
                    <a:pt x="15152" y="11945"/>
                  </a:lnTo>
                  <a:lnTo>
                    <a:pt x="15263" y="11753"/>
                  </a:lnTo>
                  <a:lnTo>
                    <a:pt x="15280" y="11595"/>
                  </a:lnTo>
                  <a:lnTo>
                    <a:pt x="15303" y="11434"/>
                  </a:lnTo>
                  <a:lnTo>
                    <a:pt x="15281" y="11276"/>
                  </a:lnTo>
                  <a:lnTo>
                    <a:pt x="15281" y="11116"/>
                  </a:lnTo>
                  <a:lnTo>
                    <a:pt x="15303" y="10934"/>
                  </a:lnTo>
                  <a:lnTo>
                    <a:pt x="15389" y="10761"/>
                  </a:lnTo>
                  <a:lnTo>
                    <a:pt x="15482" y="10761"/>
                  </a:lnTo>
                  <a:lnTo>
                    <a:pt x="15499" y="10880"/>
                  </a:lnTo>
                  <a:lnTo>
                    <a:pt x="15546" y="11021"/>
                  </a:lnTo>
                  <a:lnTo>
                    <a:pt x="15614" y="10967"/>
                  </a:lnTo>
                  <a:lnTo>
                    <a:pt x="15535" y="10727"/>
                  </a:lnTo>
                  <a:lnTo>
                    <a:pt x="15650" y="10569"/>
                  </a:lnTo>
                  <a:lnTo>
                    <a:pt x="15762" y="10432"/>
                  </a:lnTo>
                  <a:lnTo>
                    <a:pt x="16024" y="10381"/>
                  </a:lnTo>
                  <a:lnTo>
                    <a:pt x="16117" y="10289"/>
                  </a:lnTo>
                  <a:lnTo>
                    <a:pt x="16183" y="10120"/>
                  </a:lnTo>
                  <a:lnTo>
                    <a:pt x="16253" y="10035"/>
                  </a:lnTo>
                  <a:lnTo>
                    <a:pt x="16440" y="9841"/>
                  </a:lnTo>
                  <a:lnTo>
                    <a:pt x="16600" y="9797"/>
                  </a:lnTo>
                  <a:lnTo>
                    <a:pt x="16827" y="9761"/>
                  </a:lnTo>
                  <a:lnTo>
                    <a:pt x="16975" y="9680"/>
                  </a:lnTo>
                  <a:lnTo>
                    <a:pt x="17100" y="9613"/>
                  </a:lnTo>
                  <a:lnTo>
                    <a:pt x="17191" y="9547"/>
                  </a:lnTo>
                  <a:lnTo>
                    <a:pt x="17242" y="9250"/>
                  </a:lnTo>
                  <a:lnTo>
                    <a:pt x="17356" y="9134"/>
                  </a:lnTo>
                  <a:lnTo>
                    <a:pt x="17482" y="9045"/>
                  </a:lnTo>
                  <a:lnTo>
                    <a:pt x="17579" y="8965"/>
                  </a:lnTo>
                  <a:lnTo>
                    <a:pt x="17788" y="8827"/>
                  </a:lnTo>
                  <a:lnTo>
                    <a:pt x="17966" y="8684"/>
                  </a:lnTo>
                  <a:lnTo>
                    <a:pt x="18192" y="8613"/>
                  </a:lnTo>
                  <a:lnTo>
                    <a:pt x="18339" y="8516"/>
                  </a:lnTo>
                  <a:lnTo>
                    <a:pt x="18489" y="8428"/>
                  </a:lnTo>
                  <a:lnTo>
                    <a:pt x="18633" y="8365"/>
                  </a:lnTo>
                  <a:lnTo>
                    <a:pt x="18762" y="8309"/>
                  </a:lnTo>
                  <a:lnTo>
                    <a:pt x="18913" y="8309"/>
                  </a:lnTo>
                  <a:lnTo>
                    <a:pt x="19010" y="8350"/>
                  </a:lnTo>
                  <a:lnTo>
                    <a:pt x="19016" y="8472"/>
                  </a:lnTo>
                  <a:lnTo>
                    <a:pt x="18873" y="8513"/>
                  </a:lnTo>
                  <a:lnTo>
                    <a:pt x="18706" y="8635"/>
                  </a:lnTo>
                  <a:lnTo>
                    <a:pt x="18595" y="8691"/>
                  </a:lnTo>
                  <a:lnTo>
                    <a:pt x="18495" y="8751"/>
                  </a:lnTo>
                  <a:lnTo>
                    <a:pt x="18450" y="8839"/>
                  </a:lnTo>
                  <a:lnTo>
                    <a:pt x="18511" y="8931"/>
                  </a:lnTo>
                  <a:lnTo>
                    <a:pt x="18611" y="8931"/>
                  </a:lnTo>
                  <a:lnTo>
                    <a:pt x="18791" y="8827"/>
                  </a:lnTo>
                  <a:lnTo>
                    <a:pt x="18930" y="8727"/>
                  </a:lnTo>
                  <a:lnTo>
                    <a:pt x="19074" y="8650"/>
                  </a:lnTo>
                  <a:lnTo>
                    <a:pt x="19244" y="8635"/>
                  </a:lnTo>
                  <a:cubicBezTo>
                    <a:pt x="19290" y="8619"/>
                    <a:pt x="19335" y="8600"/>
                    <a:pt x="19379" y="8579"/>
                  </a:cubicBezTo>
                  <a:cubicBezTo>
                    <a:pt x="19434" y="8553"/>
                    <a:pt x="19488" y="8523"/>
                    <a:pt x="19541" y="8489"/>
                  </a:cubicBezTo>
                  <a:lnTo>
                    <a:pt x="19653" y="8409"/>
                  </a:lnTo>
                  <a:lnTo>
                    <a:pt x="19869" y="8294"/>
                  </a:lnTo>
                  <a:lnTo>
                    <a:pt x="19833" y="8195"/>
                  </a:lnTo>
                  <a:lnTo>
                    <a:pt x="19698" y="8202"/>
                  </a:lnTo>
                  <a:lnTo>
                    <a:pt x="19554" y="8292"/>
                  </a:lnTo>
                  <a:lnTo>
                    <a:pt x="19488" y="8314"/>
                  </a:lnTo>
                  <a:lnTo>
                    <a:pt x="19341" y="8314"/>
                  </a:lnTo>
                  <a:lnTo>
                    <a:pt x="19174" y="8207"/>
                  </a:lnTo>
                  <a:lnTo>
                    <a:pt x="18993" y="8112"/>
                  </a:lnTo>
                  <a:lnTo>
                    <a:pt x="18933" y="7978"/>
                  </a:lnTo>
                  <a:lnTo>
                    <a:pt x="18938" y="7840"/>
                  </a:lnTo>
                  <a:lnTo>
                    <a:pt x="18944" y="7690"/>
                  </a:lnTo>
                  <a:lnTo>
                    <a:pt x="19006" y="7610"/>
                  </a:lnTo>
                  <a:lnTo>
                    <a:pt x="19140" y="7428"/>
                  </a:lnTo>
                  <a:lnTo>
                    <a:pt x="19187" y="7345"/>
                  </a:lnTo>
                  <a:lnTo>
                    <a:pt x="19237" y="7180"/>
                  </a:lnTo>
                  <a:lnTo>
                    <a:pt x="19106" y="7144"/>
                  </a:lnTo>
                  <a:lnTo>
                    <a:pt x="18892" y="7163"/>
                  </a:lnTo>
                  <a:lnTo>
                    <a:pt x="18659" y="7228"/>
                  </a:lnTo>
                  <a:lnTo>
                    <a:pt x="18407" y="7344"/>
                  </a:lnTo>
                  <a:lnTo>
                    <a:pt x="18286" y="7459"/>
                  </a:lnTo>
                  <a:lnTo>
                    <a:pt x="18115" y="7495"/>
                  </a:lnTo>
                  <a:lnTo>
                    <a:pt x="18053" y="7522"/>
                  </a:lnTo>
                  <a:lnTo>
                    <a:pt x="17997" y="7406"/>
                  </a:lnTo>
                  <a:lnTo>
                    <a:pt x="18048" y="7304"/>
                  </a:lnTo>
                  <a:lnTo>
                    <a:pt x="18150" y="7238"/>
                  </a:lnTo>
                  <a:lnTo>
                    <a:pt x="18577" y="7007"/>
                  </a:lnTo>
                  <a:lnTo>
                    <a:pt x="18765" y="6862"/>
                  </a:lnTo>
                  <a:cubicBezTo>
                    <a:pt x="18809" y="6831"/>
                    <a:pt x="18854" y="6805"/>
                    <a:pt x="18901" y="6781"/>
                  </a:cubicBezTo>
                  <a:cubicBezTo>
                    <a:pt x="18965" y="6749"/>
                    <a:pt x="19031" y="6724"/>
                    <a:pt x="19098" y="6706"/>
                  </a:cubicBezTo>
                  <a:lnTo>
                    <a:pt x="19233" y="6665"/>
                  </a:lnTo>
                  <a:lnTo>
                    <a:pt x="19413" y="6636"/>
                  </a:lnTo>
                  <a:lnTo>
                    <a:pt x="19652" y="6658"/>
                  </a:lnTo>
                  <a:lnTo>
                    <a:pt x="19921" y="6687"/>
                  </a:lnTo>
                  <a:lnTo>
                    <a:pt x="20075" y="6660"/>
                  </a:lnTo>
                  <a:lnTo>
                    <a:pt x="20242" y="6618"/>
                  </a:lnTo>
                  <a:lnTo>
                    <a:pt x="20490" y="6615"/>
                  </a:lnTo>
                  <a:lnTo>
                    <a:pt x="20803" y="6477"/>
                  </a:lnTo>
                  <a:lnTo>
                    <a:pt x="20930" y="6409"/>
                  </a:lnTo>
                  <a:cubicBezTo>
                    <a:pt x="20988" y="6390"/>
                    <a:pt x="21045" y="6366"/>
                    <a:pt x="21099" y="6336"/>
                  </a:cubicBezTo>
                  <a:cubicBezTo>
                    <a:pt x="21140" y="6313"/>
                    <a:pt x="21179" y="6288"/>
                    <a:pt x="21217" y="6260"/>
                  </a:cubicBezTo>
                  <a:lnTo>
                    <a:pt x="21276" y="6209"/>
                  </a:lnTo>
                  <a:lnTo>
                    <a:pt x="21373" y="6131"/>
                  </a:lnTo>
                  <a:cubicBezTo>
                    <a:pt x="21397" y="6115"/>
                    <a:pt x="21420" y="6096"/>
                    <a:pt x="21441" y="6073"/>
                  </a:cubicBezTo>
                  <a:cubicBezTo>
                    <a:pt x="21471" y="6042"/>
                    <a:pt x="21497" y="6005"/>
                    <a:pt x="21518" y="5964"/>
                  </a:cubicBezTo>
                  <a:lnTo>
                    <a:pt x="21583" y="5842"/>
                  </a:lnTo>
                  <a:lnTo>
                    <a:pt x="21600" y="5716"/>
                  </a:lnTo>
                  <a:lnTo>
                    <a:pt x="21594" y="5645"/>
                  </a:lnTo>
                  <a:lnTo>
                    <a:pt x="21471" y="5526"/>
                  </a:lnTo>
                  <a:lnTo>
                    <a:pt x="21403" y="5467"/>
                  </a:lnTo>
                  <a:lnTo>
                    <a:pt x="21327" y="5446"/>
                  </a:lnTo>
                  <a:lnTo>
                    <a:pt x="21196" y="5446"/>
                  </a:lnTo>
                  <a:lnTo>
                    <a:pt x="21091" y="5453"/>
                  </a:lnTo>
                  <a:lnTo>
                    <a:pt x="20995" y="5547"/>
                  </a:lnTo>
                  <a:lnTo>
                    <a:pt x="20900" y="5567"/>
                  </a:lnTo>
                  <a:lnTo>
                    <a:pt x="20828" y="5523"/>
                  </a:lnTo>
                  <a:lnTo>
                    <a:pt x="20828" y="5416"/>
                  </a:lnTo>
                  <a:cubicBezTo>
                    <a:pt x="20860" y="5376"/>
                    <a:pt x="20896" y="5339"/>
                    <a:pt x="20934" y="5307"/>
                  </a:cubicBezTo>
                  <a:cubicBezTo>
                    <a:pt x="20959" y="5286"/>
                    <a:pt x="20985" y="5266"/>
                    <a:pt x="21011" y="5249"/>
                  </a:cubicBezTo>
                  <a:lnTo>
                    <a:pt x="20920" y="5120"/>
                  </a:lnTo>
                  <a:lnTo>
                    <a:pt x="20871" y="4942"/>
                  </a:lnTo>
                  <a:lnTo>
                    <a:pt x="20814" y="4814"/>
                  </a:lnTo>
                  <a:lnTo>
                    <a:pt x="20734" y="4712"/>
                  </a:lnTo>
                  <a:lnTo>
                    <a:pt x="20746" y="4563"/>
                  </a:lnTo>
                  <a:lnTo>
                    <a:pt x="20846" y="4476"/>
                  </a:lnTo>
                  <a:lnTo>
                    <a:pt x="20856" y="4345"/>
                  </a:lnTo>
                  <a:lnTo>
                    <a:pt x="20833" y="4183"/>
                  </a:lnTo>
                  <a:lnTo>
                    <a:pt x="20762" y="4113"/>
                  </a:lnTo>
                  <a:lnTo>
                    <a:pt x="20722" y="4001"/>
                  </a:lnTo>
                  <a:cubicBezTo>
                    <a:pt x="20752" y="3980"/>
                    <a:pt x="20776" y="3947"/>
                    <a:pt x="20790" y="3907"/>
                  </a:cubicBezTo>
                  <a:cubicBezTo>
                    <a:pt x="20808" y="3857"/>
                    <a:pt x="20810" y="3800"/>
                    <a:pt x="20796" y="3749"/>
                  </a:cubicBezTo>
                  <a:lnTo>
                    <a:pt x="20745" y="3647"/>
                  </a:lnTo>
                  <a:lnTo>
                    <a:pt x="20720" y="3537"/>
                  </a:lnTo>
                  <a:lnTo>
                    <a:pt x="20625" y="3493"/>
                  </a:lnTo>
                  <a:lnTo>
                    <a:pt x="20528" y="3632"/>
                  </a:lnTo>
                  <a:lnTo>
                    <a:pt x="20392" y="3756"/>
                  </a:lnTo>
                  <a:lnTo>
                    <a:pt x="20250" y="3892"/>
                  </a:lnTo>
                  <a:lnTo>
                    <a:pt x="20115" y="4018"/>
                  </a:lnTo>
                  <a:lnTo>
                    <a:pt x="19946" y="4098"/>
                  </a:lnTo>
                  <a:lnTo>
                    <a:pt x="19822" y="4091"/>
                  </a:lnTo>
                  <a:lnTo>
                    <a:pt x="19744" y="4074"/>
                  </a:lnTo>
                  <a:lnTo>
                    <a:pt x="19649" y="3952"/>
                  </a:lnTo>
                  <a:lnTo>
                    <a:pt x="19564" y="3858"/>
                  </a:lnTo>
                  <a:lnTo>
                    <a:pt x="19617" y="3705"/>
                  </a:lnTo>
                  <a:lnTo>
                    <a:pt x="19691" y="3562"/>
                  </a:lnTo>
                  <a:lnTo>
                    <a:pt x="19670" y="3362"/>
                  </a:lnTo>
                  <a:lnTo>
                    <a:pt x="19615" y="3265"/>
                  </a:lnTo>
                  <a:lnTo>
                    <a:pt x="19484" y="3118"/>
                  </a:lnTo>
                  <a:lnTo>
                    <a:pt x="19382" y="3053"/>
                  </a:lnTo>
                  <a:lnTo>
                    <a:pt x="19268" y="2958"/>
                  </a:lnTo>
                  <a:lnTo>
                    <a:pt x="19145" y="2912"/>
                  </a:lnTo>
                  <a:lnTo>
                    <a:pt x="19014" y="2919"/>
                  </a:lnTo>
                  <a:lnTo>
                    <a:pt x="18924" y="2834"/>
                  </a:lnTo>
                  <a:lnTo>
                    <a:pt x="18793" y="2819"/>
                  </a:lnTo>
                  <a:lnTo>
                    <a:pt x="18658" y="2819"/>
                  </a:lnTo>
                  <a:lnTo>
                    <a:pt x="18524" y="2863"/>
                  </a:lnTo>
                  <a:lnTo>
                    <a:pt x="18416" y="2934"/>
                  </a:lnTo>
                  <a:lnTo>
                    <a:pt x="18334" y="2997"/>
                  </a:lnTo>
                  <a:lnTo>
                    <a:pt x="18277" y="3133"/>
                  </a:lnTo>
                  <a:lnTo>
                    <a:pt x="18228" y="3344"/>
                  </a:lnTo>
                  <a:lnTo>
                    <a:pt x="18114" y="3556"/>
                  </a:lnTo>
                  <a:lnTo>
                    <a:pt x="18057" y="3665"/>
                  </a:lnTo>
                  <a:lnTo>
                    <a:pt x="17966" y="3765"/>
                  </a:lnTo>
                  <a:lnTo>
                    <a:pt x="17864" y="3806"/>
                  </a:lnTo>
                  <a:lnTo>
                    <a:pt x="17813" y="3908"/>
                  </a:lnTo>
                  <a:lnTo>
                    <a:pt x="17790" y="3988"/>
                  </a:lnTo>
                  <a:lnTo>
                    <a:pt x="17790" y="4105"/>
                  </a:lnTo>
                  <a:lnTo>
                    <a:pt x="17807" y="4220"/>
                  </a:lnTo>
                  <a:lnTo>
                    <a:pt x="17813" y="4330"/>
                  </a:lnTo>
                  <a:lnTo>
                    <a:pt x="17807" y="4419"/>
                  </a:lnTo>
                  <a:lnTo>
                    <a:pt x="17727" y="4570"/>
                  </a:lnTo>
                  <a:lnTo>
                    <a:pt x="17608" y="4723"/>
                  </a:lnTo>
                  <a:lnTo>
                    <a:pt x="17570" y="4807"/>
                  </a:lnTo>
                  <a:lnTo>
                    <a:pt x="17479" y="4941"/>
                  </a:lnTo>
                  <a:lnTo>
                    <a:pt x="17394" y="5028"/>
                  </a:lnTo>
                  <a:lnTo>
                    <a:pt x="17345" y="5072"/>
                  </a:lnTo>
                  <a:lnTo>
                    <a:pt x="17172" y="5175"/>
                  </a:lnTo>
                  <a:lnTo>
                    <a:pt x="17093" y="5197"/>
                  </a:lnTo>
                  <a:lnTo>
                    <a:pt x="16951" y="5269"/>
                  </a:lnTo>
                  <a:lnTo>
                    <a:pt x="16873" y="5378"/>
                  </a:lnTo>
                  <a:lnTo>
                    <a:pt x="16811" y="5487"/>
                  </a:lnTo>
                  <a:lnTo>
                    <a:pt x="16771" y="5592"/>
                  </a:lnTo>
                  <a:lnTo>
                    <a:pt x="16743" y="5750"/>
                  </a:lnTo>
                  <a:lnTo>
                    <a:pt x="16726" y="5871"/>
                  </a:lnTo>
                  <a:lnTo>
                    <a:pt x="16709" y="5944"/>
                  </a:lnTo>
                  <a:lnTo>
                    <a:pt x="16652" y="6076"/>
                  </a:lnTo>
                  <a:lnTo>
                    <a:pt x="16601" y="6191"/>
                  </a:lnTo>
                  <a:lnTo>
                    <a:pt x="16482" y="6279"/>
                  </a:lnTo>
                  <a:lnTo>
                    <a:pt x="16345" y="6351"/>
                  </a:lnTo>
                  <a:lnTo>
                    <a:pt x="16220" y="6410"/>
                  </a:lnTo>
                  <a:lnTo>
                    <a:pt x="16108" y="6417"/>
                  </a:lnTo>
                  <a:lnTo>
                    <a:pt x="16026" y="6249"/>
                  </a:lnTo>
                  <a:lnTo>
                    <a:pt x="15965" y="6129"/>
                  </a:lnTo>
                  <a:lnTo>
                    <a:pt x="15948" y="6014"/>
                  </a:lnTo>
                  <a:lnTo>
                    <a:pt x="15982" y="5833"/>
                  </a:lnTo>
                  <a:lnTo>
                    <a:pt x="16056" y="5667"/>
                  </a:lnTo>
                  <a:lnTo>
                    <a:pt x="16079" y="5551"/>
                  </a:lnTo>
                  <a:lnTo>
                    <a:pt x="16130" y="5398"/>
                  </a:lnTo>
                  <a:lnTo>
                    <a:pt x="16168" y="5299"/>
                  </a:lnTo>
                  <a:lnTo>
                    <a:pt x="16158" y="5212"/>
                  </a:lnTo>
                  <a:lnTo>
                    <a:pt x="16120" y="5149"/>
                  </a:lnTo>
                  <a:lnTo>
                    <a:pt x="16044" y="5134"/>
                  </a:lnTo>
                  <a:lnTo>
                    <a:pt x="15842" y="5066"/>
                  </a:lnTo>
                  <a:lnTo>
                    <a:pt x="15649" y="5016"/>
                  </a:lnTo>
                  <a:lnTo>
                    <a:pt x="15519" y="4899"/>
                  </a:lnTo>
                  <a:lnTo>
                    <a:pt x="15428" y="4807"/>
                  </a:lnTo>
                  <a:lnTo>
                    <a:pt x="15295" y="4703"/>
                  </a:lnTo>
                  <a:lnTo>
                    <a:pt x="15101" y="4615"/>
                  </a:lnTo>
                  <a:lnTo>
                    <a:pt x="15030" y="4608"/>
                  </a:lnTo>
                  <a:lnTo>
                    <a:pt x="14853" y="4596"/>
                  </a:lnTo>
                  <a:lnTo>
                    <a:pt x="14711" y="4533"/>
                  </a:lnTo>
                  <a:lnTo>
                    <a:pt x="14656" y="4441"/>
                  </a:lnTo>
                  <a:lnTo>
                    <a:pt x="14613" y="4335"/>
                  </a:lnTo>
                  <a:lnTo>
                    <a:pt x="14581" y="4174"/>
                  </a:lnTo>
                  <a:lnTo>
                    <a:pt x="14534" y="4070"/>
                  </a:lnTo>
                  <a:lnTo>
                    <a:pt x="14451" y="4048"/>
                  </a:lnTo>
                  <a:lnTo>
                    <a:pt x="14384" y="3982"/>
                  </a:lnTo>
                  <a:lnTo>
                    <a:pt x="14380" y="3875"/>
                  </a:lnTo>
                  <a:lnTo>
                    <a:pt x="14437" y="3743"/>
                  </a:lnTo>
                  <a:lnTo>
                    <a:pt x="14496" y="3639"/>
                  </a:lnTo>
                  <a:lnTo>
                    <a:pt x="14589" y="3529"/>
                  </a:lnTo>
                  <a:lnTo>
                    <a:pt x="14644" y="3420"/>
                  </a:lnTo>
                  <a:lnTo>
                    <a:pt x="14712" y="3355"/>
                  </a:lnTo>
                  <a:lnTo>
                    <a:pt x="14846" y="3290"/>
                  </a:lnTo>
                  <a:lnTo>
                    <a:pt x="14960" y="3224"/>
                  </a:lnTo>
                  <a:lnTo>
                    <a:pt x="15117" y="3068"/>
                  </a:lnTo>
                  <a:lnTo>
                    <a:pt x="15265" y="2971"/>
                  </a:lnTo>
                  <a:lnTo>
                    <a:pt x="15367" y="2891"/>
                  </a:lnTo>
                  <a:lnTo>
                    <a:pt x="15479" y="2833"/>
                  </a:lnTo>
                  <a:lnTo>
                    <a:pt x="15627" y="2760"/>
                  </a:lnTo>
                  <a:lnTo>
                    <a:pt x="15801" y="2672"/>
                  </a:lnTo>
                  <a:lnTo>
                    <a:pt x="15902" y="2616"/>
                  </a:lnTo>
                  <a:lnTo>
                    <a:pt x="15953" y="2544"/>
                  </a:lnTo>
                  <a:lnTo>
                    <a:pt x="15902" y="2480"/>
                  </a:lnTo>
                  <a:lnTo>
                    <a:pt x="15942" y="2320"/>
                  </a:lnTo>
                  <a:lnTo>
                    <a:pt x="16029" y="2276"/>
                  </a:lnTo>
                  <a:lnTo>
                    <a:pt x="16111" y="2336"/>
                  </a:lnTo>
                  <a:lnTo>
                    <a:pt x="16338" y="2329"/>
                  </a:lnTo>
                  <a:lnTo>
                    <a:pt x="16515" y="2242"/>
                  </a:lnTo>
                  <a:lnTo>
                    <a:pt x="16662" y="2213"/>
                  </a:lnTo>
                  <a:lnTo>
                    <a:pt x="16803" y="2154"/>
                  </a:lnTo>
                  <a:lnTo>
                    <a:pt x="16958" y="2088"/>
                  </a:lnTo>
                  <a:lnTo>
                    <a:pt x="16928" y="1994"/>
                  </a:lnTo>
                  <a:lnTo>
                    <a:pt x="16828" y="1852"/>
                  </a:lnTo>
                  <a:lnTo>
                    <a:pt x="16746" y="1775"/>
                  </a:lnTo>
                  <a:lnTo>
                    <a:pt x="16786" y="1685"/>
                  </a:lnTo>
                  <a:lnTo>
                    <a:pt x="16894" y="1649"/>
                  </a:lnTo>
                  <a:lnTo>
                    <a:pt x="17022" y="1728"/>
                  </a:lnTo>
                  <a:cubicBezTo>
                    <a:pt x="17065" y="1745"/>
                    <a:pt x="17109" y="1754"/>
                    <a:pt x="17154" y="1754"/>
                  </a:cubicBezTo>
                  <a:cubicBezTo>
                    <a:pt x="17193" y="1754"/>
                    <a:pt x="17232" y="1748"/>
                    <a:pt x="17270" y="1735"/>
                  </a:cubicBezTo>
                  <a:lnTo>
                    <a:pt x="17369" y="1675"/>
                  </a:lnTo>
                  <a:lnTo>
                    <a:pt x="17463" y="1580"/>
                  </a:lnTo>
                  <a:lnTo>
                    <a:pt x="17617" y="1551"/>
                  </a:lnTo>
                  <a:lnTo>
                    <a:pt x="17797" y="1546"/>
                  </a:lnTo>
                  <a:lnTo>
                    <a:pt x="17945" y="1517"/>
                  </a:lnTo>
                  <a:cubicBezTo>
                    <a:pt x="18025" y="1530"/>
                    <a:pt x="18106" y="1530"/>
                    <a:pt x="18186" y="1517"/>
                  </a:cubicBezTo>
                  <a:cubicBezTo>
                    <a:pt x="18230" y="1510"/>
                    <a:pt x="18274" y="1499"/>
                    <a:pt x="18316" y="1480"/>
                  </a:cubicBezTo>
                  <a:cubicBezTo>
                    <a:pt x="18379" y="1453"/>
                    <a:pt x="18437" y="1411"/>
                    <a:pt x="18487" y="1357"/>
                  </a:cubicBezTo>
                  <a:lnTo>
                    <a:pt x="18576" y="1269"/>
                  </a:lnTo>
                  <a:lnTo>
                    <a:pt x="18679" y="1133"/>
                  </a:lnTo>
                  <a:lnTo>
                    <a:pt x="18740" y="1033"/>
                  </a:lnTo>
                  <a:lnTo>
                    <a:pt x="18827" y="887"/>
                  </a:lnTo>
                  <a:lnTo>
                    <a:pt x="18865" y="773"/>
                  </a:lnTo>
                  <a:lnTo>
                    <a:pt x="18842" y="683"/>
                  </a:lnTo>
                  <a:lnTo>
                    <a:pt x="18706" y="662"/>
                  </a:lnTo>
                  <a:lnTo>
                    <a:pt x="18611" y="642"/>
                  </a:lnTo>
                  <a:lnTo>
                    <a:pt x="18371" y="642"/>
                  </a:lnTo>
                  <a:lnTo>
                    <a:pt x="18303" y="678"/>
                  </a:lnTo>
                  <a:lnTo>
                    <a:pt x="18196" y="812"/>
                  </a:lnTo>
                  <a:lnTo>
                    <a:pt x="18035" y="1029"/>
                  </a:lnTo>
                  <a:lnTo>
                    <a:pt x="17939" y="1072"/>
                  </a:lnTo>
                  <a:lnTo>
                    <a:pt x="17774" y="1203"/>
                  </a:lnTo>
                  <a:lnTo>
                    <a:pt x="17708" y="1283"/>
                  </a:lnTo>
                  <a:lnTo>
                    <a:pt x="17630" y="1324"/>
                  </a:lnTo>
                  <a:lnTo>
                    <a:pt x="17575" y="1297"/>
                  </a:lnTo>
                  <a:lnTo>
                    <a:pt x="17456" y="1210"/>
                  </a:lnTo>
                  <a:lnTo>
                    <a:pt x="17478" y="1123"/>
                  </a:lnTo>
                  <a:lnTo>
                    <a:pt x="17579" y="987"/>
                  </a:lnTo>
                  <a:lnTo>
                    <a:pt x="17620" y="848"/>
                  </a:lnTo>
                  <a:lnTo>
                    <a:pt x="17580" y="746"/>
                  </a:lnTo>
                  <a:lnTo>
                    <a:pt x="17480" y="713"/>
                  </a:lnTo>
                  <a:lnTo>
                    <a:pt x="17389" y="669"/>
                  </a:lnTo>
                  <a:lnTo>
                    <a:pt x="17377" y="770"/>
                  </a:lnTo>
                  <a:lnTo>
                    <a:pt x="17275" y="843"/>
                  </a:lnTo>
                  <a:lnTo>
                    <a:pt x="17223" y="719"/>
                  </a:lnTo>
                  <a:lnTo>
                    <a:pt x="17188" y="550"/>
                  </a:lnTo>
                  <a:lnTo>
                    <a:pt x="17158" y="474"/>
                  </a:lnTo>
                  <a:lnTo>
                    <a:pt x="17158" y="393"/>
                  </a:lnTo>
                  <a:lnTo>
                    <a:pt x="17262" y="250"/>
                  </a:lnTo>
                  <a:lnTo>
                    <a:pt x="17279" y="137"/>
                  </a:lnTo>
                  <a:lnTo>
                    <a:pt x="17211" y="42"/>
                  </a:lnTo>
                  <a:lnTo>
                    <a:pt x="17121" y="0"/>
                  </a:lnTo>
                  <a:lnTo>
                    <a:pt x="16997" y="69"/>
                  </a:lnTo>
                  <a:lnTo>
                    <a:pt x="16878" y="193"/>
                  </a:lnTo>
                  <a:lnTo>
                    <a:pt x="16739" y="264"/>
                  </a:lnTo>
                  <a:lnTo>
                    <a:pt x="16601" y="308"/>
                  </a:lnTo>
                  <a:lnTo>
                    <a:pt x="16495" y="385"/>
                  </a:lnTo>
                  <a:lnTo>
                    <a:pt x="16478" y="478"/>
                  </a:lnTo>
                  <a:lnTo>
                    <a:pt x="16580" y="499"/>
                  </a:lnTo>
                  <a:lnTo>
                    <a:pt x="16696" y="652"/>
                  </a:lnTo>
                  <a:lnTo>
                    <a:pt x="16774" y="698"/>
                  </a:lnTo>
                  <a:lnTo>
                    <a:pt x="16711" y="834"/>
                  </a:lnTo>
                  <a:lnTo>
                    <a:pt x="16611" y="914"/>
                  </a:lnTo>
                  <a:lnTo>
                    <a:pt x="16484" y="970"/>
                  </a:lnTo>
                  <a:lnTo>
                    <a:pt x="16336" y="992"/>
                  </a:lnTo>
                  <a:lnTo>
                    <a:pt x="16211" y="1072"/>
                  </a:lnTo>
                  <a:lnTo>
                    <a:pt x="16065" y="1208"/>
                  </a:lnTo>
                  <a:lnTo>
                    <a:pt x="15938" y="1300"/>
                  </a:lnTo>
                  <a:lnTo>
                    <a:pt x="15900" y="1403"/>
                  </a:lnTo>
                  <a:lnTo>
                    <a:pt x="15840" y="1405"/>
                  </a:lnTo>
                  <a:lnTo>
                    <a:pt x="15806" y="1296"/>
                  </a:lnTo>
                  <a:lnTo>
                    <a:pt x="15726" y="1252"/>
                  </a:lnTo>
                  <a:lnTo>
                    <a:pt x="15631" y="1267"/>
                  </a:lnTo>
                  <a:lnTo>
                    <a:pt x="15605" y="1192"/>
                  </a:lnTo>
                  <a:cubicBezTo>
                    <a:pt x="15584" y="1165"/>
                    <a:pt x="15559" y="1144"/>
                    <a:pt x="15531" y="1131"/>
                  </a:cubicBezTo>
                  <a:cubicBezTo>
                    <a:pt x="15512" y="1122"/>
                    <a:pt x="15491" y="1117"/>
                    <a:pt x="15471" y="1117"/>
                  </a:cubicBezTo>
                  <a:lnTo>
                    <a:pt x="15344" y="1117"/>
                  </a:lnTo>
                  <a:lnTo>
                    <a:pt x="15199" y="1177"/>
                  </a:lnTo>
                  <a:lnTo>
                    <a:pt x="15108" y="1170"/>
                  </a:lnTo>
                  <a:lnTo>
                    <a:pt x="14956" y="1162"/>
                  </a:lnTo>
                  <a:lnTo>
                    <a:pt x="14865" y="1119"/>
                  </a:lnTo>
                  <a:cubicBezTo>
                    <a:pt x="14833" y="1105"/>
                    <a:pt x="14801" y="1091"/>
                    <a:pt x="14769" y="1075"/>
                  </a:cubicBezTo>
                  <a:cubicBezTo>
                    <a:pt x="14722" y="1053"/>
                    <a:pt x="14676" y="1028"/>
                    <a:pt x="14628" y="1010"/>
                  </a:cubicBezTo>
                  <a:cubicBezTo>
                    <a:pt x="14586" y="993"/>
                    <a:pt x="14542" y="981"/>
                    <a:pt x="14498" y="973"/>
                  </a:cubicBezTo>
                  <a:lnTo>
                    <a:pt x="14362" y="995"/>
                  </a:lnTo>
                  <a:lnTo>
                    <a:pt x="14227" y="1051"/>
                  </a:lnTo>
                  <a:lnTo>
                    <a:pt x="14126" y="1073"/>
                  </a:lnTo>
                  <a:lnTo>
                    <a:pt x="14007" y="1095"/>
                  </a:lnTo>
                  <a:lnTo>
                    <a:pt x="13915" y="1160"/>
                  </a:lnTo>
                  <a:lnTo>
                    <a:pt x="13864" y="1223"/>
                  </a:lnTo>
                  <a:lnTo>
                    <a:pt x="13791" y="1318"/>
                  </a:lnTo>
                  <a:cubicBezTo>
                    <a:pt x="13779" y="1341"/>
                    <a:pt x="13766" y="1364"/>
                    <a:pt x="13753" y="1386"/>
                  </a:cubicBezTo>
                  <a:cubicBezTo>
                    <a:pt x="13728" y="1427"/>
                    <a:pt x="13701" y="1467"/>
                    <a:pt x="13670" y="1500"/>
                  </a:cubicBezTo>
                  <a:cubicBezTo>
                    <a:pt x="13638" y="1533"/>
                    <a:pt x="13603" y="1560"/>
                    <a:pt x="13565" y="1580"/>
                  </a:cubicBezTo>
                  <a:lnTo>
                    <a:pt x="13469" y="1480"/>
                  </a:lnTo>
                  <a:lnTo>
                    <a:pt x="13459" y="1310"/>
                  </a:lnTo>
                  <a:lnTo>
                    <a:pt x="13425" y="1176"/>
                  </a:lnTo>
                  <a:lnTo>
                    <a:pt x="13378" y="1120"/>
                  </a:lnTo>
                  <a:lnTo>
                    <a:pt x="13268" y="1101"/>
                  </a:lnTo>
                  <a:lnTo>
                    <a:pt x="13148" y="1115"/>
                  </a:lnTo>
                  <a:lnTo>
                    <a:pt x="13089" y="1183"/>
                  </a:lnTo>
                  <a:lnTo>
                    <a:pt x="13018" y="1183"/>
                  </a:lnTo>
                  <a:lnTo>
                    <a:pt x="12818" y="1192"/>
                  </a:lnTo>
                  <a:lnTo>
                    <a:pt x="12642" y="1192"/>
                  </a:lnTo>
                  <a:lnTo>
                    <a:pt x="12500" y="1104"/>
                  </a:lnTo>
                  <a:lnTo>
                    <a:pt x="12494" y="1027"/>
                  </a:lnTo>
                  <a:lnTo>
                    <a:pt x="12560" y="956"/>
                  </a:lnTo>
                  <a:lnTo>
                    <a:pt x="12650" y="915"/>
                  </a:lnTo>
                  <a:lnTo>
                    <a:pt x="12674" y="840"/>
                  </a:lnTo>
                  <a:lnTo>
                    <a:pt x="12555" y="840"/>
                  </a:lnTo>
                  <a:lnTo>
                    <a:pt x="12364" y="876"/>
                  </a:lnTo>
                  <a:lnTo>
                    <a:pt x="12266" y="825"/>
                  </a:lnTo>
                  <a:lnTo>
                    <a:pt x="12129" y="723"/>
                  </a:lnTo>
                  <a:lnTo>
                    <a:pt x="11999" y="650"/>
                  </a:lnTo>
                  <a:lnTo>
                    <a:pt x="11913" y="614"/>
                  </a:lnTo>
                  <a:lnTo>
                    <a:pt x="11760" y="572"/>
                  </a:lnTo>
                  <a:lnTo>
                    <a:pt x="11642" y="550"/>
                  </a:lnTo>
                  <a:lnTo>
                    <a:pt x="11514" y="550"/>
                  </a:lnTo>
                  <a:lnTo>
                    <a:pt x="11415" y="558"/>
                  </a:lnTo>
                  <a:lnTo>
                    <a:pt x="11319" y="601"/>
                  </a:lnTo>
                  <a:lnTo>
                    <a:pt x="11143" y="637"/>
                  </a:lnTo>
                  <a:lnTo>
                    <a:pt x="11018" y="616"/>
                  </a:lnTo>
                  <a:lnTo>
                    <a:pt x="10847" y="514"/>
                  </a:lnTo>
                  <a:lnTo>
                    <a:pt x="10762" y="449"/>
                  </a:lnTo>
                  <a:lnTo>
                    <a:pt x="10681" y="458"/>
                  </a:lnTo>
                  <a:lnTo>
                    <a:pt x="10573" y="509"/>
                  </a:lnTo>
                  <a:lnTo>
                    <a:pt x="10499" y="546"/>
                  </a:lnTo>
                  <a:lnTo>
                    <a:pt x="10376" y="524"/>
                  </a:lnTo>
                  <a:lnTo>
                    <a:pt x="10291" y="502"/>
                  </a:lnTo>
                  <a:lnTo>
                    <a:pt x="10121" y="517"/>
                  </a:lnTo>
                  <a:lnTo>
                    <a:pt x="9918" y="575"/>
                  </a:lnTo>
                  <a:lnTo>
                    <a:pt x="9714" y="655"/>
                  </a:lnTo>
                  <a:lnTo>
                    <a:pt x="9448" y="747"/>
                  </a:lnTo>
                  <a:lnTo>
                    <a:pt x="9329" y="769"/>
                  </a:lnTo>
                  <a:lnTo>
                    <a:pt x="8951" y="819"/>
                  </a:lnTo>
                  <a:lnTo>
                    <a:pt x="8616" y="776"/>
                  </a:lnTo>
                  <a:lnTo>
                    <a:pt x="8127" y="613"/>
                  </a:lnTo>
                  <a:lnTo>
                    <a:pt x="7941" y="509"/>
                  </a:lnTo>
                  <a:lnTo>
                    <a:pt x="7648" y="483"/>
                  </a:lnTo>
                  <a:lnTo>
                    <a:pt x="7075" y="407"/>
                  </a:lnTo>
                  <a:lnTo>
                    <a:pt x="6936" y="356"/>
                  </a:lnTo>
                  <a:lnTo>
                    <a:pt x="6817" y="290"/>
                  </a:lnTo>
                  <a:lnTo>
                    <a:pt x="6682" y="254"/>
                  </a:lnTo>
                  <a:lnTo>
                    <a:pt x="6466" y="217"/>
                  </a:lnTo>
                  <a:lnTo>
                    <a:pt x="6284" y="195"/>
                  </a:lnTo>
                  <a:lnTo>
                    <a:pt x="6126" y="188"/>
                  </a:lnTo>
                  <a:lnTo>
                    <a:pt x="5969" y="188"/>
                  </a:lnTo>
                  <a:lnTo>
                    <a:pt x="5690" y="225"/>
                  </a:lnTo>
                  <a:lnTo>
                    <a:pt x="5320" y="268"/>
                  </a:lnTo>
                  <a:lnTo>
                    <a:pt x="5074" y="361"/>
                  </a:lnTo>
                  <a:lnTo>
                    <a:pt x="4688" y="433"/>
                  </a:lnTo>
                  <a:lnTo>
                    <a:pt x="4586" y="477"/>
                  </a:lnTo>
                  <a:lnTo>
                    <a:pt x="4348" y="572"/>
                  </a:lnTo>
                  <a:lnTo>
                    <a:pt x="4054" y="701"/>
                  </a:lnTo>
                  <a:lnTo>
                    <a:pt x="3823" y="793"/>
                  </a:lnTo>
                  <a:lnTo>
                    <a:pt x="3588" y="866"/>
                  </a:lnTo>
                  <a:lnTo>
                    <a:pt x="3471" y="86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20" name="îšļîḋê">
              <a:extLst>
                <a:ext uri="{FF2B5EF4-FFF2-40B4-BE49-F238E27FC236}">
                  <a16:creationId xmlns:a16="http://schemas.microsoft.com/office/drawing/2014/main" id="{784F6C74-FD21-4F8B-A6B3-131432156901}"/>
                </a:ext>
              </a:extLst>
            </p:cNvPr>
            <p:cNvSpPr/>
            <p:nvPr/>
          </p:nvSpPr>
          <p:spPr>
            <a:xfrm>
              <a:off x="2659645" y="1473576"/>
              <a:ext cx="486286" cy="1753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634" y="1167"/>
                  </a:moveTo>
                  <a:lnTo>
                    <a:pt x="4811" y="2252"/>
                  </a:lnTo>
                  <a:lnTo>
                    <a:pt x="2967" y="4498"/>
                  </a:lnTo>
                  <a:lnTo>
                    <a:pt x="1963" y="5618"/>
                  </a:lnTo>
                  <a:lnTo>
                    <a:pt x="576" y="7014"/>
                  </a:lnTo>
                  <a:lnTo>
                    <a:pt x="80" y="8227"/>
                  </a:lnTo>
                  <a:lnTo>
                    <a:pt x="0" y="9312"/>
                  </a:lnTo>
                  <a:lnTo>
                    <a:pt x="451" y="10588"/>
                  </a:lnTo>
                  <a:lnTo>
                    <a:pt x="1016" y="11735"/>
                  </a:lnTo>
                  <a:cubicBezTo>
                    <a:pt x="1189" y="11851"/>
                    <a:pt x="1367" y="11914"/>
                    <a:pt x="1545" y="11921"/>
                  </a:cubicBezTo>
                  <a:cubicBezTo>
                    <a:pt x="2101" y="11944"/>
                    <a:pt x="2642" y="11441"/>
                    <a:pt x="3079" y="10495"/>
                  </a:cubicBezTo>
                  <a:lnTo>
                    <a:pt x="3970" y="9406"/>
                  </a:lnTo>
                  <a:lnTo>
                    <a:pt x="5427" y="8286"/>
                  </a:lnTo>
                  <a:lnTo>
                    <a:pt x="6330" y="8286"/>
                  </a:lnTo>
                  <a:lnTo>
                    <a:pt x="7392" y="10183"/>
                  </a:lnTo>
                  <a:lnTo>
                    <a:pt x="7965" y="10836"/>
                  </a:lnTo>
                  <a:lnTo>
                    <a:pt x="7774" y="11797"/>
                  </a:lnTo>
                  <a:lnTo>
                    <a:pt x="7111" y="12073"/>
                  </a:lnTo>
                  <a:cubicBezTo>
                    <a:pt x="6813" y="12042"/>
                    <a:pt x="6516" y="12011"/>
                    <a:pt x="6219" y="11980"/>
                  </a:cubicBezTo>
                  <a:cubicBezTo>
                    <a:pt x="5914" y="11948"/>
                    <a:pt x="5609" y="11917"/>
                    <a:pt x="5304" y="11886"/>
                  </a:cubicBezTo>
                  <a:lnTo>
                    <a:pt x="5201" y="13473"/>
                  </a:lnTo>
                  <a:lnTo>
                    <a:pt x="6409" y="14126"/>
                  </a:lnTo>
                  <a:cubicBezTo>
                    <a:pt x="6963" y="14051"/>
                    <a:pt x="7516" y="13958"/>
                    <a:pt x="8069" y="13846"/>
                  </a:cubicBezTo>
                  <a:cubicBezTo>
                    <a:pt x="8714" y="13716"/>
                    <a:pt x="9358" y="13560"/>
                    <a:pt x="10001" y="13380"/>
                  </a:cubicBezTo>
                  <a:lnTo>
                    <a:pt x="10642" y="15239"/>
                  </a:lnTo>
                  <a:lnTo>
                    <a:pt x="9896" y="15981"/>
                  </a:lnTo>
                  <a:cubicBezTo>
                    <a:pt x="9546" y="16191"/>
                    <a:pt x="9192" y="16347"/>
                    <a:pt x="8836" y="16448"/>
                  </a:cubicBezTo>
                  <a:cubicBezTo>
                    <a:pt x="7951" y="16697"/>
                    <a:pt x="7059" y="16604"/>
                    <a:pt x="6183" y="16172"/>
                  </a:cubicBezTo>
                  <a:lnTo>
                    <a:pt x="4831" y="16172"/>
                  </a:lnTo>
                  <a:lnTo>
                    <a:pt x="4764" y="17467"/>
                  </a:lnTo>
                  <a:lnTo>
                    <a:pt x="5860" y="18555"/>
                  </a:lnTo>
                  <a:lnTo>
                    <a:pt x="7450" y="19951"/>
                  </a:lnTo>
                  <a:lnTo>
                    <a:pt x="9207" y="21320"/>
                  </a:lnTo>
                  <a:lnTo>
                    <a:pt x="10369" y="21600"/>
                  </a:lnTo>
                  <a:lnTo>
                    <a:pt x="11950" y="21507"/>
                  </a:lnTo>
                  <a:lnTo>
                    <a:pt x="13656" y="20231"/>
                  </a:lnTo>
                  <a:cubicBezTo>
                    <a:pt x="13887" y="19682"/>
                    <a:pt x="14168" y="19316"/>
                    <a:pt x="14469" y="19174"/>
                  </a:cubicBezTo>
                  <a:cubicBezTo>
                    <a:pt x="14818" y="19009"/>
                    <a:pt x="15172" y="19150"/>
                    <a:pt x="15519" y="19329"/>
                  </a:cubicBezTo>
                  <a:cubicBezTo>
                    <a:pt x="15975" y="19564"/>
                    <a:pt x="16427" y="19863"/>
                    <a:pt x="16872" y="20224"/>
                  </a:cubicBezTo>
                  <a:lnTo>
                    <a:pt x="18689" y="19850"/>
                  </a:lnTo>
                  <a:lnTo>
                    <a:pt x="20146" y="18544"/>
                  </a:lnTo>
                  <a:lnTo>
                    <a:pt x="21195" y="17237"/>
                  </a:lnTo>
                  <a:lnTo>
                    <a:pt x="21600" y="15873"/>
                  </a:lnTo>
                  <a:lnTo>
                    <a:pt x="21374" y="15130"/>
                  </a:lnTo>
                  <a:cubicBezTo>
                    <a:pt x="21049" y="15131"/>
                    <a:pt x="20734" y="14814"/>
                    <a:pt x="20486" y="14235"/>
                  </a:cubicBezTo>
                  <a:cubicBezTo>
                    <a:pt x="20325" y="13859"/>
                    <a:pt x="20198" y="13383"/>
                    <a:pt x="20115" y="12847"/>
                  </a:cubicBezTo>
                  <a:cubicBezTo>
                    <a:pt x="20094" y="12509"/>
                    <a:pt x="20094" y="12163"/>
                    <a:pt x="20115" y="11824"/>
                  </a:cubicBezTo>
                  <a:cubicBezTo>
                    <a:pt x="20168" y="10953"/>
                    <a:pt x="20353" y="10185"/>
                    <a:pt x="20623" y="9709"/>
                  </a:cubicBezTo>
                  <a:lnTo>
                    <a:pt x="21199" y="6443"/>
                  </a:lnTo>
                  <a:lnTo>
                    <a:pt x="21301" y="5513"/>
                  </a:lnTo>
                  <a:cubicBezTo>
                    <a:pt x="21336" y="5080"/>
                    <a:pt x="21268" y="4633"/>
                    <a:pt x="21131" y="4397"/>
                  </a:cubicBezTo>
                  <a:cubicBezTo>
                    <a:pt x="20903" y="4004"/>
                    <a:pt x="20627" y="4349"/>
                    <a:pt x="20376" y="4646"/>
                  </a:cubicBezTo>
                  <a:cubicBezTo>
                    <a:pt x="20058" y="5024"/>
                    <a:pt x="19716" y="5284"/>
                    <a:pt x="19439" y="5860"/>
                  </a:cubicBezTo>
                  <a:cubicBezTo>
                    <a:pt x="19169" y="6418"/>
                    <a:pt x="18986" y="7219"/>
                    <a:pt x="18761" y="7909"/>
                  </a:cubicBezTo>
                  <a:cubicBezTo>
                    <a:pt x="18530" y="8617"/>
                    <a:pt x="18255" y="9207"/>
                    <a:pt x="17949" y="9651"/>
                  </a:cubicBezTo>
                  <a:lnTo>
                    <a:pt x="17192" y="8997"/>
                  </a:lnTo>
                  <a:cubicBezTo>
                    <a:pt x="17245" y="8451"/>
                    <a:pt x="17264" y="7885"/>
                    <a:pt x="17249" y="7321"/>
                  </a:cubicBezTo>
                  <a:cubicBezTo>
                    <a:pt x="17234" y="6788"/>
                    <a:pt x="17188" y="6264"/>
                    <a:pt x="17113" y="5770"/>
                  </a:cubicBezTo>
                  <a:lnTo>
                    <a:pt x="16235" y="5863"/>
                  </a:lnTo>
                  <a:lnTo>
                    <a:pt x="15637" y="7539"/>
                  </a:lnTo>
                  <a:lnTo>
                    <a:pt x="14936" y="7349"/>
                  </a:lnTo>
                  <a:lnTo>
                    <a:pt x="14394" y="6820"/>
                  </a:lnTo>
                  <a:lnTo>
                    <a:pt x="13160" y="5925"/>
                  </a:lnTo>
                  <a:lnTo>
                    <a:pt x="12891" y="4996"/>
                  </a:lnTo>
                  <a:lnTo>
                    <a:pt x="12371" y="3658"/>
                  </a:lnTo>
                  <a:lnTo>
                    <a:pt x="11460" y="2356"/>
                  </a:lnTo>
                  <a:lnTo>
                    <a:pt x="10150" y="1298"/>
                  </a:lnTo>
                  <a:lnTo>
                    <a:pt x="9103" y="649"/>
                  </a:lnTo>
                  <a:lnTo>
                    <a:pt x="8371" y="2"/>
                  </a:lnTo>
                  <a:lnTo>
                    <a:pt x="7461" y="0"/>
                  </a:lnTo>
                  <a:lnTo>
                    <a:pt x="6933" y="376"/>
                  </a:lnTo>
                  <a:lnTo>
                    <a:pt x="5634" y="1167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21" name="ï$ḷîďè">
              <a:extLst>
                <a:ext uri="{FF2B5EF4-FFF2-40B4-BE49-F238E27FC236}">
                  <a16:creationId xmlns:a16="http://schemas.microsoft.com/office/drawing/2014/main" id="{83192F97-F7AF-44DF-8A82-F90276B145B6}"/>
                </a:ext>
              </a:extLst>
            </p:cNvPr>
            <p:cNvSpPr/>
            <p:nvPr/>
          </p:nvSpPr>
          <p:spPr>
            <a:xfrm>
              <a:off x="3184375" y="1615331"/>
              <a:ext cx="84303" cy="41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670" y="2473"/>
                  </a:moveTo>
                  <a:lnTo>
                    <a:pt x="5361" y="4164"/>
                  </a:lnTo>
                  <a:lnTo>
                    <a:pt x="2017" y="7047"/>
                  </a:lnTo>
                  <a:lnTo>
                    <a:pt x="0" y="10954"/>
                  </a:lnTo>
                  <a:lnTo>
                    <a:pt x="2552" y="17693"/>
                  </a:lnTo>
                  <a:lnTo>
                    <a:pt x="5850" y="21600"/>
                  </a:lnTo>
                  <a:cubicBezTo>
                    <a:pt x="7389" y="21202"/>
                    <a:pt x="8897" y="20415"/>
                    <a:pt x="10337" y="19256"/>
                  </a:cubicBezTo>
                  <a:cubicBezTo>
                    <a:pt x="12339" y="17645"/>
                    <a:pt x="14178" y="15341"/>
                    <a:pt x="16135" y="13527"/>
                  </a:cubicBezTo>
                  <a:cubicBezTo>
                    <a:pt x="17883" y="11907"/>
                    <a:pt x="19716" y="10684"/>
                    <a:pt x="21600" y="9880"/>
                  </a:cubicBezTo>
                  <a:lnTo>
                    <a:pt x="21014" y="4151"/>
                  </a:lnTo>
                  <a:lnTo>
                    <a:pt x="17112" y="2719"/>
                  </a:lnTo>
                  <a:lnTo>
                    <a:pt x="14661" y="0"/>
                  </a:lnTo>
                  <a:lnTo>
                    <a:pt x="10670" y="247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22" name="i$lïde">
              <a:extLst>
                <a:ext uri="{FF2B5EF4-FFF2-40B4-BE49-F238E27FC236}">
                  <a16:creationId xmlns:a16="http://schemas.microsoft.com/office/drawing/2014/main" id="{43D82AE8-4DED-4A9C-8C2F-F42AC51BAFA4}"/>
                </a:ext>
              </a:extLst>
            </p:cNvPr>
            <p:cNvSpPr/>
            <p:nvPr/>
          </p:nvSpPr>
          <p:spPr>
            <a:xfrm>
              <a:off x="3215588" y="1484505"/>
              <a:ext cx="150776" cy="769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55" y="8070"/>
                  </a:moveTo>
                  <a:lnTo>
                    <a:pt x="7801" y="11552"/>
                  </a:lnTo>
                  <a:lnTo>
                    <a:pt x="5516" y="10656"/>
                  </a:lnTo>
                  <a:lnTo>
                    <a:pt x="2915" y="8883"/>
                  </a:lnTo>
                  <a:lnTo>
                    <a:pt x="484" y="9938"/>
                  </a:lnTo>
                  <a:lnTo>
                    <a:pt x="0" y="12339"/>
                  </a:lnTo>
                  <a:lnTo>
                    <a:pt x="2322" y="13819"/>
                  </a:lnTo>
                  <a:lnTo>
                    <a:pt x="4989" y="16372"/>
                  </a:lnTo>
                  <a:lnTo>
                    <a:pt x="6259" y="21600"/>
                  </a:lnTo>
                  <a:lnTo>
                    <a:pt x="8764" y="21166"/>
                  </a:lnTo>
                  <a:lnTo>
                    <a:pt x="11419" y="18835"/>
                  </a:lnTo>
                  <a:lnTo>
                    <a:pt x="13595" y="17559"/>
                  </a:lnTo>
                  <a:lnTo>
                    <a:pt x="16209" y="16717"/>
                  </a:lnTo>
                  <a:lnTo>
                    <a:pt x="18103" y="12039"/>
                  </a:lnTo>
                  <a:lnTo>
                    <a:pt x="18868" y="8289"/>
                  </a:lnTo>
                  <a:lnTo>
                    <a:pt x="21600" y="2573"/>
                  </a:lnTo>
                  <a:lnTo>
                    <a:pt x="21345" y="797"/>
                  </a:lnTo>
                  <a:lnTo>
                    <a:pt x="19965" y="0"/>
                  </a:lnTo>
                  <a:lnTo>
                    <a:pt x="18121" y="1761"/>
                  </a:lnTo>
                  <a:lnTo>
                    <a:pt x="15430" y="3083"/>
                  </a:lnTo>
                  <a:cubicBezTo>
                    <a:pt x="14909" y="2790"/>
                    <a:pt x="14357" y="2790"/>
                    <a:pt x="13836" y="3083"/>
                  </a:cubicBezTo>
                  <a:cubicBezTo>
                    <a:pt x="13246" y="3416"/>
                    <a:pt x="12725" y="4109"/>
                    <a:pt x="12352" y="5060"/>
                  </a:cubicBezTo>
                  <a:lnTo>
                    <a:pt x="9855" y="807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23" name="ï$ḻîďe">
              <a:extLst>
                <a:ext uri="{FF2B5EF4-FFF2-40B4-BE49-F238E27FC236}">
                  <a16:creationId xmlns:a16="http://schemas.microsoft.com/office/drawing/2014/main" id="{11301794-4396-4B41-87B1-16718F205DB7}"/>
                </a:ext>
              </a:extLst>
            </p:cNvPr>
            <p:cNvSpPr/>
            <p:nvPr/>
          </p:nvSpPr>
          <p:spPr>
            <a:xfrm>
              <a:off x="3377772" y="1484037"/>
              <a:ext cx="117289" cy="512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283" y="0"/>
                  </a:moveTo>
                  <a:lnTo>
                    <a:pt x="11928" y="3126"/>
                  </a:lnTo>
                  <a:lnTo>
                    <a:pt x="8108" y="3244"/>
                  </a:lnTo>
                  <a:lnTo>
                    <a:pt x="5428" y="5147"/>
                  </a:lnTo>
                  <a:lnTo>
                    <a:pt x="1745" y="9615"/>
                  </a:lnTo>
                  <a:lnTo>
                    <a:pt x="0" y="15547"/>
                  </a:lnTo>
                  <a:lnTo>
                    <a:pt x="588" y="20642"/>
                  </a:lnTo>
                  <a:lnTo>
                    <a:pt x="3255" y="21600"/>
                  </a:lnTo>
                  <a:lnTo>
                    <a:pt x="5550" y="17130"/>
                  </a:lnTo>
                  <a:lnTo>
                    <a:pt x="11731" y="15960"/>
                  </a:lnTo>
                  <a:lnTo>
                    <a:pt x="16226" y="17237"/>
                  </a:lnTo>
                  <a:lnTo>
                    <a:pt x="19914" y="14058"/>
                  </a:lnTo>
                  <a:lnTo>
                    <a:pt x="21459" y="10547"/>
                  </a:lnTo>
                  <a:lnTo>
                    <a:pt x="21600" y="3750"/>
                  </a:lnTo>
                  <a:lnTo>
                    <a:pt x="20248" y="1848"/>
                  </a:lnTo>
                  <a:lnTo>
                    <a:pt x="16283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24" name="išliḓe">
              <a:extLst>
                <a:ext uri="{FF2B5EF4-FFF2-40B4-BE49-F238E27FC236}">
                  <a16:creationId xmlns:a16="http://schemas.microsoft.com/office/drawing/2014/main" id="{775ABAFD-6B55-4270-B465-AEC17575D124}"/>
                </a:ext>
              </a:extLst>
            </p:cNvPr>
            <p:cNvSpPr/>
            <p:nvPr/>
          </p:nvSpPr>
          <p:spPr>
            <a:xfrm>
              <a:off x="3537340" y="1418200"/>
              <a:ext cx="289161" cy="662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838" y="93"/>
                  </a:moveTo>
                  <a:lnTo>
                    <a:pt x="2736" y="1503"/>
                  </a:lnTo>
                  <a:lnTo>
                    <a:pt x="1623" y="3591"/>
                  </a:lnTo>
                  <a:lnTo>
                    <a:pt x="622" y="6051"/>
                  </a:lnTo>
                  <a:lnTo>
                    <a:pt x="0" y="11309"/>
                  </a:lnTo>
                  <a:cubicBezTo>
                    <a:pt x="23" y="12625"/>
                    <a:pt x="147" y="13870"/>
                    <a:pt x="350" y="14850"/>
                  </a:cubicBezTo>
                  <a:cubicBezTo>
                    <a:pt x="1005" y="17999"/>
                    <a:pt x="2162" y="17761"/>
                    <a:pt x="2744" y="14356"/>
                  </a:cubicBezTo>
                  <a:lnTo>
                    <a:pt x="5745" y="14109"/>
                  </a:lnTo>
                  <a:lnTo>
                    <a:pt x="6941" y="15344"/>
                  </a:lnTo>
                  <a:lnTo>
                    <a:pt x="7732" y="17545"/>
                  </a:lnTo>
                  <a:lnTo>
                    <a:pt x="11998" y="18080"/>
                  </a:lnTo>
                  <a:lnTo>
                    <a:pt x="14484" y="17092"/>
                  </a:lnTo>
                  <a:lnTo>
                    <a:pt x="15087" y="21600"/>
                  </a:lnTo>
                  <a:lnTo>
                    <a:pt x="16550" y="21600"/>
                  </a:lnTo>
                  <a:lnTo>
                    <a:pt x="17231" y="19140"/>
                  </a:lnTo>
                  <a:lnTo>
                    <a:pt x="18865" y="15518"/>
                  </a:lnTo>
                  <a:lnTo>
                    <a:pt x="20308" y="14036"/>
                  </a:lnTo>
                  <a:lnTo>
                    <a:pt x="21600" y="11412"/>
                  </a:lnTo>
                  <a:cubicBezTo>
                    <a:pt x="21334" y="10787"/>
                    <a:pt x="21058" y="10251"/>
                    <a:pt x="20774" y="9806"/>
                  </a:cubicBezTo>
                  <a:cubicBezTo>
                    <a:pt x="20288" y="9047"/>
                    <a:pt x="19783" y="8563"/>
                    <a:pt x="19275" y="8160"/>
                  </a:cubicBezTo>
                  <a:cubicBezTo>
                    <a:pt x="18598" y="7622"/>
                    <a:pt x="17913" y="7228"/>
                    <a:pt x="17224" y="7172"/>
                  </a:cubicBezTo>
                  <a:cubicBezTo>
                    <a:pt x="16485" y="7113"/>
                    <a:pt x="15746" y="7444"/>
                    <a:pt x="15026" y="8160"/>
                  </a:cubicBezTo>
                  <a:lnTo>
                    <a:pt x="12369" y="8407"/>
                  </a:lnTo>
                  <a:lnTo>
                    <a:pt x="10911" y="9394"/>
                  </a:lnTo>
                  <a:lnTo>
                    <a:pt x="8883" y="10619"/>
                  </a:lnTo>
                  <a:lnTo>
                    <a:pt x="7915" y="8232"/>
                  </a:lnTo>
                  <a:lnTo>
                    <a:pt x="5806" y="3786"/>
                  </a:lnTo>
                  <a:lnTo>
                    <a:pt x="5241" y="0"/>
                  </a:lnTo>
                  <a:lnTo>
                    <a:pt x="3838" y="9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25" name="îṣļiḑê">
              <a:extLst>
                <a:ext uri="{FF2B5EF4-FFF2-40B4-BE49-F238E27FC236}">
                  <a16:creationId xmlns:a16="http://schemas.microsoft.com/office/drawing/2014/main" id="{7DCE6C33-F94C-4215-88F4-D6486F865A29}"/>
                </a:ext>
              </a:extLst>
            </p:cNvPr>
            <p:cNvSpPr/>
            <p:nvPr/>
          </p:nvSpPr>
          <p:spPr>
            <a:xfrm>
              <a:off x="3672980" y="1247323"/>
              <a:ext cx="662519" cy="1878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561" y="13378"/>
                  </a:moveTo>
                  <a:lnTo>
                    <a:pt x="5088" y="13526"/>
                  </a:lnTo>
                  <a:lnTo>
                    <a:pt x="4669" y="12962"/>
                  </a:lnTo>
                  <a:lnTo>
                    <a:pt x="4219" y="12959"/>
                  </a:lnTo>
                  <a:lnTo>
                    <a:pt x="3753" y="12614"/>
                  </a:lnTo>
                  <a:lnTo>
                    <a:pt x="3243" y="12700"/>
                  </a:lnTo>
                  <a:lnTo>
                    <a:pt x="3001" y="13654"/>
                  </a:lnTo>
                  <a:lnTo>
                    <a:pt x="3447" y="14348"/>
                  </a:lnTo>
                  <a:lnTo>
                    <a:pt x="4117" y="13825"/>
                  </a:lnTo>
                  <a:lnTo>
                    <a:pt x="4612" y="14954"/>
                  </a:lnTo>
                  <a:lnTo>
                    <a:pt x="4247" y="16144"/>
                  </a:lnTo>
                  <a:lnTo>
                    <a:pt x="3401" y="16493"/>
                  </a:lnTo>
                  <a:lnTo>
                    <a:pt x="3037" y="17070"/>
                  </a:lnTo>
                  <a:lnTo>
                    <a:pt x="2338" y="17502"/>
                  </a:lnTo>
                  <a:lnTo>
                    <a:pt x="1089" y="17154"/>
                  </a:lnTo>
                  <a:lnTo>
                    <a:pt x="368" y="16144"/>
                  </a:lnTo>
                  <a:lnTo>
                    <a:pt x="0" y="16754"/>
                  </a:lnTo>
                  <a:lnTo>
                    <a:pt x="473" y="17680"/>
                  </a:lnTo>
                  <a:lnTo>
                    <a:pt x="1410" y="19248"/>
                  </a:lnTo>
                  <a:cubicBezTo>
                    <a:pt x="1564" y="19437"/>
                    <a:pt x="1722" y="19583"/>
                    <a:pt x="1882" y="19684"/>
                  </a:cubicBezTo>
                  <a:cubicBezTo>
                    <a:pt x="2315" y="19954"/>
                    <a:pt x="2758" y="19895"/>
                    <a:pt x="3184" y="19509"/>
                  </a:cubicBezTo>
                  <a:lnTo>
                    <a:pt x="4003" y="18899"/>
                  </a:lnTo>
                  <a:lnTo>
                    <a:pt x="4865" y="19684"/>
                  </a:lnTo>
                  <a:lnTo>
                    <a:pt x="5810" y="21600"/>
                  </a:lnTo>
                  <a:lnTo>
                    <a:pt x="6299" y="20087"/>
                  </a:lnTo>
                  <a:cubicBezTo>
                    <a:pt x="6564" y="19546"/>
                    <a:pt x="6838" y="19061"/>
                    <a:pt x="7119" y="18634"/>
                  </a:cubicBezTo>
                  <a:cubicBezTo>
                    <a:pt x="7498" y="18061"/>
                    <a:pt x="7889" y="17595"/>
                    <a:pt x="8288" y="17241"/>
                  </a:cubicBezTo>
                  <a:lnTo>
                    <a:pt x="8943" y="16573"/>
                  </a:lnTo>
                  <a:cubicBezTo>
                    <a:pt x="9325" y="16367"/>
                    <a:pt x="9696" y="15967"/>
                    <a:pt x="10045" y="15386"/>
                  </a:cubicBezTo>
                  <a:cubicBezTo>
                    <a:pt x="10339" y="14896"/>
                    <a:pt x="10614" y="14282"/>
                    <a:pt x="10865" y="13557"/>
                  </a:cubicBezTo>
                  <a:lnTo>
                    <a:pt x="11910" y="11553"/>
                  </a:lnTo>
                  <a:lnTo>
                    <a:pt x="12755" y="10329"/>
                  </a:lnTo>
                  <a:lnTo>
                    <a:pt x="14123" y="9460"/>
                  </a:lnTo>
                  <a:lnTo>
                    <a:pt x="15016" y="8853"/>
                  </a:lnTo>
                  <a:lnTo>
                    <a:pt x="16306" y="7600"/>
                  </a:lnTo>
                  <a:lnTo>
                    <a:pt x="17582" y="6587"/>
                  </a:lnTo>
                  <a:lnTo>
                    <a:pt x="19014" y="5139"/>
                  </a:lnTo>
                  <a:lnTo>
                    <a:pt x="20556" y="3047"/>
                  </a:lnTo>
                  <a:lnTo>
                    <a:pt x="21202" y="1453"/>
                  </a:lnTo>
                  <a:lnTo>
                    <a:pt x="21600" y="174"/>
                  </a:lnTo>
                  <a:lnTo>
                    <a:pt x="21294" y="0"/>
                  </a:lnTo>
                  <a:lnTo>
                    <a:pt x="20633" y="10"/>
                  </a:lnTo>
                  <a:lnTo>
                    <a:pt x="19151" y="1139"/>
                  </a:lnTo>
                  <a:cubicBezTo>
                    <a:pt x="18849" y="1367"/>
                    <a:pt x="18545" y="1570"/>
                    <a:pt x="18239" y="1749"/>
                  </a:cubicBezTo>
                  <a:cubicBezTo>
                    <a:pt x="17545" y="2156"/>
                    <a:pt x="16846" y="2436"/>
                    <a:pt x="16143" y="2588"/>
                  </a:cubicBezTo>
                  <a:lnTo>
                    <a:pt x="14478" y="2326"/>
                  </a:lnTo>
                  <a:lnTo>
                    <a:pt x="13302" y="2239"/>
                  </a:lnTo>
                  <a:lnTo>
                    <a:pt x="12681" y="2239"/>
                  </a:lnTo>
                  <a:lnTo>
                    <a:pt x="11912" y="2497"/>
                  </a:lnTo>
                  <a:lnTo>
                    <a:pt x="10970" y="2932"/>
                  </a:lnTo>
                  <a:cubicBezTo>
                    <a:pt x="10552" y="3620"/>
                    <a:pt x="10097" y="3995"/>
                    <a:pt x="9635" y="4036"/>
                  </a:cubicBezTo>
                  <a:cubicBezTo>
                    <a:pt x="9179" y="4076"/>
                    <a:pt x="8728" y="3788"/>
                    <a:pt x="8276" y="3600"/>
                  </a:cubicBezTo>
                  <a:cubicBezTo>
                    <a:pt x="7888" y="3439"/>
                    <a:pt x="7498" y="3352"/>
                    <a:pt x="7108" y="3339"/>
                  </a:cubicBezTo>
                  <a:lnTo>
                    <a:pt x="6305" y="3339"/>
                  </a:lnTo>
                  <a:lnTo>
                    <a:pt x="5909" y="3945"/>
                  </a:lnTo>
                  <a:lnTo>
                    <a:pt x="6356" y="4864"/>
                  </a:lnTo>
                  <a:lnTo>
                    <a:pt x="6967" y="5096"/>
                  </a:lnTo>
                  <a:cubicBezTo>
                    <a:pt x="7229" y="5258"/>
                    <a:pt x="7491" y="5403"/>
                    <a:pt x="7755" y="5531"/>
                  </a:cubicBezTo>
                  <a:cubicBezTo>
                    <a:pt x="8151" y="5725"/>
                    <a:pt x="8549" y="5880"/>
                    <a:pt x="8948" y="5996"/>
                  </a:cubicBezTo>
                  <a:cubicBezTo>
                    <a:pt x="9130" y="6050"/>
                    <a:pt x="9312" y="6050"/>
                    <a:pt x="9493" y="5996"/>
                  </a:cubicBezTo>
                  <a:cubicBezTo>
                    <a:pt x="9721" y="5928"/>
                    <a:pt x="9946" y="5776"/>
                    <a:pt x="10171" y="5648"/>
                  </a:cubicBezTo>
                  <a:cubicBezTo>
                    <a:pt x="10400" y="5517"/>
                    <a:pt x="10629" y="5411"/>
                    <a:pt x="10859" y="5328"/>
                  </a:cubicBezTo>
                  <a:lnTo>
                    <a:pt x="11646" y="6374"/>
                  </a:lnTo>
                  <a:lnTo>
                    <a:pt x="11398" y="7992"/>
                  </a:lnTo>
                  <a:lnTo>
                    <a:pt x="10289" y="8686"/>
                  </a:lnTo>
                  <a:cubicBezTo>
                    <a:pt x="9973" y="8994"/>
                    <a:pt x="9649" y="9198"/>
                    <a:pt x="9321" y="9296"/>
                  </a:cubicBezTo>
                  <a:cubicBezTo>
                    <a:pt x="8943" y="9409"/>
                    <a:pt x="8562" y="9380"/>
                    <a:pt x="8186" y="9209"/>
                  </a:cubicBezTo>
                  <a:lnTo>
                    <a:pt x="7166" y="9034"/>
                  </a:lnTo>
                  <a:cubicBezTo>
                    <a:pt x="6949" y="8622"/>
                    <a:pt x="6715" y="8329"/>
                    <a:pt x="6473" y="8167"/>
                  </a:cubicBezTo>
                  <a:cubicBezTo>
                    <a:pt x="6175" y="7967"/>
                    <a:pt x="5868" y="7967"/>
                    <a:pt x="5570" y="8167"/>
                  </a:cubicBezTo>
                  <a:lnTo>
                    <a:pt x="4985" y="8744"/>
                  </a:lnTo>
                  <a:lnTo>
                    <a:pt x="5399" y="10189"/>
                  </a:lnTo>
                  <a:lnTo>
                    <a:pt x="5614" y="11056"/>
                  </a:lnTo>
                  <a:lnTo>
                    <a:pt x="5762" y="12595"/>
                  </a:lnTo>
                  <a:lnTo>
                    <a:pt x="5561" y="1337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26" name="i$ļidè">
              <a:extLst>
                <a:ext uri="{FF2B5EF4-FFF2-40B4-BE49-F238E27FC236}">
                  <a16:creationId xmlns:a16="http://schemas.microsoft.com/office/drawing/2014/main" id="{039E95C0-4F75-4377-9999-A691E0390DF1}"/>
                </a:ext>
              </a:extLst>
            </p:cNvPr>
            <p:cNvSpPr/>
            <p:nvPr/>
          </p:nvSpPr>
          <p:spPr>
            <a:xfrm>
              <a:off x="4072085" y="1252852"/>
              <a:ext cx="1290276" cy="6614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570" y="1596"/>
                  </a:moveTo>
                  <a:lnTo>
                    <a:pt x="3927" y="2113"/>
                  </a:lnTo>
                  <a:lnTo>
                    <a:pt x="2963" y="3015"/>
                  </a:lnTo>
                  <a:lnTo>
                    <a:pt x="2197" y="3378"/>
                  </a:lnTo>
                  <a:cubicBezTo>
                    <a:pt x="1959" y="3423"/>
                    <a:pt x="1720" y="3456"/>
                    <a:pt x="1481" y="3477"/>
                  </a:cubicBezTo>
                  <a:cubicBezTo>
                    <a:pt x="1325" y="3490"/>
                    <a:pt x="1168" y="3498"/>
                    <a:pt x="1012" y="3501"/>
                  </a:cubicBezTo>
                  <a:lnTo>
                    <a:pt x="480" y="3625"/>
                  </a:lnTo>
                  <a:lnTo>
                    <a:pt x="0" y="4046"/>
                  </a:lnTo>
                  <a:lnTo>
                    <a:pt x="205" y="4266"/>
                  </a:lnTo>
                  <a:lnTo>
                    <a:pt x="192" y="4578"/>
                  </a:lnTo>
                  <a:lnTo>
                    <a:pt x="145" y="4873"/>
                  </a:lnTo>
                  <a:lnTo>
                    <a:pt x="366" y="5235"/>
                  </a:lnTo>
                  <a:cubicBezTo>
                    <a:pt x="483" y="5325"/>
                    <a:pt x="606" y="5381"/>
                    <a:pt x="731" y="5399"/>
                  </a:cubicBezTo>
                  <a:cubicBezTo>
                    <a:pt x="871" y="5420"/>
                    <a:pt x="1012" y="5394"/>
                    <a:pt x="1152" y="5399"/>
                  </a:cubicBezTo>
                  <a:cubicBezTo>
                    <a:pt x="1276" y="5404"/>
                    <a:pt x="1400" y="5432"/>
                    <a:pt x="1522" y="5399"/>
                  </a:cubicBezTo>
                  <a:cubicBezTo>
                    <a:pt x="1649" y="5365"/>
                    <a:pt x="1769" y="5267"/>
                    <a:pt x="1892" y="5202"/>
                  </a:cubicBezTo>
                  <a:cubicBezTo>
                    <a:pt x="2058" y="5116"/>
                    <a:pt x="2231" y="5090"/>
                    <a:pt x="2402" y="5128"/>
                  </a:cubicBezTo>
                  <a:lnTo>
                    <a:pt x="2767" y="5276"/>
                  </a:lnTo>
                  <a:cubicBezTo>
                    <a:pt x="2900" y="5352"/>
                    <a:pt x="3033" y="5420"/>
                    <a:pt x="3167" y="5482"/>
                  </a:cubicBezTo>
                  <a:cubicBezTo>
                    <a:pt x="3243" y="5518"/>
                    <a:pt x="3319" y="5551"/>
                    <a:pt x="3395" y="5581"/>
                  </a:cubicBezTo>
                  <a:lnTo>
                    <a:pt x="3650" y="5902"/>
                  </a:lnTo>
                  <a:lnTo>
                    <a:pt x="4020" y="6514"/>
                  </a:lnTo>
                  <a:lnTo>
                    <a:pt x="4415" y="7659"/>
                  </a:lnTo>
                  <a:lnTo>
                    <a:pt x="4440" y="8450"/>
                  </a:lnTo>
                  <a:lnTo>
                    <a:pt x="4352" y="9024"/>
                  </a:lnTo>
                  <a:lnTo>
                    <a:pt x="4531" y="9485"/>
                  </a:lnTo>
                  <a:lnTo>
                    <a:pt x="4876" y="9749"/>
                  </a:lnTo>
                  <a:lnTo>
                    <a:pt x="5054" y="10490"/>
                  </a:lnTo>
                  <a:lnTo>
                    <a:pt x="5054" y="11980"/>
                  </a:lnTo>
                  <a:lnTo>
                    <a:pt x="4876" y="12838"/>
                  </a:lnTo>
                  <a:lnTo>
                    <a:pt x="4638" y="13183"/>
                  </a:lnTo>
                  <a:lnTo>
                    <a:pt x="3903" y="13807"/>
                  </a:lnTo>
                  <a:lnTo>
                    <a:pt x="3525" y="14343"/>
                  </a:lnTo>
                  <a:lnTo>
                    <a:pt x="3368" y="15002"/>
                  </a:lnTo>
                  <a:lnTo>
                    <a:pt x="3321" y="15677"/>
                  </a:lnTo>
                  <a:cubicBezTo>
                    <a:pt x="3404" y="15780"/>
                    <a:pt x="3470" y="15925"/>
                    <a:pt x="3512" y="16096"/>
                  </a:cubicBezTo>
                  <a:cubicBezTo>
                    <a:pt x="3580" y="16367"/>
                    <a:pt x="3585" y="16682"/>
                    <a:pt x="3525" y="16960"/>
                  </a:cubicBezTo>
                  <a:lnTo>
                    <a:pt x="3385" y="17619"/>
                  </a:lnTo>
                  <a:lnTo>
                    <a:pt x="3351" y="18130"/>
                  </a:lnTo>
                  <a:lnTo>
                    <a:pt x="3444" y="18881"/>
                  </a:lnTo>
                  <a:lnTo>
                    <a:pt x="3708" y="19400"/>
                  </a:lnTo>
                  <a:lnTo>
                    <a:pt x="4236" y="20174"/>
                  </a:lnTo>
                  <a:lnTo>
                    <a:pt x="4376" y="20719"/>
                  </a:lnTo>
                  <a:lnTo>
                    <a:pt x="4670" y="21057"/>
                  </a:lnTo>
                  <a:lnTo>
                    <a:pt x="4900" y="21337"/>
                  </a:lnTo>
                  <a:lnTo>
                    <a:pt x="5157" y="21600"/>
                  </a:lnTo>
                  <a:lnTo>
                    <a:pt x="5715" y="21600"/>
                  </a:lnTo>
                  <a:lnTo>
                    <a:pt x="6033" y="21031"/>
                  </a:lnTo>
                  <a:lnTo>
                    <a:pt x="6548" y="20355"/>
                  </a:lnTo>
                  <a:lnTo>
                    <a:pt x="6705" y="19796"/>
                  </a:lnTo>
                  <a:lnTo>
                    <a:pt x="6910" y="19062"/>
                  </a:lnTo>
                  <a:lnTo>
                    <a:pt x="7139" y="18519"/>
                  </a:lnTo>
                  <a:lnTo>
                    <a:pt x="7301" y="17868"/>
                  </a:lnTo>
                  <a:lnTo>
                    <a:pt x="7390" y="17406"/>
                  </a:lnTo>
                  <a:lnTo>
                    <a:pt x="7761" y="16591"/>
                  </a:lnTo>
                  <a:cubicBezTo>
                    <a:pt x="7873" y="16404"/>
                    <a:pt x="7997" y="16246"/>
                    <a:pt x="8131" y="16121"/>
                  </a:cubicBezTo>
                  <a:cubicBezTo>
                    <a:pt x="8328" y="15937"/>
                    <a:pt x="8542" y="15828"/>
                    <a:pt x="8761" y="15801"/>
                  </a:cubicBezTo>
                  <a:lnTo>
                    <a:pt x="9305" y="15727"/>
                  </a:lnTo>
                  <a:cubicBezTo>
                    <a:pt x="9405" y="15710"/>
                    <a:pt x="9504" y="15685"/>
                    <a:pt x="9603" y="15652"/>
                  </a:cubicBezTo>
                  <a:cubicBezTo>
                    <a:pt x="9812" y="15583"/>
                    <a:pt x="10017" y="15478"/>
                    <a:pt x="10216" y="15339"/>
                  </a:cubicBezTo>
                  <a:cubicBezTo>
                    <a:pt x="10289" y="15303"/>
                    <a:pt x="10361" y="15262"/>
                    <a:pt x="10433" y="15215"/>
                  </a:cubicBezTo>
                  <a:cubicBezTo>
                    <a:pt x="10645" y="15077"/>
                    <a:pt x="10849" y="14891"/>
                    <a:pt x="11040" y="14663"/>
                  </a:cubicBezTo>
                  <a:lnTo>
                    <a:pt x="11355" y="14177"/>
                  </a:lnTo>
                  <a:lnTo>
                    <a:pt x="11891" y="13522"/>
                  </a:lnTo>
                  <a:lnTo>
                    <a:pt x="12235" y="13078"/>
                  </a:lnTo>
                  <a:lnTo>
                    <a:pt x="12847" y="13004"/>
                  </a:lnTo>
                  <a:lnTo>
                    <a:pt x="13102" y="13144"/>
                  </a:lnTo>
                  <a:lnTo>
                    <a:pt x="13519" y="13218"/>
                  </a:lnTo>
                  <a:lnTo>
                    <a:pt x="13829" y="13053"/>
                  </a:lnTo>
                  <a:lnTo>
                    <a:pt x="14271" y="12814"/>
                  </a:lnTo>
                  <a:lnTo>
                    <a:pt x="14663" y="12566"/>
                  </a:lnTo>
                  <a:lnTo>
                    <a:pt x="15084" y="12467"/>
                  </a:lnTo>
                  <a:lnTo>
                    <a:pt x="15497" y="12402"/>
                  </a:lnTo>
                  <a:lnTo>
                    <a:pt x="15854" y="12327"/>
                  </a:lnTo>
                  <a:lnTo>
                    <a:pt x="16108" y="12327"/>
                  </a:lnTo>
                  <a:lnTo>
                    <a:pt x="16138" y="11701"/>
                  </a:lnTo>
                  <a:lnTo>
                    <a:pt x="15849" y="11379"/>
                  </a:lnTo>
                  <a:cubicBezTo>
                    <a:pt x="15736" y="11393"/>
                    <a:pt x="15622" y="11407"/>
                    <a:pt x="15509" y="11420"/>
                  </a:cubicBezTo>
                  <a:cubicBezTo>
                    <a:pt x="15303" y="11445"/>
                    <a:pt x="15098" y="11470"/>
                    <a:pt x="14892" y="11494"/>
                  </a:cubicBezTo>
                  <a:lnTo>
                    <a:pt x="14740" y="11123"/>
                  </a:lnTo>
                  <a:cubicBezTo>
                    <a:pt x="14769" y="10919"/>
                    <a:pt x="14851" y="10760"/>
                    <a:pt x="14956" y="10703"/>
                  </a:cubicBezTo>
                  <a:cubicBezTo>
                    <a:pt x="15099" y="10626"/>
                    <a:pt x="15250" y="10749"/>
                    <a:pt x="15322" y="11000"/>
                  </a:cubicBezTo>
                  <a:cubicBezTo>
                    <a:pt x="15374" y="10900"/>
                    <a:pt x="15405" y="10769"/>
                    <a:pt x="15412" y="10629"/>
                  </a:cubicBezTo>
                  <a:cubicBezTo>
                    <a:pt x="15424" y="10350"/>
                    <a:pt x="15341" y="10089"/>
                    <a:pt x="15207" y="9985"/>
                  </a:cubicBezTo>
                  <a:lnTo>
                    <a:pt x="15493" y="9515"/>
                  </a:lnTo>
                  <a:cubicBezTo>
                    <a:pt x="15637" y="9640"/>
                    <a:pt x="15768" y="9813"/>
                    <a:pt x="15880" y="10027"/>
                  </a:cubicBezTo>
                  <a:cubicBezTo>
                    <a:pt x="15998" y="10251"/>
                    <a:pt x="16093" y="10517"/>
                    <a:pt x="16160" y="10810"/>
                  </a:cubicBezTo>
                  <a:lnTo>
                    <a:pt x="16658" y="11082"/>
                  </a:lnTo>
                  <a:lnTo>
                    <a:pt x="16895" y="10959"/>
                  </a:lnTo>
                  <a:lnTo>
                    <a:pt x="17018" y="10515"/>
                  </a:lnTo>
                  <a:lnTo>
                    <a:pt x="16294" y="9855"/>
                  </a:lnTo>
                  <a:lnTo>
                    <a:pt x="16103" y="9419"/>
                  </a:lnTo>
                  <a:lnTo>
                    <a:pt x="15695" y="8999"/>
                  </a:lnTo>
                  <a:lnTo>
                    <a:pt x="15487" y="8406"/>
                  </a:lnTo>
                  <a:lnTo>
                    <a:pt x="15870" y="8134"/>
                  </a:lnTo>
                  <a:lnTo>
                    <a:pt x="16533" y="8547"/>
                  </a:lnTo>
                  <a:cubicBezTo>
                    <a:pt x="16596" y="8499"/>
                    <a:pt x="16659" y="8450"/>
                    <a:pt x="16721" y="8398"/>
                  </a:cubicBezTo>
                  <a:cubicBezTo>
                    <a:pt x="16929" y="8224"/>
                    <a:pt x="17132" y="8026"/>
                    <a:pt x="17328" y="7805"/>
                  </a:cubicBezTo>
                  <a:lnTo>
                    <a:pt x="17788" y="7319"/>
                  </a:lnTo>
                  <a:lnTo>
                    <a:pt x="18210" y="6429"/>
                  </a:lnTo>
                  <a:lnTo>
                    <a:pt x="18235" y="5884"/>
                  </a:lnTo>
                  <a:cubicBezTo>
                    <a:pt x="18303" y="5655"/>
                    <a:pt x="18399" y="5463"/>
                    <a:pt x="18515" y="5325"/>
                  </a:cubicBezTo>
                  <a:cubicBezTo>
                    <a:pt x="18632" y="5186"/>
                    <a:pt x="18765" y="5106"/>
                    <a:pt x="18902" y="5094"/>
                  </a:cubicBezTo>
                  <a:lnTo>
                    <a:pt x="18902" y="4509"/>
                  </a:lnTo>
                  <a:lnTo>
                    <a:pt x="18817" y="4263"/>
                  </a:lnTo>
                  <a:lnTo>
                    <a:pt x="18746" y="3869"/>
                  </a:lnTo>
                  <a:lnTo>
                    <a:pt x="18880" y="3190"/>
                  </a:lnTo>
                  <a:lnTo>
                    <a:pt x="19186" y="2499"/>
                  </a:lnTo>
                  <a:lnTo>
                    <a:pt x="19696" y="2178"/>
                  </a:lnTo>
                  <a:lnTo>
                    <a:pt x="20121" y="2202"/>
                  </a:lnTo>
                  <a:lnTo>
                    <a:pt x="20414" y="1856"/>
                  </a:lnTo>
                  <a:lnTo>
                    <a:pt x="21001" y="1881"/>
                  </a:lnTo>
                  <a:cubicBezTo>
                    <a:pt x="21065" y="1886"/>
                    <a:pt x="21130" y="1860"/>
                    <a:pt x="21188" y="1807"/>
                  </a:cubicBezTo>
                  <a:cubicBezTo>
                    <a:pt x="21269" y="1732"/>
                    <a:pt x="21335" y="1607"/>
                    <a:pt x="21375" y="1452"/>
                  </a:cubicBezTo>
                  <a:lnTo>
                    <a:pt x="21591" y="1348"/>
                  </a:lnTo>
                  <a:lnTo>
                    <a:pt x="21600" y="1011"/>
                  </a:lnTo>
                  <a:lnTo>
                    <a:pt x="21150" y="975"/>
                  </a:lnTo>
                  <a:cubicBezTo>
                    <a:pt x="20995" y="1003"/>
                    <a:pt x="20843" y="1062"/>
                    <a:pt x="20694" y="1151"/>
                  </a:cubicBezTo>
                  <a:cubicBezTo>
                    <a:pt x="20557" y="1233"/>
                    <a:pt x="20423" y="1342"/>
                    <a:pt x="20282" y="1390"/>
                  </a:cubicBezTo>
                  <a:cubicBezTo>
                    <a:pt x="20093" y="1454"/>
                    <a:pt x="19900" y="1411"/>
                    <a:pt x="19724" y="1265"/>
                  </a:cubicBezTo>
                  <a:cubicBezTo>
                    <a:pt x="19577" y="1262"/>
                    <a:pt x="19430" y="1212"/>
                    <a:pt x="19291" y="1117"/>
                  </a:cubicBezTo>
                  <a:cubicBezTo>
                    <a:pt x="19095" y="983"/>
                    <a:pt x="18917" y="763"/>
                    <a:pt x="18772" y="474"/>
                  </a:cubicBezTo>
                  <a:lnTo>
                    <a:pt x="18083" y="0"/>
                  </a:lnTo>
                  <a:lnTo>
                    <a:pt x="16508" y="3"/>
                  </a:lnTo>
                  <a:lnTo>
                    <a:pt x="15693" y="275"/>
                  </a:lnTo>
                  <a:lnTo>
                    <a:pt x="14944" y="531"/>
                  </a:lnTo>
                  <a:lnTo>
                    <a:pt x="14463" y="291"/>
                  </a:lnTo>
                  <a:lnTo>
                    <a:pt x="13875" y="143"/>
                  </a:lnTo>
                  <a:lnTo>
                    <a:pt x="13340" y="291"/>
                  </a:lnTo>
                  <a:lnTo>
                    <a:pt x="12195" y="653"/>
                  </a:lnTo>
                  <a:lnTo>
                    <a:pt x="10633" y="1133"/>
                  </a:lnTo>
                  <a:lnTo>
                    <a:pt x="9702" y="1133"/>
                  </a:lnTo>
                  <a:lnTo>
                    <a:pt x="8978" y="1388"/>
                  </a:lnTo>
                  <a:lnTo>
                    <a:pt x="8396" y="1388"/>
                  </a:lnTo>
                  <a:lnTo>
                    <a:pt x="7809" y="1141"/>
                  </a:lnTo>
                  <a:lnTo>
                    <a:pt x="7009" y="1092"/>
                  </a:lnTo>
                  <a:lnTo>
                    <a:pt x="6559" y="1002"/>
                  </a:lnTo>
                  <a:lnTo>
                    <a:pt x="5776" y="1002"/>
                  </a:lnTo>
                  <a:lnTo>
                    <a:pt x="5285" y="1142"/>
                  </a:lnTo>
                  <a:lnTo>
                    <a:pt x="4570" y="159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27" name="iŝlidê">
              <a:extLst>
                <a:ext uri="{FF2B5EF4-FFF2-40B4-BE49-F238E27FC236}">
                  <a16:creationId xmlns:a16="http://schemas.microsoft.com/office/drawing/2014/main" id="{FD6D08E9-D3A5-407A-939F-5645A6B288A1}"/>
                </a:ext>
              </a:extLst>
            </p:cNvPr>
            <p:cNvSpPr/>
            <p:nvPr/>
          </p:nvSpPr>
          <p:spPr>
            <a:xfrm>
              <a:off x="3479660" y="1494826"/>
              <a:ext cx="530890" cy="3689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021" y="593"/>
                  </a:moveTo>
                  <a:lnTo>
                    <a:pt x="7339" y="943"/>
                  </a:lnTo>
                  <a:lnTo>
                    <a:pt x="6138" y="1776"/>
                  </a:lnTo>
                  <a:lnTo>
                    <a:pt x="5808" y="2763"/>
                  </a:lnTo>
                  <a:lnTo>
                    <a:pt x="5092" y="3323"/>
                  </a:lnTo>
                  <a:cubicBezTo>
                    <a:pt x="4981" y="3552"/>
                    <a:pt x="4794" y="3681"/>
                    <a:pt x="4600" y="3663"/>
                  </a:cubicBezTo>
                  <a:cubicBezTo>
                    <a:pt x="4347" y="3639"/>
                    <a:pt x="4136" y="3380"/>
                    <a:pt x="4082" y="3027"/>
                  </a:cubicBezTo>
                  <a:lnTo>
                    <a:pt x="4399" y="1979"/>
                  </a:lnTo>
                  <a:lnTo>
                    <a:pt x="5690" y="798"/>
                  </a:lnTo>
                  <a:lnTo>
                    <a:pt x="5100" y="0"/>
                  </a:lnTo>
                  <a:cubicBezTo>
                    <a:pt x="4899" y="133"/>
                    <a:pt x="4693" y="250"/>
                    <a:pt x="4483" y="350"/>
                  </a:cubicBezTo>
                  <a:cubicBezTo>
                    <a:pt x="4069" y="547"/>
                    <a:pt x="3640" y="676"/>
                    <a:pt x="3206" y="735"/>
                  </a:cubicBezTo>
                  <a:lnTo>
                    <a:pt x="2729" y="1223"/>
                  </a:lnTo>
                  <a:lnTo>
                    <a:pt x="1867" y="1975"/>
                  </a:lnTo>
                  <a:lnTo>
                    <a:pt x="1287" y="3024"/>
                  </a:lnTo>
                  <a:lnTo>
                    <a:pt x="765" y="3246"/>
                  </a:lnTo>
                  <a:lnTo>
                    <a:pt x="240" y="4131"/>
                  </a:lnTo>
                  <a:lnTo>
                    <a:pt x="0" y="4706"/>
                  </a:lnTo>
                  <a:lnTo>
                    <a:pt x="488" y="5355"/>
                  </a:lnTo>
                  <a:lnTo>
                    <a:pt x="1157" y="5843"/>
                  </a:lnTo>
                  <a:lnTo>
                    <a:pt x="1737" y="6153"/>
                  </a:lnTo>
                  <a:lnTo>
                    <a:pt x="2377" y="6286"/>
                  </a:lnTo>
                  <a:lnTo>
                    <a:pt x="3276" y="6064"/>
                  </a:lnTo>
                  <a:lnTo>
                    <a:pt x="4259" y="5754"/>
                  </a:lnTo>
                  <a:lnTo>
                    <a:pt x="5354" y="6094"/>
                  </a:lnTo>
                  <a:lnTo>
                    <a:pt x="6511" y="6183"/>
                  </a:lnTo>
                  <a:lnTo>
                    <a:pt x="7184" y="6626"/>
                  </a:lnTo>
                  <a:cubicBezTo>
                    <a:pt x="7405" y="6541"/>
                    <a:pt x="7623" y="6437"/>
                    <a:pt x="7835" y="6316"/>
                  </a:cubicBezTo>
                  <a:cubicBezTo>
                    <a:pt x="8220" y="6096"/>
                    <a:pt x="8587" y="5819"/>
                    <a:pt x="8931" y="5490"/>
                  </a:cubicBezTo>
                  <a:lnTo>
                    <a:pt x="9355" y="5312"/>
                  </a:lnTo>
                  <a:lnTo>
                    <a:pt x="9932" y="5575"/>
                  </a:lnTo>
                  <a:lnTo>
                    <a:pt x="10644" y="6240"/>
                  </a:lnTo>
                  <a:lnTo>
                    <a:pt x="11141" y="6846"/>
                  </a:lnTo>
                  <a:lnTo>
                    <a:pt x="12060" y="7539"/>
                  </a:lnTo>
                  <a:lnTo>
                    <a:pt x="12619" y="8736"/>
                  </a:lnTo>
                  <a:lnTo>
                    <a:pt x="13095" y="10006"/>
                  </a:lnTo>
                  <a:lnTo>
                    <a:pt x="13435" y="11054"/>
                  </a:lnTo>
                  <a:lnTo>
                    <a:pt x="14056" y="11586"/>
                  </a:lnTo>
                  <a:lnTo>
                    <a:pt x="14914" y="12148"/>
                  </a:lnTo>
                  <a:lnTo>
                    <a:pt x="14833" y="12869"/>
                  </a:lnTo>
                  <a:lnTo>
                    <a:pt x="14379" y="13177"/>
                  </a:lnTo>
                  <a:lnTo>
                    <a:pt x="13740" y="13602"/>
                  </a:lnTo>
                  <a:lnTo>
                    <a:pt x="12986" y="13647"/>
                  </a:lnTo>
                  <a:lnTo>
                    <a:pt x="12638" y="13264"/>
                  </a:lnTo>
                  <a:lnTo>
                    <a:pt x="11587" y="13042"/>
                  </a:lnTo>
                  <a:lnTo>
                    <a:pt x="10513" y="13484"/>
                  </a:lnTo>
                  <a:lnTo>
                    <a:pt x="9841" y="14502"/>
                  </a:lnTo>
                  <a:lnTo>
                    <a:pt x="9564" y="15162"/>
                  </a:lnTo>
                  <a:lnTo>
                    <a:pt x="9078" y="15545"/>
                  </a:lnTo>
                  <a:lnTo>
                    <a:pt x="7809" y="15678"/>
                  </a:lnTo>
                  <a:lnTo>
                    <a:pt x="6983" y="15367"/>
                  </a:lnTo>
                  <a:lnTo>
                    <a:pt x="6084" y="15147"/>
                  </a:lnTo>
                  <a:lnTo>
                    <a:pt x="5096" y="15369"/>
                  </a:lnTo>
                  <a:lnTo>
                    <a:pt x="4413" y="16019"/>
                  </a:lnTo>
                  <a:lnTo>
                    <a:pt x="5045" y="16668"/>
                  </a:lnTo>
                  <a:lnTo>
                    <a:pt x="6285" y="16934"/>
                  </a:lnTo>
                  <a:lnTo>
                    <a:pt x="7287" y="16420"/>
                  </a:lnTo>
                  <a:lnTo>
                    <a:pt x="8059" y="16243"/>
                  </a:lnTo>
                  <a:lnTo>
                    <a:pt x="9091" y="16300"/>
                  </a:lnTo>
                  <a:lnTo>
                    <a:pt x="9462" y="16921"/>
                  </a:lnTo>
                  <a:lnTo>
                    <a:pt x="9564" y="17355"/>
                  </a:lnTo>
                  <a:lnTo>
                    <a:pt x="9891" y="18150"/>
                  </a:lnTo>
                  <a:lnTo>
                    <a:pt x="10014" y="18797"/>
                  </a:lnTo>
                  <a:lnTo>
                    <a:pt x="10439" y="19327"/>
                  </a:lnTo>
                  <a:lnTo>
                    <a:pt x="10902" y="19443"/>
                  </a:lnTo>
                  <a:lnTo>
                    <a:pt x="12019" y="20417"/>
                  </a:lnTo>
                  <a:lnTo>
                    <a:pt x="12722" y="21245"/>
                  </a:lnTo>
                  <a:lnTo>
                    <a:pt x="14241" y="21600"/>
                  </a:lnTo>
                  <a:lnTo>
                    <a:pt x="14643" y="21336"/>
                  </a:lnTo>
                  <a:lnTo>
                    <a:pt x="15294" y="20804"/>
                  </a:lnTo>
                  <a:cubicBezTo>
                    <a:pt x="15170" y="20619"/>
                    <a:pt x="15023" y="20469"/>
                    <a:pt x="14861" y="20360"/>
                  </a:cubicBezTo>
                  <a:cubicBezTo>
                    <a:pt x="14623" y="20200"/>
                    <a:pt x="14358" y="20132"/>
                    <a:pt x="14128" y="19948"/>
                  </a:cubicBezTo>
                  <a:cubicBezTo>
                    <a:pt x="13879" y="19749"/>
                    <a:pt x="13688" y="19429"/>
                    <a:pt x="13590" y="19046"/>
                  </a:cubicBezTo>
                  <a:lnTo>
                    <a:pt x="13158" y="18532"/>
                  </a:lnTo>
                  <a:lnTo>
                    <a:pt x="13427" y="18017"/>
                  </a:lnTo>
                  <a:lnTo>
                    <a:pt x="14110" y="18105"/>
                  </a:lnTo>
                  <a:lnTo>
                    <a:pt x="14793" y="18460"/>
                  </a:lnTo>
                  <a:lnTo>
                    <a:pt x="15377" y="18697"/>
                  </a:lnTo>
                  <a:lnTo>
                    <a:pt x="15778" y="19005"/>
                  </a:lnTo>
                  <a:lnTo>
                    <a:pt x="16295" y="19094"/>
                  </a:lnTo>
                  <a:lnTo>
                    <a:pt x="16532" y="18785"/>
                  </a:lnTo>
                  <a:lnTo>
                    <a:pt x="16863" y="17974"/>
                  </a:lnTo>
                  <a:lnTo>
                    <a:pt x="16832" y="16720"/>
                  </a:lnTo>
                  <a:lnTo>
                    <a:pt x="16410" y="15436"/>
                  </a:lnTo>
                  <a:lnTo>
                    <a:pt x="16038" y="14519"/>
                  </a:lnTo>
                  <a:lnTo>
                    <a:pt x="16348" y="13987"/>
                  </a:lnTo>
                  <a:lnTo>
                    <a:pt x="17092" y="13263"/>
                  </a:lnTo>
                  <a:lnTo>
                    <a:pt x="17959" y="13751"/>
                  </a:lnTo>
                  <a:cubicBezTo>
                    <a:pt x="18224" y="13919"/>
                    <a:pt x="18489" y="14087"/>
                    <a:pt x="18755" y="14253"/>
                  </a:cubicBezTo>
                  <a:cubicBezTo>
                    <a:pt x="19010" y="14412"/>
                    <a:pt x="19265" y="14570"/>
                    <a:pt x="19521" y="14726"/>
                  </a:cubicBezTo>
                  <a:lnTo>
                    <a:pt x="20059" y="14800"/>
                  </a:lnTo>
                  <a:cubicBezTo>
                    <a:pt x="20261" y="14738"/>
                    <a:pt x="20456" y="14633"/>
                    <a:pt x="20638" y="14490"/>
                  </a:cubicBezTo>
                  <a:cubicBezTo>
                    <a:pt x="21053" y="14162"/>
                    <a:pt x="21380" y="13647"/>
                    <a:pt x="21569" y="13026"/>
                  </a:cubicBezTo>
                  <a:lnTo>
                    <a:pt x="21600" y="12364"/>
                  </a:lnTo>
                  <a:lnTo>
                    <a:pt x="20876" y="11537"/>
                  </a:lnTo>
                  <a:lnTo>
                    <a:pt x="20172" y="11271"/>
                  </a:lnTo>
                  <a:cubicBezTo>
                    <a:pt x="19977" y="10989"/>
                    <a:pt x="19782" y="10709"/>
                    <a:pt x="19585" y="10430"/>
                  </a:cubicBezTo>
                  <a:cubicBezTo>
                    <a:pt x="19314" y="10044"/>
                    <a:pt x="19041" y="9659"/>
                    <a:pt x="18768" y="9277"/>
                  </a:cubicBezTo>
                  <a:lnTo>
                    <a:pt x="18552" y="8352"/>
                  </a:lnTo>
                  <a:lnTo>
                    <a:pt x="18707" y="7850"/>
                  </a:lnTo>
                  <a:lnTo>
                    <a:pt x="18707" y="7053"/>
                  </a:lnTo>
                  <a:lnTo>
                    <a:pt x="18460" y="6506"/>
                  </a:lnTo>
                  <a:lnTo>
                    <a:pt x="17665" y="6018"/>
                  </a:lnTo>
                  <a:lnTo>
                    <a:pt x="16139" y="5357"/>
                  </a:lnTo>
                  <a:lnTo>
                    <a:pt x="15519" y="4734"/>
                  </a:lnTo>
                  <a:lnTo>
                    <a:pt x="14962" y="3542"/>
                  </a:lnTo>
                  <a:lnTo>
                    <a:pt x="14662" y="2965"/>
                  </a:lnTo>
                  <a:lnTo>
                    <a:pt x="14176" y="2226"/>
                  </a:lnTo>
                  <a:lnTo>
                    <a:pt x="13369" y="2581"/>
                  </a:lnTo>
                  <a:lnTo>
                    <a:pt x="12408" y="3126"/>
                  </a:lnTo>
                  <a:lnTo>
                    <a:pt x="11913" y="2771"/>
                  </a:lnTo>
                  <a:cubicBezTo>
                    <a:pt x="11698" y="2567"/>
                    <a:pt x="11484" y="2360"/>
                    <a:pt x="11271" y="2150"/>
                  </a:cubicBezTo>
                  <a:cubicBezTo>
                    <a:pt x="11036" y="1918"/>
                    <a:pt x="10801" y="1682"/>
                    <a:pt x="10569" y="1443"/>
                  </a:cubicBezTo>
                  <a:lnTo>
                    <a:pt x="9607" y="777"/>
                  </a:lnTo>
                  <a:lnTo>
                    <a:pt x="9009" y="497"/>
                  </a:lnTo>
                  <a:lnTo>
                    <a:pt x="8021" y="59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28" name="isḷîḓè">
              <a:extLst>
                <a:ext uri="{FF2B5EF4-FFF2-40B4-BE49-F238E27FC236}">
                  <a16:creationId xmlns:a16="http://schemas.microsoft.com/office/drawing/2014/main" id="{3197C980-7401-4F47-A21E-498412C7A806}"/>
                </a:ext>
              </a:extLst>
            </p:cNvPr>
            <p:cNvSpPr/>
            <p:nvPr/>
          </p:nvSpPr>
          <p:spPr>
            <a:xfrm>
              <a:off x="3367978" y="1754955"/>
              <a:ext cx="134323" cy="632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6" h="21600" extrusionOk="0">
                  <a:moveTo>
                    <a:pt x="14288" y="2825"/>
                  </a:moveTo>
                  <a:lnTo>
                    <a:pt x="10337" y="0"/>
                  </a:lnTo>
                  <a:lnTo>
                    <a:pt x="6944" y="635"/>
                  </a:lnTo>
                  <a:lnTo>
                    <a:pt x="4261" y="5531"/>
                  </a:lnTo>
                  <a:lnTo>
                    <a:pt x="923" y="10880"/>
                  </a:lnTo>
                  <a:lnTo>
                    <a:pt x="0" y="13544"/>
                  </a:lnTo>
                  <a:lnTo>
                    <a:pt x="505" y="17480"/>
                  </a:lnTo>
                  <a:lnTo>
                    <a:pt x="3926" y="18763"/>
                  </a:lnTo>
                  <a:lnTo>
                    <a:pt x="6234" y="16694"/>
                  </a:lnTo>
                  <a:lnTo>
                    <a:pt x="9366" y="14882"/>
                  </a:lnTo>
                  <a:cubicBezTo>
                    <a:pt x="10482" y="14254"/>
                    <a:pt x="11657" y="14254"/>
                    <a:pt x="12773" y="14882"/>
                  </a:cubicBezTo>
                  <a:cubicBezTo>
                    <a:pt x="14008" y="15576"/>
                    <a:pt x="15124" y="17010"/>
                    <a:pt x="15986" y="19012"/>
                  </a:cubicBezTo>
                  <a:lnTo>
                    <a:pt x="19647" y="21600"/>
                  </a:lnTo>
                  <a:cubicBezTo>
                    <a:pt x="20643" y="20974"/>
                    <a:pt x="21364" y="19135"/>
                    <a:pt x="21472" y="16942"/>
                  </a:cubicBezTo>
                  <a:cubicBezTo>
                    <a:pt x="21600" y="14339"/>
                    <a:pt x="20855" y="11900"/>
                    <a:pt x="19682" y="11085"/>
                  </a:cubicBezTo>
                  <a:lnTo>
                    <a:pt x="16154" y="7063"/>
                  </a:lnTo>
                  <a:lnTo>
                    <a:pt x="14288" y="282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29" name="iş1íḋè">
              <a:extLst>
                <a:ext uri="{FF2B5EF4-FFF2-40B4-BE49-F238E27FC236}">
                  <a16:creationId xmlns:a16="http://schemas.microsoft.com/office/drawing/2014/main" id="{A0CF4F92-43EB-4137-9177-7874407D8224}"/>
                </a:ext>
              </a:extLst>
            </p:cNvPr>
            <p:cNvSpPr/>
            <p:nvPr/>
          </p:nvSpPr>
          <p:spPr>
            <a:xfrm>
              <a:off x="3798219" y="2232769"/>
              <a:ext cx="191559" cy="1523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617" y="713"/>
                  </a:moveTo>
                  <a:lnTo>
                    <a:pt x="12158" y="1430"/>
                  </a:lnTo>
                  <a:lnTo>
                    <a:pt x="10460" y="3510"/>
                  </a:lnTo>
                  <a:lnTo>
                    <a:pt x="9735" y="5219"/>
                  </a:lnTo>
                  <a:lnTo>
                    <a:pt x="8711" y="7368"/>
                  </a:lnTo>
                  <a:lnTo>
                    <a:pt x="6506" y="9587"/>
                  </a:lnTo>
                  <a:lnTo>
                    <a:pt x="4116" y="10124"/>
                  </a:lnTo>
                  <a:lnTo>
                    <a:pt x="3238" y="12590"/>
                  </a:lnTo>
                  <a:lnTo>
                    <a:pt x="2264" y="14703"/>
                  </a:lnTo>
                  <a:lnTo>
                    <a:pt x="112" y="15347"/>
                  </a:lnTo>
                  <a:lnTo>
                    <a:pt x="0" y="16883"/>
                  </a:lnTo>
                  <a:lnTo>
                    <a:pt x="2956" y="16668"/>
                  </a:lnTo>
                  <a:lnTo>
                    <a:pt x="4669" y="16668"/>
                  </a:lnTo>
                  <a:lnTo>
                    <a:pt x="6963" y="17384"/>
                  </a:lnTo>
                  <a:lnTo>
                    <a:pt x="8339" y="17778"/>
                  </a:lnTo>
                  <a:lnTo>
                    <a:pt x="7794" y="19707"/>
                  </a:lnTo>
                  <a:lnTo>
                    <a:pt x="8250" y="21600"/>
                  </a:lnTo>
                  <a:lnTo>
                    <a:pt x="9877" y="20459"/>
                  </a:lnTo>
                  <a:lnTo>
                    <a:pt x="9307" y="17997"/>
                  </a:lnTo>
                  <a:lnTo>
                    <a:pt x="11744" y="17389"/>
                  </a:lnTo>
                  <a:lnTo>
                    <a:pt x="13751" y="17389"/>
                  </a:lnTo>
                  <a:lnTo>
                    <a:pt x="15873" y="16529"/>
                  </a:lnTo>
                  <a:lnTo>
                    <a:pt x="18822" y="16207"/>
                  </a:lnTo>
                  <a:lnTo>
                    <a:pt x="20342" y="15240"/>
                  </a:lnTo>
                  <a:lnTo>
                    <a:pt x="21600" y="14632"/>
                  </a:lnTo>
                  <a:lnTo>
                    <a:pt x="18847" y="11235"/>
                  </a:lnTo>
                  <a:lnTo>
                    <a:pt x="17711" y="9945"/>
                  </a:lnTo>
                  <a:lnTo>
                    <a:pt x="15740" y="9095"/>
                  </a:lnTo>
                  <a:lnTo>
                    <a:pt x="13625" y="8379"/>
                  </a:lnTo>
                  <a:lnTo>
                    <a:pt x="12948" y="7206"/>
                  </a:lnTo>
                  <a:cubicBezTo>
                    <a:pt x="12674" y="6625"/>
                    <a:pt x="12582" y="5938"/>
                    <a:pt x="12690" y="5277"/>
                  </a:cubicBezTo>
                  <a:cubicBezTo>
                    <a:pt x="12841" y="4349"/>
                    <a:pt x="13359" y="3580"/>
                    <a:pt x="14066" y="3237"/>
                  </a:cubicBezTo>
                  <a:cubicBezTo>
                    <a:pt x="14497" y="2942"/>
                    <a:pt x="14876" y="2541"/>
                    <a:pt x="15181" y="2059"/>
                  </a:cubicBezTo>
                  <a:cubicBezTo>
                    <a:pt x="15444" y="1642"/>
                    <a:pt x="15646" y="1171"/>
                    <a:pt x="15779" y="667"/>
                  </a:cubicBezTo>
                  <a:lnTo>
                    <a:pt x="15098" y="0"/>
                  </a:lnTo>
                  <a:lnTo>
                    <a:pt x="13617" y="71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30" name="îŝľîďè">
              <a:extLst>
                <a:ext uri="{FF2B5EF4-FFF2-40B4-BE49-F238E27FC236}">
                  <a16:creationId xmlns:a16="http://schemas.microsoft.com/office/drawing/2014/main" id="{E5D16D57-4AAA-4D45-B582-5146A6D10CB6}"/>
                </a:ext>
              </a:extLst>
            </p:cNvPr>
            <p:cNvSpPr/>
            <p:nvPr/>
          </p:nvSpPr>
          <p:spPr>
            <a:xfrm>
              <a:off x="3443720" y="2870076"/>
              <a:ext cx="43114" cy="31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449" y="0"/>
                  </a:moveTo>
                  <a:lnTo>
                    <a:pt x="4511" y="2596"/>
                  </a:lnTo>
                  <a:lnTo>
                    <a:pt x="0" y="15912"/>
                  </a:lnTo>
                  <a:lnTo>
                    <a:pt x="12679" y="21600"/>
                  </a:lnTo>
                  <a:lnTo>
                    <a:pt x="21600" y="12688"/>
                  </a:lnTo>
                  <a:lnTo>
                    <a:pt x="944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31" name="ïSļíḓê">
              <a:extLst>
                <a:ext uri="{FF2B5EF4-FFF2-40B4-BE49-F238E27FC236}">
                  <a16:creationId xmlns:a16="http://schemas.microsoft.com/office/drawing/2014/main" id="{97AADEBB-86ED-44F6-8D6B-1A1788B98FCC}"/>
                </a:ext>
              </a:extLst>
            </p:cNvPr>
            <p:cNvSpPr/>
            <p:nvPr/>
          </p:nvSpPr>
          <p:spPr>
            <a:xfrm>
              <a:off x="2721842" y="3238975"/>
              <a:ext cx="336007" cy="1201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424" extrusionOk="0">
                  <a:moveTo>
                    <a:pt x="6693" y="0"/>
                  </a:moveTo>
                  <a:lnTo>
                    <a:pt x="3994" y="298"/>
                  </a:lnTo>
                  <a:lnTo>
                    <a:pt x="1905" y="1849"/>
                  </a:lnTo>
                  <a:lnTo>
                    <a:pt x="0" y="4685"/>
                  </a:lnTo>
                  <a:lnTo>
                    <a:pt x="3" y="8050"/>
                  </a:lnTo>
                  <a:lnTo>
                    <a:pt x="2136" y="6609"/>
                  </a:lnTo>
                  <a:lnTo>
                    <a:pt x="5761" y="4730"/>
                  </a:lnTo>
                  <a:lnTo>
                    <a:pt x="7958" y="6075"/>
                  </a:lnTo>
                  <a:lnTo>
                    <a:pt x="10066" y="8095"/>
                  </a:lnTo>
                  <a:lnTo>
                    <a:pt x="12698" y="10886"/>
                  </a:lnTo>
                  <a:lnTo>
                    <a:pt x="13431" y="13491"/>
                  </a:lnTo>
                  <a:lnTo>
                    <a:pt x="13576" y="16728"/>
                  </a:lnTo>
                  <a:lnTo>
                    <a:pt x="13202" y="18838"/>
                  </a:lnTo>
                  <a:lnTo>
                    <a:pt x="14379" y="19732"/>
                  </a:lnTo>
                  <a:lnTo>
                    <a:pt x="15587" y="19372"/>
                  </a:lnTo>
                  <a:lnTo>
                    <a:pt x="17041" y="19372"/>
                  </a:lnTo>
                  <a:lnTo>
                    <a:pt x="17973" y="20722"/>
                  </a:lnTo>
                  <a:cubicBezTo>
                    <a:pt x="18362" y="21404"/>
                    <a:pt x="18837" y="21600"/>
                    <a:pt x="19281" y="21263"/>
                  </a:cubicBezTo>
                  <a:cubicBezTo>
                    <a:pt x="19538" y="21068"/>
                    <a:pt x="19773" y="20698"/>
                    <a:pt x="19965" y="20188"/>
                  </a:cubicBezTo>
                  <a:lnTo>
                    <a:pt x="20995" y="19018"/>
                  </a:lnTo>
                  <a:lnTo>
                    <a:pt x="21584" y="18883"/>
                  </a:lnTo>
                  <a:lnTo>
                    <a:pt x="21600" y="16502"/>
                  </a:lnTo>
                  <a:lnTo>
                    <a:pt x="20145" y="14116"/>
                  </a:lnTo>
                  <a:cubicBezTo>
                    <a:pt x="19497" y="13439"/>
                    <a:pt x="18849" y="12764"/>
                    <a:pt x="18200" y="12091"/>
                  </a:cubicBezTo>
                  <a:cubicBezTo>
                    <a:pt x="17606" y="11474"/>
                    <a:pt x="17013" y="10859"/>
                    <a:pt x="16418" y="10245"/>
                  </a:cubicBezTo>
                  <a:lnTo>
                    <a:pt x="14034" y="5974"/>
                  </a:lnTo>
                  <a:lnTo>
                    <a:pt x="11880" y="2378"/>
                  </a:lnTo>
                  <a:lnTo>
                    <a:pt x="9839" y="1348"/>
                  </a:lnTo>
                  <a:lnTo>
                    <a:pt x="8476" y="678"/>
                  </a:lnTo>
                  <a:lnTo>
                    <a:pt x="6693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32" name="íŝ1îḑe">
              <a:extLst>
                <a:ext uri="{FF2B5EF4-FFF2-40B4-BE49-F238E27FC236}">
                  <a16:creationId xmlns:a16="http://schemas.microsoft.com/office/drawing/2014/main" id="{626493F0-8377-44CB-A4AD-CD13378A3649}"/>
                </a:ext>
              </a:extLst>
            </p:cNvPr>
            <p:cNvSpPr/>
            <p:nvPr/>
          </p:nvSpPr>
          <p:spPr>
            <a:xfrm>
              <a:off x="3014633" y="3360630"/>
              <a:ext cx="222454" cy="695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321" extrusionOk="0">
                  <a:moveTo>
                    <a:pt x="8080" y="2346"/>
                  </a:moveTo>
                  <a:lnTo>
                    <a:pt x="7608" y="5248"/>
                  </a:lnTo>
                  <a:lnTo>
                    <a:pt x="9192" y="9941"/>
                  </a:lnTo>
                  <a:lnTo>
                    <a:pt x="8133" y="13268"/>
                  </a:lnTo>
                  <a:lnTo>
                    <a:pt x="6167" y="13491"/>
                  </a:lnTo>
                  <a:cubicBezTo>
                    <a:pt x="5337" y="12924"/>
                    <a:pt x="4494" y="12536"/>
                    <a:pt x="3646" y="12331"/>
                  </a:cubicBezTo>
                  <a:cubicBezTo>
                    <a:pt x="2705" y="12103"/>
                    <a:pt x="1759" y="12099"/>
                    <a:pt x="817" y="12321"/>
                  </a:cubicBezTo>
                  <a:lnTo>
                    <a:pt x="0" y="15310"/>
                  </a:lnTo>
                  <a:lnTo>
                    <a:pt x="1925" y="18019"/>
                  </a:lnTo>
                  <a:lnTo>
                    <a:pt x="4070" y="18251"/>
                  </a:lnTo>
                  <a:lnTo>
                    <a:pt x="5845" y="19877"/>
                  </a:lnTo>
                  <a:lnTo>
                    <a:pt x="7598" y="18329"/>
                  </a:lnTo>
                  <a:lnTo>
                    <a:pt x="9746" y="17400"/>
                  </a:lnTo>
                  <a:cubicBezTo>
                    <a:pt x="10130" y="18713"/>
                    <a:pt x="10602" y="19744"/>
                    <a:pt x="11128" y="20417"/>
                  </a:cubicBezTo>
                  <a:cubicBezTo>
                    <a:pt x="11927" y="21440"/>
                    <a:pt x="12812" y="21600"/>
                    <a:pt x="13644" y="20872"/>
                  </a:cubicBezTo>
                  <a:cubicBezTo>
                    <a:pt x="14104" y="19420"/>
                    <a:pt x="14627" y="18174"/>
                    <a:pt x="15196" y="17168"/>
                  </a:cubicBezTo>
                  <a:cubicBezTo>
                    <a:pt x="15866" y="15984"/>
                    <a:pt x="16591" y="15148"/>
                    <a:pt x="17341" y="14614"/>
                  </a:cubicBezTo>
                  <a:cubicBezTo>
                    <a:pt x="18005" y="14141"/>
                    <a:pt x="18684" y="13907"/>
                    <a:pt x="19365" y="13918"/>
                  </a:cubicBezTo>
                  <a:lnTo>
                    <a:pt x="20717" y="13841"/>
                  </a:lnTo>
                  <a:lnTo>
                    <a:pt x="21600" y="12215"/>
                  </a:lnTo>
                  <a:lnTo>
                    <a:pt x="21378" y="8984"/>
                  </a:lnTo>
                  <a:lnTo>
                    <a:pt x="19406" y="7282"/>
                  </a:lnTo>
                  <a:lnTo>
                    <a:pt x="18248" y="4350"/>
                  </a:lnTo>
                  <a:lnTo>
                    <a:pt x="15434" y="1333"/>
                  </a:lnTo>
                  <a:lnTo>
                    <a:pt x="12671" y="459"/>
                  </a:lnTo>
                  <a:lnTo>
                    <a:pt x="10801" y="0"/>
                  </a:lnTo>
                  <a:lnTo>
                    <a:pt x="9496" y="697"/>
                  </a:lnTo>
                  <a:lnTo>
                    <a:pt x="8080" y="234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33" name="iSḷîdé">
              <a:extLst>
                <a:ext uri="{FF2B5EF4-FFF2-40B4-BE49-F238E27FC236}">
                  <a16:creationId xmlns:a16="http://schemas.microsoft.com/office/drawing/2014/main" id="{36F87688-D685-4940-9DBB-A7687C4B5535}"/>
                </a:ext>
              </a:extLst>
            </p:cNvPr>
            <p:cNvSpPr/>
            <p:nvPr/>
          </p:nvSpPr>
          <p:spPr>
            <a:xfrm>
              <a:off x="2895033" y="3401778"/>
              <a:ext cx="72795" cy="30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960" y="778"/>
                  </a:moveTo>
                  <a:lnTo>
                    <a:pt x="5952" y="0"/>
                  </a:lnTo>
                  <a:lnTo>
                    <a:pt x="0" y="4529"/>
                  </a:lnTo>
                  <a:lnTo>
                    <a:pt x="4023" y="14144"/>
                  </a:lnTo>
                  <a:lnTo>
                    <a:pt x="9924" y="18396"/>
                  </a:lnTo>
                  <a:lnTo>
                    <a:pt x="16715" y="21600"/>
                  </a:lnTo>
                  <a:lnTo>
                    <a:pt x="21157" y="18240"/>
                  </a:lnTo>
                  <a:lnTo>
                    <a:pt x="21600" y="11139"/>
                  </a:lnTo>
                  <a:lnTo>
                    <a:pt x="17129" y="5862"/>
                  </a:lnTo>
                  <a:lnTo>
                    <a:pt x="14054" y="2835"/>
                  </a:lnTo>
                  <a:lnTo>
                    <a:pt x="9960" y="77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34" name="îşḻidé">
              <a:extLst>
                <a:ext uri="{FF2B5EF4-FFF2-40B4-BE49-F238E27FC236}">
                  <a16:creationId xmlns:a16="http://schemas.microsoft.com/office/drawing/2014/main" id="{EF7CD58A-4A21-4488-96DC-824B6FCD2EB2}"/>
                </a:ext>
              </a:extLst>
            </p:cNvPr>
            <p:cNvSpPr/>
            <p:nvPr/>
          </p:nvSpPr>
          <p:spPr>
            <a:xfrm>
              <a:off x="3271035" y="3400703"/>
              <a:ext cx="56091" cy="294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717" y="0"/>
                  </a:moveTo>
                  <a:lnTo>
                    <a:pt x="6904" y="785"/>
                  </a:lnTo>
                  <a:lnTo>
                    <a:pt x="2619" y="2158"/>
                  </a:lnTo>
                  <a:lnTo>
                    <a:pt x="0" y="9325"/>
                  </a:lnTo>
                  <a:lnTo>
                    <a:pt x="1145" y="14597"/>
                  </a:lnTo>
                  <a:cubicBezTo>
                    <a:pt x="2957" y="16107"/>
                    <a:pt x="4818" y="17397"/>
                    <a:pt x="6717" y="18458"/>
                  </a:cubicBezTo>
                  <a:cubicBezTo>
                    <a:pt x="9466" y="19994"/>
                    <a:pt x="12285" y="21046"/>
                    <a:pt x="15138" y="21600"/>
                  </a:cubicBezTo>
                  <a:lnTo>
                    <a:pt x="21600" y="11985"/>
                  </a:lnTo>
                  <a:lnTo>
                    <a:pt x="18686" y="4286"/>
                  </a:lnTo>
                  <a:lnTo>
                    <a:pt x="1271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35" name="ïṧḻiḑè">
              <a:extLst>
                <a:ext uri="{FF2B5EF4-FFF2-40B4-BE49-F238E27FC236}">
                  <a16:creationId xmlns:a16="http://schemas.microsoft.com/office/drawing/2014/main" id="{B4A85D52-05D2-407F-A253-5BAF647207AC}"/>
                </a:ext>
              </a:extLst>
            </p:cNvPr>
            <p:cNvSpPr/>
            <p:nvPr/>
          </p:nvSpPr>
          <p:spPr>
            <a:xfrm>
              <a:off x="3099915" y="3243765"/>
              <a:ext cx="48677" cy="296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591" y="2096"/>
                  </a:moveTo>
                  <a:lnTo>
                    <a:pt x="5726" y="2074"/>
                  </a:lnTo>
                  <a:lnTo>
                    <a:pt x="0" y="12257"/>
                  </a:lnTo>
                  <a:lnTo>
                    <a:pt x="3941" y="21600"/>
                  </a:lnTo>
                  <a:lnTo>
                    <a:pt x="9231" y="16101"/>
                  </a:lnTo>
                  <a:lnTo>
                    <a:pt x="15549" y="13362"/>
                  </a:lnTo>
                  <a:lnTo>
                    <a:pt x="21600" y="7815"/>
                  </a:lnTo>
                  <a:lnTo>
                    <a:pt x="20020" y="727"/>
                  </a:lnTo>
                  <a:lnTo>
                    <a:pt x="15874" y="0"/>
                  </a:lnTo>
                  <a:lnTo>
                    <a:pt x="10591" y="209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36" name="ïṥḷïḍe">
              <a:extLst>
                <a:ext uri="{FF2B5EF4-FFF2-40B4-BE49-F238E27FC236}">
                  <a16:creationId xmlns:a16="http://schemas.microsoft.com/office/drawing/2014/main" id="{E4980293-2703-49A4-918F-5E4A6448232F}"/>
                </a:ext>
              </a:extLst>
            </p:cNvPr>
            <p:cNvSpPr/>
            <p:nvPr/>
          </p:nvSpPr>
          <p:spPr>
            <a:xfrm>
              <a:off x="3040202" y="3273501"/>
              <a:ext cx="39982" cy="191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68" y="0"/>
                  </a:moveTo>
                  <a:lnTo>
                    <a:pt x="6280" y="4263"/>
                  </a:lnTo>
                  <a:lnTo>
                    <a:pt x="0" y="14496"/>
                  </a:lnTo>
                  <a:lnTo>
                    <a:pt x="4170" y="17941"/>
                  </a:lnTo>
                  <a:lnTo>
                    <a:pt x="13786" y="19078"/>
                  </a:lnTo>
                  <a:lnTo>
                    <a:pt x="21583" y="21600"/>
                  </a:lnTo>
                  <a:lnTo>
                    <a:pt x="21600" y="6005"/>
                  </a:lnTo>
                  <a:lnTo>
                    <a:pt x="1326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37" name="iṣľïde">
              <a:extLst>
                <a:ext uri="{FF2B5EF4-FFF2-40B4-BE49-F238E27FC236}">
                  <a16:creationId xmlns:a16="http://schemas.microsoft.com/office/drawing/2014/main" id="{FFF4DC91-8DB7-47E5-A850-1DCAD76C5773}"/>
                </a:ext>
              </a:extLst>
            </p:cNvPr>
            <p:cNvSpPr/>
            <p:nvPr/>
          </p:nvSpPr>
          <p:spPr>
            <a:xfrm>
              <a:off x="2935381" y="3141153"/>
              <a:ext cx="28333" cy="5267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66" y="0"/>
                  </a:moveTo>
                  <a:lnTo>
                    <a:pt x="15" y="2162"/>
                  </a:lnTo>
                  <a:lnTo>
                    <a:pt x="9987" y="9811"/>
                  </a:lnTo>
                  <a:lnTo>
                    <a:pt x="0" y="12733"/>
                  </a:lnTo>
                  <a:lnTo>
                    <a:pt x="12126" y="20150"/>
                  </a:lnTo>
                  <a:lnTo>
                    <a:pt x="19276" y="21600"/>
                  </a:lnTo>
                  <a:lnTo>
                    <a:pt x="21600" y="16009"/>
                  </a:lnTo>
                  <a:lnTo>
                    <a:pt x="14089" y="12940"/>
                  </a:lnTo>
                  <a:lnTo>
                    <a:pt x="16973" y="9329"/>
                  </a:lnTo>
                  <a:lnTo>
                    <a:pt x="16973" y="1873"/>
                  </a:lnTo>
                  <a:lnTo>
                    <a:pt x="636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38" name="iśľïḍè">
              <a:extLst>
                <a:ext uri="{FF2B5EF4-FFF2-40B4-BE49-F238E27FC236}">
                  <a16:creationId xmlns:a16="http://schemas.microsoft.com/office/drawing/2014/main" id="{3AF6646E-72C1-4717-8118-CC3884B5BF9F}"/>
                </a:ext>
              </a:extLst>
            </p:cNvPr>
            <p:cNvSpPr/>
            <p:nvPr/>
          </p:nvSpPr>
          <p:spPr>
            <a:xfrm>
              <a:off x="2937717" y="3092070"/>
              <a:ext cx="33856" cy="344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39" y="3032"/>
                  </a:moveTo>
                  <a:lnTo>
                    <a:pt x="13971" y="0"/>
                  </a:lnTo>
                  <a:lnTo>
                    <a:pt x="21600" y="3050"/>
                  </a:lnTo>
                  <a:lnTo>
                    <a:pt x="17401" y="7736"/>
                  </a:lnTo>
                  <a:lnTo>
                    <a:pt x="11620" y="11520"/>
                  </a:lnTo>
                  <a:lnTo>
                    <a:pt x="10649" y="17817"/>
                  </a:lnTo>
                  <a:lnTo>
                    <a:pt x="3854" y="21600"/>
                  </a:lnTo>
                  <a:lnTo>
                    <a:pt x="0" y="19243"/>
                  </a:lnTo>
                  <a:lnTo>
                    <a:pt x="2779" y="14669"/>
                  </a:lnTo>
                  <a:lnTo>
                    <a:pt x="6081" y="9182"/>
                  </a:lnTo>
                  <a:lnTo>
                    <a:pt x="2939" y="303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39" name="îSļïdê">
              <a:extLst>
                <a:ext uri="{FF2B5EF4-FFF2-40B4-BE49-F238E27FC236}">
                  <a16:creationId xmlns:a16="http://schemas.microsoft.com/office/drawing/2014/main" id="{A0592B38-B4A2-4E84-83C9-5B12AF4FC165}"/>
                </a:ext>
              </a:extLst>
            </p:cNvPr>
            <p:cNvSpPr/>
            <p:nvPr/>
          </p:nvSpPr>
          <p:spPr>
            <a:xfrm>
              <a:off x="2983567" y="3093648"/>
              <a:ext cx="25228" cy="362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070" y="0"/>
                  </a:moveTo>
                  <a:lnTo>
                    <a:pt x="14242" y="3737"/>
                  </a:lnTo>
                  <a:lnTo>
                    <a:pt x="21600" y="9259"/>
                  </a:lnTo>
                  <a:lnTo>
                    <a:pt x="18987" y="16321"/>
                  </a:lnTo>
                  <a:lnTo>
                    <a:pt x="8344" y="21600"/>
                  </a:lnTo>
                  <a:lnTo>
                    <a:pt x="5690" y="16490"/>
                  </a:lnTo>
                  <a:lnTo>
                    <a:pt x="2563" y="11082"/>
                  </a:lnTo>
                  <a:lnTo>
                    <a:pt x="0" y="2684"/>
                  </a:lnTo>
                  <a:lnTo>
                    <a:pt x="907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40" name="íŝḻïḓê">
              <a:extLst>
                <a:ext uri="{FF2B5EF4-FFF2-40B4-BE49-F238E27FC236}">
                  <a16:creationId xmlns:a16="http://schemas.microsoft.com/office/drawing/2014/main" id="{FDA120B8-7CE2-417E-AE1A-FF235DAA0F78}"/>
                </a:ext>
              </a:extLst>
            </p:cNvPr>
            <p:cNvSpPr/>
            <p:nvPr/>
          </p:nvSpPr>
          <p:spPr>
            <a:xfrm>
              <a:off x="2959952" y="3134535"/>
              <a:ext cx="28911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041" y="0"/>
                  </a:moveTo>
                  <a:lnTo>
                    <a:pt x="13043" y="2762"/>
                  </a:lnTo>
                  <a:lnTo>
                    <a:pt x="21600" y="12283"/>
                  </a:lnTo>
                  <a:lnTo>
                    <a:pt x="16470" y="21600"/>
                  </a:lnTo>
                  <a:lnTo>
                    <a:pt x="5285" y="18232"/>
                  </a:lnTo>
                  <a:lnTo>
                    <a:pt x="0" y="10410"/>
                  </a:lnTo>
                  <a:lnTo>
                    <a:pt x="6041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41" name="ï$lîḓe">
              <a:extLst>
                <a:ext uri="{FF2B5EF4-FFF2-40B4-BE49-F238E27FC236}">
                  <a16:creationId xmlns:a16="http://schemas.microsoft.com/office/drawing/2014/main" id="{10BC79B5-4A08-4699-AEB0-D295070F6AB5}"/>
                </a:ext>
              </a:extLst>
            </p:cNvPr>
            <p:cNvSpPr/>
            <p:nvPr/>
          </p:nvSpPr>
          <p:spPr>
            <a:xfrm>
              <a:off x="3029817" y="3184357"/>
              <a:ext cx="16360" cy="248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04" y="0"/>
                  </a:moveTo>
                  <a:lnTo>
                    <a:pt x="0" y="5659"/>
                  </a:lnTo>
                  <a:lnTo>
                    <a:pt x="2963" y="18412"/>
                  </a:lnTo>
                  <a:lnTo>
                    <a:pt x="21600" y="21600"/>
                  </a:lnTo>
                  <a:lnTo>
                    <a:pt x="21600" y="6494"/>
                  </a:lnTo>
                  <a:lnTo>
                    <a:pt x="1170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42" name="ísļîḍé">
              <a:extLst>
                <a:ext uri="{FF2B5EF4-FFF2-40B4-BE49-F238E27FC236}">
                  <a16:creationId xmlns:a16="http://schemas.microsoft.com/office/drawing/2014/main" id="{3EF3D12F-CA87-4190-A1A8-210A9EF0F1B8}"/>
                </a:ext>
              </a:extLst>
            </p:cNvPr>
            <p:cNvSpPr/>
            <p:nvPr/>
          </p:nvSpPr>
          <p:spPr>
            <a:xfrm>
              <a:off x="3034154" y="3223970"/>
              <a:ext cx="25012" cy="163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341" y="1756"/>
                  </a:moveTo>
                  <a:lnTo>
                    <a:pt x="5869" y="0"/>
                  </a:lnTo>
                  <a:lnTo>
                    <a:pt x="0" y="5101"/>
                  </a:lnTo>
                  <a:lnTo>
                    <a:pt x="11023" y="21600"/>
                  </a:lnTo>
                  <a:lnTo>
                    <a:pt x="21600" y="19642"/>
                  </a:lnTo>
                  <a:lnTo>
                    <a:pt x="17341" y="175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43" name="iṣḻïďê">
              <a:extLst>
                <a:ext uri="{FF2B5EF4-FFF2-40B4-BE49-F238E27FC236}">
                  <a16:creationId xmlns:a16="http://schemas.microsoft.com/office/drawing/2014/main" id="{322D0EDC-53B4-4826-BB1D-6D1E4C71AAF0}"/>
                </a:ext>
              </a:extLst>
            </p:cNvPr>
            <p:cNvSpPr/>
            <p:nvPr/>
          </p:nvSpPr>
          <p:spPr>
            <a:xfrm>
              <a:off x="2785378" y="3359199"/>
              <a:ext cx="31691" cy="211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640" y="1640"/>
                  </a:moveTo>
                  <a:lnTo>
                    <a:pt x="0" y="7796"/>
                  </a:lnTo>
                  <a:lnTo>
                    <a:pt x="2602" y="18763"/>
                  </a:lnTo>
                  <a:lnTo>
                    <a:pt x="14365" y="21600"/>
                  </a:lnTo>
                  <a:lnTo>
                    <a:pt x="21600" y="10799"/>
                  </a:lnTo>
                  <a:lnTo>
                    <a:pt x="12284" y="0"/>
                  </a:lnTo>
                  <a:lnTo>
                    <a:pt x="3640" y="164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44" name="išľîḑè">
              <a:extLst>
                <a:ext uri="{FF2B5EF4-FFF2-40B4-BE49-F238E27FC236}">
                  <a16:creationId xmlns:a16="http://schemas.microsoft.com/office/drawing/2014/main" id="{485D0B75-485F-4FE1-B498-9431CF5154ED}"/>
                </a:ext>
              </a:extLst>
            </p:cNvPr>
            <p:cNvSpPr/>
            <p:nvPr/>
          </p:nvSpPr>
          <p:spPr>
            <a:xfrm>
              <a:off x="3344267" y="3394292"/>
              <a:ext cx="33620" cy="203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908" y="0"/>
                  </a:moveTo>
                  <a:lnTo>
                    <a:pt x="4923" y="5629"/>
                  </a:lnTo>
                  <a:lnTo>
                    <a:pt x="0" y="15233"/>
                  </a:lnTo>
                  <a:lnTo>
                    <a:pt x="11838" y="21600"/>
                  </a:lnTo>
                  <a:lnTo>
                    <a:pt x="21600" y="13561"/>
                  </a:lnTo>
                  <a:lnTo>
                    <a:pt x="1390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45" name="ïsľïḑé">
              <a:extLst>
                <a:ext uri="{FF2B5EF4-FFF2-40B4-BE49-F238E27FC236}">
                  <a16:creationId xmlns:a16="http://schemas.microsoft.com/office/drawing/2014/main" id="{9A2D3694-FF89-4722-9265-F2C221598F9C}"/>
                </a:ext>
              </a:extLst>
            </p:cNvPr>
            <p:cNvSpPr/>
            <p:nvPr/>
          </p:nvSpPr>
          <p:spPr>
            <a:xfrm>
              <a:off x="3331641" y="3425859"/>
              <a:ext cx="28455" cy="190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631" y="0"/>
                  </a:moveTo>
                  <a:lnTo>
                    <a:pt x="0" y="4044"/>
                  </a:lnTo>
                  <a:lnTo>
                    <a:pt x="1813" y="14722"/>
                  </a:lnTo>
                  <a:lnTo>
                    <a:pt x="18125" y="21600"/>
                  </a:lnTo>
                  <a:lnTo>
                    <a:pt x="21600" y="6160"/>
                  </a:lnTo>
                  <a:lnTo>
                    <a:pt x="9631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46" name="iṡḻîďê">
              <a:extLst>
                <a:ext uri="{FF2B5EF4-FFF2-40B4-BE49-F238E27FC236}">
                  <a16:creationId xmlns:a16="http://schemas.microsoft.com/office/drawing/2014/main" id="{237F7788-A507-4088-B050-92FFF3DB7BF7}"/>
                </a:ext>
              </a:extLst>
            </p:cNvPr>
            <p:cNvSpPr/>
            <p:nvPr/>
          </p:nvSpPr>
          <p:spPr>
            <a:xfrm>
              <a:off x="3393321" y="3447981"/>
              <a:ext cx="35832" cy="22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523" y="6376"/>
                  </a:moveTo>
                  <a:lnTo>
                    <a:pt x="4204" y="0"/>
                  </a:lnTo>
                  <a:lnTo>
                    <a:pt x="0" y="8047"/>
                  </a:lnTo>
                  <a:lnTo>
                    <a:pt x="10142" y="21600"/>
                  </a:lnTo>
                  <a:lnTo>
                    <a:pt x="18861" y="21123"/>
                  </a:lnTo>
                  <a:lnTo>
                    <a:pt x="21600" y="13528"/>
                  </a:lnTo>
                  <a:lnTo>
                    <a:pt x="16408" y="10012"/>
                  </a:lnTo>
                  <a:lnTo>
                    <a:pt x="11523" y="637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47" name="ïṥľíḑe">
              <a:extLst>
                <a:ext uri="{FF2B5EF4-FFF2-40B4-BE49-F238E27FC236}">
                  <a16:creationId xmlns:a16="http://schemas.microsoft.com/office/drawing/2014/main" id="{D1050C10-E35F-4D56-86C6-73A1E336BC7D}"/>
                </a:ext>
              </a:extLst>
            </p:cNvPr>
            <p:cNvSpPr/>
            <p:nvPr/>
          </p:nvSpPr>
          <p:spPr>
            <a:xfrm>
              <a:off x="3434240" y="3430336"/>
              <a:ext cx="22284" cy="23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626" y="0"/>
                  </a:moveTo>
                  <a:lnTo>
                    <a:pt x="20027" y="3450"/>
                  </a:lnTo>
                  <a:lnTo>
                    <a:pt x="21600" y="15366"/>
                  </a:lnTo>
                  <a:lnTo>
                    <a:pt x="15221" y="21600"/>
                  </a:lnTo>
                  <a:lnTo>
                    <a:pt x="10567" y="15424"/>
                  </a:lnTo>
                  <a:lnTo>
                    <a:pt x="0" y="9425"/>
                  </a:lnTo>
                  <a:lnTo>
                    <a:pt x="662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48" name="îSḷïḑè">
              <a:extLst>
                <a:ext uri="{FF2B5EF4-FFF2-40B4-BE49-F238E27FC236}">
                  <a16:creationId xmlns:a16="http://schemas.microsoft.com/office/drawing/2014/main" id="{E51BDE7D-C434-421B-B257-7C0DD56B8040}"/>
                </a:ext>
              </a:extLst>
            </p:cNvPr>
            <p:cNvSpPr/>
            <p:nvPr/>
          </p:nvSpPr>
          <p:spPr>
            <a:xfrm>
              <a:off x="3386807" y="3401248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4009"/>
                  </a:lnTo>
                  <a:lnTo>
                    <a:pt x="4094" y="21600"/>
                  </a:lnTo>
                  <a:lnTo>
                    <a:pt x="19333" y="19457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49" name="iṣḷiḑê">
              <a:extLst>
                <a:ext uri="{FF2B5EF4-FFF2-40B4-BE49-F238E27FC236}">
                  <a16:creationId xmlns:a16="http://schemas.microsoft.com/office/drawing/2014/main" id="{A322107B-28FD-456E-BC14-A5080DD59755}"/>
                </a:ext>
              </a:extLst>
            </p:cNvPr>
            <p:cNvSpPr/>
            <p:nvPr/>
          </p:nvSpPr>
          <p:spPr>
            <a:xfrm>
              <a:off x="3471329" y="3432447"/>
              <a:ext cx="25215" cy="238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658" y="0"/>
                  </a:moveTo>
                  <a:lnTo>
                    <a:pt x="0" y="6332"/>
                  </a:lnTo>
                  <a:lnTo>
                    <a:pt x="2862" y="20225"/>
                  </a:lnTo>
                  <a:lnTo>
                    <a:pt x="16398" y="21600"/>
                  </a:lnTo>
                  <a:lnTo>
                    <a:pt x="21600" y="13406"/>
                  </a:lnTo>
                  <a:lnTo>
                    <a:pt x="12259" y="9052"/>
                  </a:lnTo>
                  <a:lnTo>
                    <a:pt x="465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50" name="îṡḷîḓé">
              <a:extLst>
                <a:ext uri="{FF2B5EF4-FFF2-40B4-BE49-F238E27FC236}">
                  <a16:creationId xmlns:a16="http://schemas.microsoft.com/office/drawing/2014/main" id="{15F08879-FB1D-4C34-BBAE-F73C3EFC2A7A}"/>
                </a:ext>
              </a:extLst>
            </p:cNvPr>
            <p:cNvSpPr/>
            <p:nvPr/>
          </p:nvSpPr>
          <p:spPr>
            <a:xfrm>
              <a:off x="3444546" y="3470941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399" y="0"/>
                  </a:moveTo>
                  <a:lnTo>
                    <a:pt x="0" y="5671"/>
                  </a:lnTo>
                  <a:lnTo>
                    <a:pt x="2675" y="21600"/>
                  </a:lnTo>
                  <a:lnTo>
                    <a:pt x="21600" y="16063"/>
                  </a:lnTo>
                  <a:lnTo>
                    <a:pt x="1239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51" name="îṣļïḍê">
              <a:extLst>
                <a:ext uri="{FF2B5EF4-FFF2-40B4-BE49-F238E27FC236}">
                  <a16:creationId xmlns:a16="http://schemas.microsoft.com/office/drawing/2014/main" id="{31C598ED-538A-46B7-BA62-A7E343CE52F8}"/>
                </a:ext>
              </a:extLst>
            </p:cNvPr>
            <p:cNvSpPr/>
            <p:nvPr/>
          </p:nvSpPr>
          <p:spPr>
            <a:xfrm>
              <a:off x="3474836" y="3472701"/>
              <a:ext cx="20827" cy="336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91" y="1945"/>
                  </a:moveTo>
                  <a:lnTo>
                    <a:pt x="1244" y="7766"/>
                  </a:lnTo>
                  <a:lnTo>
                    <a:pt x="0" y="16103"/>
                  </a:lnTo>
                  <a:lnTo>
                    <a:pt x="7919" y="21600"/>
                  </a:lnTo>
                  <a:lnTo>
                    <a:pt x="15566" y="13365"/>
                  </a:lnTo>
                  <a:lnTo>
                    <a:pt x="21600" y="6755"/>
                  </a:lnTo>
                  <a:lnTo>
                    <a:pt x="18962" y="0"/>
                  </a:lnTo>
                  <a:lnTo>
                    <a:pt x="5991" y="194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52" name="îŝḷiďè">
              <a:extLst>
                <a:ext uri="{FF2B5EF4-FFF2-40B4-BE49-F238E27FC236}">
                  <a16:creationId xmlns:a16="http://schemas.microsoft.com/office/drawing/2014/main" id="{CAA0B831-94E8-4AA9-A51A-D0EEF7A60623}"/>
                </a:ext>
              </a:extLst>
            </p:cNvPr>
            <p:cNvSpPr/>
            <p:nvPr/>
          </p:nvSpPr>
          <p:spPr>
            <a:xfrm>
              <a:off x="3486460" y="3511833"/>
              <a:ext cx="18556" cy="174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469" y="0"/>
                  </a:moveTo>
                  <a:lnTo>
                    <a:pt x="4293" y="1913"/>
                  </a:lnTo>
                  <a:lnTo>
                    <a:pt x="0" y="13206"/>
                  </a:lnTo>
                  <a:lnTo>
                    <a:pt x="8574" y="21600"/>
                  </a:lnTo>
                  <a:lnTo>
                    <a:pt x="21600" y="15041"/>
                  </a:lnTo>
                  <a:lnTo>
                    <a:pt x="1446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53" name="íṧľiďé">
              <a:extLst>
                <a:ext uri="{FF2B5EF4-FFF2-40B4-BE49-F238E27FC236}">
                  <a16:creationId xmlns:a16="http://schemas.microsoft.com/office/drawing/2014/main" id="{9A966074-C5D1-4227-A845-ADC3D38EC0B4}"/>
                </a:ext>
              </a:extLst>
            </p:cNvPr>
            <p:cNvSpPr/>
            <p:nvPr/>
          </p:nvSpPr>
          <p:spPr>
            <a:xfrm>
              <a:off x="3201743" y="3611230"/>
              <a:ext cx="24821" cy="343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48" y="0"/>
                  </a:moveTo>
                  <a:lnTo>
                    <a:pt x="0" y="7133"/>
                  </a:lnTo>
                  <a:lnTo>
                    <a:pt x="2568" y="12598"/>
                  </a:lnTo>
                  <a:lnTo>
                    <a:pt x="10534" y="21600"/>
                  </a:lnTo>
                  <a:lnTo>
                    <a:pt x="21600" y="16991"/>
                  </a:lnTo>
                  <a:lnTo>
                    <a:pt x="13411" y="4789"/>
                  </a:lnTo>
                  <a:lnTo>
                    <a:pt x="594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54" name="ïšļiḑê">
              <a:extLst>
                <a:ext uri="{FF2B5EF4-FFF2-40B4-BE49-F238E27FC236}">
                  <a16:creationId xmlns:a16="http://schemas.microsoft.com/office/drawing/2014/main" id="{9B5587EF-B59C-445C-BC1E-D90A18453688}"/>
                </a:ext>
              </a:extLst>
            </p:cNvPr>
            <p:cNvSpPr/>
            <p:nvPr/>
          </p:nvSpPr>
          <p:spPr>
            <a:xfrm>
              <a:off x="3163762" y="3609243"/>
              <a:ext cx="17550" cy="295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385" y="0"/>
                  </a:moveTo>
                  <a:lnTo>
                    <a:pt x="0" y="5129"/>
                  </a:lnTo>
                  <a:lnTo>
                    <a:pt x="434" y="19428"/>
                  </a:lnTo>
                  <a:lnTo>
                    <a:pt x="19135" y="21600"/>
                  </a:lnTo>
                  <a:lnTo>
                    <a:pt x="21600" y="14762"/>
                  </a:lnTo>
                  <a:lnTo>
                    <a:pt x="16043" y="5916"/>
                  </a:lnTo>
                  <a:lnTo>
                    <a:pt x="238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55" name="ïsḷiďé">
              <a:extLst>
                <a:ext uri="{FF2B5EF4-FFF2-40B4-BE49-F238E27FC236}">
                  <a16:creationId xmlns:a16="http://schemas.microsoft.com/office/drawing/2014/main" id="{1E1C3DC2-2230-4FBE-B66F-0C57390024B0}"/>
                </a:ext>
              </a:extLst>
            </p:cNvPr>
            <p:cNvSpPr/>
            <p:nvPr/>
          </p:nvSpPr>
          <p:spPr>
            <a:xfrm>
              <a:off x="3499270" y="3543405"/>
              <a:ext cx="20061" cy="1868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114" y="0"/>
                  </a:moveTo>
                  <a:lnTo>
                    <a:pt x="0" y="7264"/>
                  </a:lnTo>
                  <a:lnTo>
                    <a:pt x="3469" y="21600"/>
                  </a:lnTo>
                  <a:lnTo>
                    <a:pt x="16705" y="21600"/>
                  </a:lnTo>
                  <a:lnTo>
                    <a:pt x="21600" y="6746"/>
                  </a:lnTo>
                  <a:lnTo>
                    <a:pt x="811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56" name="isḷïďê">
              <a:extLst>
                <a:ext uri="{FF2B5EF4-FFF2-40B4-BE49-F238E27FC236}">
                  <a16:creationId xmlns:a16="http://schemas.microsoft.com/office/drawing/2014/main" id="{F6A64679-9588-45AB-B298-BFB3C624CDC7}"/>
                </a:ext>
              </a:extLst>
            </p:cNvPr>
            <p:cNvSpPr/>
            <p:nvPr/>
          </p:nvSpPr>
          <p:spPr>
            <a:xfrm>
              <a:off x="3477190" y="3573359"/>
              <a:ext cx="16360" cy="236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562" y="0"/>
                  </a:moveTo>
                  <a:lnTo>
                    <a:pt x="0" y="10629"/>
                  </a:lnTo>
                  <a:lnTo>
                    <a:pt x="15829" y="21600"/>
                  </a:lnTo>
                  <a:lnTo>
                    <a:pt x="21600" y="10397"/>
                  </a:lnTo>
                  <a:lnTo>
                    <a:pt x="756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57" name="îṧļîḍê">
              <a:extLst>
                <a:ext uri="{FF2B5EF4-FFF2-40B4-BE49-F238E27FC236}">
                  <a16:creationId xmlns:a16="http://schemas.microsoft.com/office/drawing/2014/main" id="{5A5F1C22-CA3D-4A7B-9127-007A7985BB0D}"/>
                </a:ext>
              </a:extLst>
            </p:cNvPr>
            <p:cNvSpPr/>
            <p:nvPr/>
          </p:nvSpPr>
          <p:spPr>
            <a:xfrm>
              <a:off x="3463227" y="3603633"/>
              <a:ext cx="16360" cy="183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327" y="736"/>
                  </a:moveTo>
                  <a:lnTo>
                    <a:pt x="0" y="9568"/>
                  </a:lnTo>
                  <a:lnTo>
                    <a:pt x="5961" y="21600"/>
                  </a:lnTo>
                  <a:lnTo>
                    <a:pt x="20526" y="21266"/>
                  </a:lnTo>
                  <a:lnTo>
                    <a:pt x="21600" y="0"/>
                  </a:lnTo>
                  <a:lnTo>
                    <a:pt x="5327" y="73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58" name="îsḷíḓê">
              <a:extLst>
                <a:ext uri="{FF2B5EF4-FFF2-40B4-BE49-F238E27FC236}">
                  <a16:creationId xmlns:a16="http://schemas.microsoft.com/office/drawing/2014/main" id="{B8C14BCC-585A-43F6-B75B-50F6CAC2D37E}"/>
                </a:ext>
              </a:extLst>
            </p:cNvPr>
            <p:cNvSpPr/>
            <p:nvPr/>
          </p:nvSpPr>
          <p:spPr>
            <a:xfrm>
              <a:off x="3443086" y="3638761"/>
              <a:ext cx="16360" cy="220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127" y="0"/>
                  </a:moveTo>
                  <a:lnTo>
                    <a:pt x="0" y="9654"/>
                  </a:lnTo>
                  <a:lnTo>
                    <a:pt x="3308" y="20145"/>
                  </a:lnTo>
                  <a:lnTo>
                    <a:pt x="16235" y="21600"/>
                  </a:lnTo>
                  <a:lnTo>
                    <a:pt x="21600" y="6811"/>
                  </a:lnTo>
                  <a:lnTo>
                    <a:pt x="1112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59" name="íṡļiďê">
              <a:extLst>
                <a:ext uri="{FF2B5EF4-FFF2-40B4-BE49-F238E27FC236}">
                  <a16:creationId xmlns:a16="http://schemas.microsoft.com/office/drawing/2014/main" id="{AB629BFF-6B0E-4BC3-80C8-EE4CAD19EEFC}"/>
                </a:ext>
              </a:extLst>
            </p:cNvPr>
            <p:cNvSpPr/>
            <p:nvPr/>
          </p:nvSpPr>
          <p:spPr>
            <a:xfrm>
              <a:off x="3429659" y="3689387"/>
              <a:ext cx="39165" cy="385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904" y="867"/>
                  </a:moveTo>
                  <a:lnTo>
                    <a:pt x="8331" y="0"/>
                  </a:lnTo>
                  <a:lnTo>
                    <a:pt x="2816" y="2733"/>
                  </a:lnTo>
                  <a:lnTo>
                    <a:pt x="6666" y="6397"/>
                  </a:lnTo>
                  <a:lnTo>
                    <a:pt x="2928" y="11440"/>
                  </a:lnTo>
                  <a:lnTo>
                    <a:pt x="0" y="16520"/>
                  </a:lnTo>
                  <a:lnTo>
                    <a:pt x="4665" y="21600"/>
                  </a:lnTo>
                  <a:lnTo>
                    <a:pt x="15744" y="21600"/>
                  </a:lnTo>
                  <a:lnTo>
                    <a:pt x="16989" y="14679"/>
                  </a:lnTo>
                  <a:lnTo>
                    <a:pt x="17830" y="9194"/>
                  </a:lnTo>
                  <a:lnTo>
                    <a:pt x="21600" y="3831"/>
                  </a:lnTo>
                  <a:lnTo>
                    <a:pt x="19513" y="592"/>
                  </a:lnTo>
                  <a:lnTo>
                    <a:pt x="14904" y="867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60" name="iṡḻîďè">
              <a:extLst>
                <a:ext uri="{FF2B5EF4-FFF2-40B4-BE49-F238E27FC236}">
                  <a16:creationId xmlns:a16="http://schemas.microsoft.com/office/drawing/2014/main" id="{8C934D7F-C37C-495A-8334-1AA3B2E68E7F}"/>
                </a:ext>
              </a:extLst>
            </p:cNvPr>
            <p:cNvSpPr/>
            <p:nvPr/>
          </p:nvSpPr>
          <p:spPr>
            <a:xfrm>
              <a:off x="3541688" y="3591732"/>
              <a:ext cx="25710" cy="219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204" y="0"/>
                  </a:moveTo>
                  <a:lnTo>
                    <a:pt x="385" y="10265"/>
                  </a:lnTo>
                  <a:lnTo>
                    <a:pt x="0" y="20853"/>
                  </a:lnTo>
                  <a:lnTo>
                    <a:pt x="13483" y="21600"/>
                  </a:lnTo>
                  <a:lnTo>
                    <a:pt x="21600" y="18646"/>
                  </a:lnTo>
                  <a:lnTo>
                    <a:pt x="9663" y="9934"/>
                  </a:lnTo>
                  <a:lnTo>
                    <a:pt x="620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61" name="íṩḷiďé">
              <a:extLst>
                <a:ext uri="{FF2B5EF4-FFF2-40B4-BE49-F238E27FC236}">
                  <a16:creationId xmlns:a16="http://schemas.microsoft.com/office/drawing/2014/main" id="{8B4B97B6-6D20-4579-8FBE-2360D0EDBBC2}"/>
                </a:ext>
              </a:extLst>
            </p:cNvPr>
            <p:cNvSpPr/>
            <p:nvPr/>
          </p:nvSpPr>
          <p:spPr>
            <a:xfrm>
              <a:off x="3470588" y="3663018"/>
              <a:ext cx="21475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020" y="3205"/>
                  </a:moveTo>
                  <a:lnTo>
                    <a:pt x="7333" y="0"/>
                  </a:lnTo>
                  <a:lnTo>
                    <a:pt x="0" y="8914"/>
                  </a:lnTo>
                  <a:lnTo>
                    <a:pt x="4730" y="21600"/>
                  </a:lnTo>
                  <a:lnTo>
                    <a:pt x="21600" y="21600"/>
                  </a:lnTo>
                  <a:lnTo>
                    <a:pt x="17020" y="320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62" name="îṣḻíḑe">
              <a:extLst>
                <a:ext uri="{FF2B5EF4-FFF2-40B4-BE49-F238E27FC236}">
                  <a16:creationId xmlns:a16="http://schemas.microsoft.com/office/drawing/2014/main" id="{6C993C88-2102-4482-8604-B8C2F5410272}"/>
                </a:ext>
              </a:extLst>
            </p:cNvPr>
            <p:cNvSpPr/>
            <p:nvPr/>
          </p:nvSpPr>
          <p:spPr>
            <a:xfrm>
              <a:off x="1825926" y="2244407"/>
              <a:ext cx="83204" cy="742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117" y="146"/>
                  </a:moveTo>
                  <a:lnTo>
                    <a:pt x="3502" y="1771"/>
                  </a:lnTo>
                  <a:lnTo>
                    <a:pt x="0" y="2955"/>
                  </a:lnTo>
                  <a:lnTo>
                    <a:pt x="708" y="6398"/>
                  </a:lnTo>
                  <a:lnTo>
                    <a:pt x="4312" y="9886"/>
                  </a:lnTo>
                  <a:lnTo>
                    <a:pt x="5691" y="13614"/>
                  </a:lnTo>
                  <a:lnTo>
                    <a:pt x="8851" y="16257"/>
                  </a:lnTo>
                  <a:lnTo>
                    <a:pt x="10889" y="16698"/>
                  </a:lnTo>
                  <a:lnTo>
                    <a:pt x="13588" y="19994"/>
                  </a:lnTo>
                  <a:lnTo>
                    <a:pt x="16096" y="21600"/>
                  </a:lnTo>
                  <a:lnTo>
                    <a:pt x="19232" y="21600"/>
                  </a:lnTo>
                  <a:lnTo>
                    <a:pt x="21394" y="20279"/>
                  </a:lnTo>
                  <a:lnTo>
                    <a:pt x="21600" y="17056"/>
                  </a:lnTo>
                  <a:lnTo>
                    <a:pt x="19554" y="13017"/>
                  </a:lnTo>
                  <a:lnTo>
                    <a:pt x="19158" y="10006"/>
                  </a:lnTo>
                  <a:lnTo>
                    <a:pt x="17375" y="5389"/>
                  </a:lnTo>
                  <a:lnTo>
                    <a:pt x="14075" y="5389"/>
                  </a:lnTo>
                  <a:lnTo>
                    <a:pt x="11979" y="3782"/>
                  </a:lnTo>
                  <a:lnTo>
                    <a:pt x="10857" y="1891"/>
                  </a:lnTo>
                  <a:lnTo>
                    <a:pt x="8909" y="0"/>
                  </a:lnTo>
                  <a:lnTo>
                    <a:pt x="6117" y="14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63" name="ïsļîḍé">
              <a:extLst>
                <a:ext uri="{FF2B5EF4-FFF2-40B4-BE49-F238E27FC236}">
                  <a16:creationId xmlns:a16="http://schemas.microsoft.com/office/drawing/2014/main" id="{6B72B374-A2FD-4719-BBDF-91410F5FF3BF}"/>
                </a:ext>
              </a:extLst>
            </p:cNvPr>
            <p:cNvSpPr/>
            <p:nvPr/>
          </p:nvSpPr>
          <p:spPr>
            <a:xfrm>
              <a:off x="1823323" y="2056804"/>
              <a:ext cx="44228" cy="488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460" y="0"/>
                  </a:moveTo>
                  <a:lnTo>
                    <a:pt x="9924" y="1900"/>
                  </a:lnTo>
                  <a:lnTo>
                    <a:pt x="4018" y="6719"/>
                  </a:lnTo>
                  <a:lnTo>
                    <a:pt x="0" y="11386"/>
                  </a:lnTo>
                  <a:lnTo>
                    <a:pt x="7069" y="14725"/>
                  </a:lnTo>
                  <a:lnTo>
                    <a:pt x="9537" y="18288"/>
                  </a:lnTo>
                  <a:lnTo>
                    <a:pt x="13341" y="21600"/>
                  </a:lnTo>
                  <a:lnTo>
                    <a:pt x="16742" y="19182"/>
                  </a:lnTo>
                  <a:lnTo>
                    <a:pt x="14522" y="13942"/>
                  </a:lnTo>
                  <a:lnTo>
                    <a:pt x="18621" y="10604"/>
                  </a:lnTo>
                  <a:lnTo>
                    <a:pt x="21600" y="4903"/>
                  </a:lnTo>
                  <a:lnTo>
                    <a:pt x="1646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64" name="iṣľïḓé">
              <a:extLst>
                <a:ext uri="{FF2B5EF4-FFF2-40B4-BE49-F238E27FC236}">
                  <a16:creationId xmlns:a16="http://schemas.microsoft.com/office/drawing/2014/main" id="{E2AAC76B-B5B1-4D57-A3EF-93F89D7219E3}"/>
                </a:ext>
              </a:extLst>
            </p:cNvPr>
            <p:cNvSpPr/>
            <p:nvPr/>
          </p:nvSpPr>
          <p:spPr>
            <a:xfrm>
              <a:off x="1819244" y="2000935"/>
              <a:ext cx="28061" cy="423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00" y="0"/>
                  </a:moveTo>
                  <a:lnTo>
                    <a:pt x="5701" y="4155"/>
                  </a:lnTo>
                  <a:lnTo>
                    <a:pt x="0" y="9292"/>
                  </a:lnTo>
                  <a:lnTo>
                    <a:pt x="3627" y="15800"/>
                  </a:lnTo>
                  <a:lnTo>
                    <a:pt x="11688" y="21600"/>
                  </a:lnTo>
                  <a:lnTo>
                    <a:pt x="13818" y="14011"/>
                  </a:lnTo>
                  <a:lnTo>
                    <a:pt x="14405" y="8116"/>
                  </a:lnTo>
                  <a:lnTo>
                    <a:pt x="21600" y="3749"/>
                  </a:lnTo>
                  <a:lnTo>
                    <a:pt x="159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65" name="ïSlïḑè">
              <a:extLst>
                <a:ext uri="{FF2B5EF4-FFF2-40B4-BE49-F238E27FC236}">
                  <a16:creationId xmlns:a16="http://schemas.microsoft.com/office/drawing/2014/main" id="{D48A1463-9C01-47A0-A041-F9A2188B18D0}"/>
                </a:ext>
              </a:extLst>
            </p:cNvPr>
            <p:cNvSpPr/>
            <p:nvPr/>
          </p:nvSpPr>
          <p:spPr>
            <a:xfrm>
              <a:off x="1856174" y="2020886"/>
              <a:ext cx="16360" cy="1856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929" y="0"/>
                  </a:moveTo>
                  <a:lnTo>
                    <a:pt x="0" y="10904"/>
                  </a:lnTo>
                  <a:lnTo>
                    <a:pt x="10299" y="21600"/>
                  </a:lnTo>
                  <a:lnTo>
                    <a:pt x="21600" y="13776"/>
                  </a:lnTo>
                  <a:lnTo>
                    <a:pt x="19395" y="5259"/>
                  </a:lnTo>
                  <a:lnTo>
                    <a:pt x="692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66" name="ïšḷíḍê">
              <a:extLst>
                <a:ext uri="{FF2B5EF4-FFF2-40B4-BE49-F238E27FC236}">
                  <a16:creationId xmlns:a16="http://schemas.microsoft.com/office/drawing/2014/main" id="{1D140F43-044D-4D17-BD0D-3A68A805F7E3}"/>
                </a:ext>
              </a:extLst>
            </p:cNvPr>
            <p:cNvSpPr/>
            <p:nvPr/>
          </p:nvSpPr>
          <p:spPr>
            <a:xfrm>
              <a:off x="1296107" y="1987859"/>
              <a:ext cx="91303" cy="42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537" y="2831"/>
                  </a:moveTo>
                  <a:lnTo>
                    <a:pt x="10161" y="8024"/>
                  </a:lnTo>
                  <a:lnTo>
                    <a:pt x="5271" y="9340"/>
                  </a:lnTo>
                  <a:lnTo>
                    <a:pt x="1171" y="14295"/>
                  </a:lnTo>
                  <a:lnTo>
                    <a:pt x="0" y="19330"/>
                  </a:lnTo>
                  <a:lnTo>
                    <a:pt x="3343" y="21600"/>
                  </a:lnTo>
                  <a:lnTo>
                    <a:pt x="5268" y="16011"/>
                  </a:lnTo>
                  <a:lnTo>
                    <a:pt x="8817" y="15249"/>
                  </a:lnTo>
                  <a:lnTo>
                    <a:pt x="11276" y="14486"/>
                  </a:lnTo>
                  <a:lnTo>
                    <a:pt x="14517" y="13724"/>
                  </a:lnTo>
                  <a:lnTo>
                    <a:pt x="18179" y="13089"/>
                  </a:lnTo>
                  <a:lnTo>
                    <a:pt x="21239" y="5467"/>
                  </a:lnTo>
                  <a:lnTo>
                    <a:pt x="21600" y="162"/>
                  </a:lnTo>
                  <a:lnTo>
                    <a:pt x="19638" y="0"/>
                  </a:lnTo>
                  <a:lnTo>
                    <a:pt x="17537" y="283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67" name="iṩliḑe">
              <a:extLst>
                <a:ext uri="{FF2B5EF4-FFF2-40B4-BE49-F238E27FC236}">
                  <a16:creationId xmlns:a16="http://schemas.microsoft.com/office/drawing/2014/main" id="{1BA6E7DE-1CB8-457B-9737-C8EF8316FEB7}"/>
                </a:ext>
              </a:extLst>
            </p:cNvPr>
            <p:cNvSpPr/>
            <p:nvPr/>
          </p:nvSpPr>
          <p:spPr>
            <a:xfrm>
              <a:off x="2777576" y="3634434"/>
              <a:ext cx="1575803" cy="23665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69" y="1016"/>
                  </a:moveTo>
                  <a:lnTo>
                    <a:pt x="1153" y="974"/>
                  </a:lnTo>
                  <a:lnTo>
                    <a:pt x="1415" y="1017"/>
                  </a:lnTo>
                  <a:lnTo>
                    <a:pt x="1706" y="1125"/>
                  </a:lnTo>
                  <a:lnTo>
                    <a:pt x="1964" y="1238"/>
                  </a:lnTo>
                  <a:lnTo>
                    <a:pt x="2173" y="1355"/>
                  </a:lnTo>
                  <a:lnTo>
                    <a:pt x="2350" y="1292"/>
                  </a:lnTo>
                  <a:lnTo>
                    <a:pt x="2416" y="1193"/>
                  </a:lnTo>
                  <a:lnTo>
                    <a:pt x="2643" y="1138"/>
                  </a:lnTo>
                  <a:lnTo>
                    <a:pt x="2768" y="931"/>
                  </a:lnTo>
                  <a:lnTo>
                    <a:pt x="2901" y="758"/>
                  </a:lnTo>
                  <a:lnTo>
                    <a:pt x="3075" y="584"/>
                  </a:lnTo>
                  <a:lnTo>
                    <a:pt x="3218" y="492"/>
                  </a:lnTo>
                  <a:lnTo>
                    <a:pt x="3455" y="405"/>
                  </a:lnTo>
                  <a:lnTo>
                    <a:pt x="3796" y="405"/>
                  </a:lnTo>
                  <a:lnTo>
                    <a:pt x="4006" y="344"/>
                  </a:lnTo>
                  <a:lnTo>
                    <a:pt x="4155" y="198"/>
                  </a:lnTo>
                  <a:lnTo>
                    <a:pt x="4308" y="101"/>
                  </a:lnTo>
                  <a:lnTo>
                    <a:pt x="4423" y="34"/>
                  </a:lnTo>
                  <a:lnTo>
                    <a:pt x="4684" y="0"/>
                  </a:lnTo>
                  <a:lnTo>
                    <a:pt x="4809" y="15"/>
                  </a:lnTo>
                  <a:lnTo>
                    <a:pt x="4798" y="104"/>
                  </a:lnTo>
                  <a:lnTo>
                    <a:pt x="4656" y="173"/>
                  </a:lnTo>
                  <a:lnTo>
                    <a:pt x="4518" y="268"/>
                  </a:lnTo>
                  <a:lnTo>
                    <a:pt x="4466" y="385"/>
                  </a:lnTo>
                  <a:lnTo>
                    <a:pt x="4483" y="636"/>
                  </a:lnTo>
                  <a:lnTo>
                    <a:pt x="4421" y="753"/>
                  </a:lnTo>
                  <a:lnTo>
                    <a:pt x="4365" y="838"/>
                  </a:lnTo>
                  <a:lnTo>
                    <a:pt x="4375" y="962"/>
                  </a:lnTo>
                  <a:lnTo>
                    <a:pt x="4434" y="1080"/>
                  </a:lnTo>
                  <a:lnTo>
                    <a:pt x="4626" y="1121"/>
                  </a:lnTo>
                  <a:lnTo>
                    <a:pt x="4821" y="1077"/>
                  </a:lnTo>
                  <a:lnTo>
                    <a:pt x="4911" y="964"/>
                  </a:lnTo>
                  <a:lnTo>
                    <a:pt x="5012" y="863"/>
                  </a:lnTo>
                  <a:lnTo>
                    <a:pt x="5002" y="773"/>
                  </a:lnTo>
                  <a:lnTo>
                    <a:pt x="4888" y="691"/>
                  </a:lnTo>
                  <a:lnTo>
                    <a:pt x="4815" y="594"/>
                  </a:lnTo>
                  <a:cubicBezTo>
                    <a:pt x="4810" y="569"/>
                    <a:pt x="4818" y="543"/>
                    <a:pt x="4835" y="521"/>
                  </a:cubicBezTo>
                  <a:cubicBezTo>
                    <a:pt x="4864" y="484"/>
                    <a:pt x="4917" y="459"/>
                    <a:pt x="4977" y="452"/>
                  </a:cubicBezTo>
                  <a:lnTo>
                    <a:pt x="5179" y="365"/>
                  </a:lnTo>
                  <a:lnTo>
                    <a:pt x="5325" y="234"/>
                  </a:lnTo>
                  <a:lnTo>
                    <a:pt x="5398" y="181"/>
                  </a:lnTo>
                  <a:lnTo>
                    <a:pt x="5513" y="174"/>
                  </a:lnTo>
                  <a:lnTo>
                    <a:pt x="5658" y="180"/>
                  </a:lnTo>
                  <a:lnTo>
                    <a:pt x="5845" y="279"/>
                  </a:lnTo>
                  <a:lnTo>
                    <a:pt x="6023" y="369"/>
                  </a:lnTo>
                  <a:lnTo>
                    <a:pt x="6158" y="486"/>
                  </a:lnTo>
                  <a:lnTo>
                    <a:pt x="6252" y="563"/>
                  </a:lnTo>
                  <a:lnTo>
                    <a:pt x="6423" y="602"/>
                  </a:lnTo>
                  <a:lnTo>
                    <a:pt x="6760" y="602"/>
                  </a:lnTo>
                  <a:lnTo>
                    <a:pt x="6916" y="629"/>
                  </a:lnTo>
                  <a:lnTo>
                    <a:pt x="7159" y="658"/>
                  </a:lnTo>
                  <a:lnTo>
                    <a:pt x="7344" y="698"/>
                  </a:lnTo>
                  <a:lnTo>
                    <a:pt x="7500" y="785"/>
                  </a:lnTo>
                  <a:lnTo>
                    <a:pt x="7792" y="799"/>
                  </a:lnTo>
                  <a:lnTo>
                    <a:pt x="7945" y="725"/>
                  </a:lnTo>
                  <a:lnTo>
                    <a:pt x="8130" y="720"/>
                  </a:lnTo>
                  <a:lnTo>
                    <a:pt x="8343" y="741"/>
                  </a:lnTo>
                  <a:lnTo>
                    <a:pt x="8508" y="799"/>
                  </a:lnTo>
                  <a:lnTo>
                    <a:pt x="8764" y="882"/>
                  </a:lnTo>
                  <a:lnTo>
                    <a:pt x="9015" y="958"/>
                  </a:lnTo>
                  <a:lnTo>
                    <a:pt x="9502" y="1062"/>
                  </a:lnTo>
                  <a:lnTo>
                    <a:pt x="9816" y="1193"/>
                  </a:lnTo>
                  <a:lnTo>
                    <a:pt x="9920" y="1317"/>
                  </a:lnTo>
                  <a:lnTo>
                    <a:pt x="10065" y="1399"/>
                  </a:lnTo>
                  <a:lnTo>
                    <a:pt x="10187" y="1473"/>
                  </a:lnTo>
                  <a:lnTo>
                    <a:pt x="10298" y="1576"/>
                  </a:lnTo>
                  <a:lnTo>
                    <a:pt x="10339" y="1679"/>
                  </a:lnTo>
                  <a:lnTo>
                    <a:pt x="10420" y="1769"/>
                  </a:lnTo>
                  <a:lnTo>
                    <a:pt x="10606" y="1887"/>
                  </a:lnTo>
                  <a:lnTo>
                    <a:pt x="10818" y="2000"/>
                  </a:lnTo>
                  <a:lnTo>
                    <a:pt x="11131" y="2123"/>
                  </a:lnTo>
                  <a:lnTo>
                    <a:pt x="11378" y="2178"/>
                  </a:lnTo>
                  <a:lnTo>
                    <a:pt x="11636" y="2243"/>
                  </a:lnTo>
                  <a:lnTo>
                    <a:pt x="11855" y="2243"/>
                  </a:lnTo>
                  <a:lnTo>
                    <a:pt x="11990" y="2181"/>
                  </a:lnTo>
                  <a:lnTo>
                    <a:pt x="12151" y="2160"/>
                  </a:lnTo>
                  <a:lnTo>
                    <a:pt x="12356" y="2167"/>
                  </a:lnTo>
                  <a:lnTo>
                    <a:pt x="12575" y="2208"/>
                  </a:lnTo>
                  <a:lnTo>
                    <a:pt x="12707" y="2236"/>
                  </a:lnTo>
                  <a:lnTo>
                    <a:pt x="12850" y="2254"/>
                  </a:lnTo>
                  <a:lnTo>
                    <a:pt x="12964" y="2298"/>
                  </a:lnTo>
                  <a:lnTo>
                    <a:pt x="13152" y="2421"/>
                  </a:lnTo>
                  <a:lnTo>
                    <a:pt x="13358" y="2525"/>
                  </a:lnTo>
                  <a:lnTo>
                    <a:pt x="13524" y="2594"/>
                  </a:lnTo>
                  <a:lnTo>
                    <a:pt x="13666" y="2651"/>
                  </a:lnTo>
                  <a:lnTo>
                    <a:pt x="13833" y="2742"/>
                  </a:lnTo>
                  <a:lnTo>
                    <a:pt x="13864" y="2891"/>
                  </a:lnTo>
                  <a:lnTo>
                    <a:pt x="13944" y="3025"/>
                  </a:lnTo>
                  <a:lnTo>
                    <a:pt x="14059" y="3126"/>
                  </a:lnTo>
                  <a:lnTo>
                    <a:pt x="14069" y="3246"/>
                  </a:lnTo>
                  <a:lnTo>
                    <a:pt x="14069" y="3383"/>
                  </a:lnTo>
                  <a:lnTo>
                    <a:pt x="14132" y="3485"/>
                  </a:lnTo>
                  <a:lnTo>
                    <a:pt x="14251" y="3544"/>
                  </a:lnTo>
                  <a:lnTo>
                    <a:pt x="14376" y="3565"/>
                  </a:lnTo>
                  <a:lnTo>
                    <a:pt x="14376" y="3654"/>
                  </a:lnTo>
                  <a:lnTo>
                    <a:pt x="14240" y="3723"/>
                  </a:lnTo>
                  <a:lnTo>
                    <a:pt x="14147" y="3806"/>
                  </a:lnTo>
                  <a:lnTo>
                    <a:pt x="14084" y="3898"/>
                  </a:lnTo>
                  <a:lnTo>
                    <a:pt x="14021" y="4015"/>
                  </a:lnTo>
                  <a:lnTo>
                    <a:pt x="13892" y="4050"/>
                  </a:lnTo>
                  <a:lnTo>
                    <a:pt x="13746" y="4071"/>
                  </a:lnTo>
                  <a:lnTo>
                    <a:pt x="13369" y="4317"/>
                  </a:lnTo>
                  <a:lnTo>
                    <a:pt x="13296" y="4414"/>
                  </a:lnTo>
                  <a:lnTo>
                    <a:pt x="13244" y="4544"/>
                  </a:lnTo>
                  <a:lnTo>
                    <a:pt x="13401" y="4640"/>
                  </a:lnTo>
                  <a:lnTo>
                    <a:pt x="13638" y="4623"/>
                  </a:lnTo>
                  <a:lnTo>
                    <a:pt x="13801" y="4475"/>
                  </a:lnTo>
                  <a:lnTo>
                    <a:pt x="14058" y="4319"/>
                  </a:lnTo>
                  <a:lnTo>
                    <a:pt x="14233" y="4211"/>
                  </a:lnTo>
                  <a:lnTo>
                    <a:pt x="14406" y="4124"/>
                  </a:lnTo>
                  <a:lnTo>
                    <a:pt x="14601" y="4061"/>
                  </a:lnTo>
                  <a:lnTo>
                    <a:pt x="14824" y="4068"/>
                  </a:lnTo>
                  <a:lnTo>
                    <a:pt x="14950" y="4135"/>
                  </a:lnTo>
                  <a:lnTo>
                    <a:pt x="15054" y="4245"/>
                  </a:lnTo>
                  <a:lnTo>
                    <a:pt x="15054" y="4370"/>
                  </a:lnTo>
                  <a:lnTo>
                    <a:pt x="14772" y="4500"/>
                  </a:lnTo>
                  <a:lnTo>
                    <a:pt x="14706" y="4615"/>
                  </a:lnTo>
                  <a:lnTo>
                    <a:pt x="14561" y="4643"/>
                  </a:lnTo>
                  <a:lnTo>
                    <a:pt x="14369" y="4636"/>
                  </a:lnTo>
                  <a:lnTo>
                    <a:pt x="14297" y="4713"/>
                  </a:lnTo>
                  <a:lnTo>
                    <a:pt x="14537" y="4754"/>
                  </a:lnTo>
                  <a:lnTo>
                    <a:pt x="14713" y="4770"/>
                  </a:lnTo>
                  <a:lnTo>
                    <a:pt x="14862" y="4841"/>
                  </a:lnTo>
                  <a:lnTo>
                    <a:pt x="15018" y="4770"/>
                  </a:lnTo>
                  <a:lnTo>
                    <a:pt x="15209" y="4692"/>
                  </a:lnTo>
                  <a:lnTo>
                    <a:pt x="15341" y="4566"/>
                  </a:lnTo>
                  <a:lnTo>
                    <a:pt x="15491" y="4466"/>
                  </a:lnTo>
                  <a:lnTo>
                    <a:pt x="15585" y="4369"/>
                  </a:lnTo>
                  <a:lnTo>
                    <a:pt x="15846" y="4342"/>
                  </a:lnTo>
                  <a:lnTo>
                    <a:pt x="16125" y="4370"/>
                  </a:lnTo>
                  <a:lnTo>
                    <a:pt x="16397" y="4508"/>
                  </a:lnTo>
                  <a:lnTo>
                    <a:pt x="16564" y="4666"/>
                  </a:lnTo>
                  <a:lnTo>
                    <a:pt x="16723" y="4714"/>
                  </a:lnTo>
                  <a:lnTo>
                    <a:pt x="16844" y="4787"/>
                  </a:lnTo>
                  <a:lnTo>
                    <a:pt x="16817" y="4904"/>
                  </a:lnTo>
                  <a:lnTo>
                    <a:pt x="16751" y="4982"/>
                  </a:lnTo>
                  <a:lnTo>
                    <a:pt x="16751" y="5058"/>
                  </a:lnTo>
                  <a:lnTo>
                    <a:pt x="16949" y="5154"/>
                  </a:lnTo>
                  <a:lnTo>
                    <a:pt x="17116" y="5085"/>
                  </a:lnTo>
                  <a:lnTo>
                    <a:pt x="17332" y="5023"/>
                  </a:lnTo>
                  <a:lnTo>
                    <a:pt x="17569" y="4982"/>
                  </a:lnTo>
                  <a:lnTo>
                    <a:pt x="17746" y="4988"/>
                  </a:lnTo>
                  <a:lnTo>
                    <a:pt x="18122" y="5071"/>
                  </a:lnTo>
                  <a:lnTo>
                    <a:pt x="18476" y="5071"/>
                  </a:lnTo>
                  <a:lnTo>
                    <a:pt x="18914" y="5085"/>
                  </a:lnTo>
                  <a:lnTo>
                    <a:pt x="19226" y="5085"/>
                  </a:lnTo>
                  <a:lnTo>
                    <a:pt x="19337" y="5145"/>
                  </a:lnTo>
                  <a:lnTo>
                    <a:pt x="19417" y="5245"/>
                  </a:lnTo>
                  <a:lnTo>
                    <a:pt x="19501" y="5384"/>
                  </a:lnTo>
                  <a:lnTo>
                    <a:pt x="19761" y="5515"/>
                  </a:lnTo>
                  <a:lnTo>
                    <a:pt x="20054" y="5632"/>
                  </a:lnTo>
                  <a:lnTo>
                    <a:pt x="20337" y="5763"/>
                  </a:lnTo>
                  <a:lnTo>
                    <a:pt x="20783" y="5818"/>
                  </a:lnTo>
                  <a:lnTo>
                    <a:pt x="21128" y="5832"/>
                  </a:lnTo>
                  <a:lnTo>
                    <a:pt x="21292" y="5922"/>
                  </a:lnTo>
                  <a:lnTo>
                    <a:pt x="21413" y="6000"/>
                  </a:lnTo>
                  <a:lnTo>
                    <a:pt x="21423" y="6110"/>
                  </a:lnTo>
                  <a:lnTo>
                    <a:pt x="21496" y="6233"/>
                  </a:lnTo>
                  <a:lnTo>
                    <a:pt x="21548" y="6335"/>
                  </a:lnTo>
                  <a:lnTo>
                    <a:pt x="21600" y="6459"/>
                  </a:lnTo>
                  <a:lnTo>
                    <a:pt x="21558" y="6567"/>
                  </a:lnTo>
                  <a:lnTo>
                    <a:pt x="21548" y="6744"/>
                  </a:lnTo>
                  <a:lnTo>
                    <a:pt x="21416" y="6872"/>
                  </a:lnTo>
                  <a:lnTo>
                    <a:pt x="21374" y="6999"/>
                  </a:lnTo>
                  <a:lnTo>
                    <a:pt x="21263" y="7141"/>
                  </a:lnTo>
                  <a:lnTo>
                    <a:pt x="20928" y="7257"/>
                  </a:lnTo>
                  <a:lnTo>
                    <a:pt x="20782" y="7498"/>
                  </a:lnTo>
                  <a:lnTo>
                    <a:pt x="20646" y="7643"/>
                  </a:lnTo>
                  <a:lnTo>
                    <a:pt x="20531" y="7747"/>
                  </a:lnTo>
                  <a:lnTo>
                    <a:pt x="20344" y="7910"/>
                  </a:lnTo>
                  <a:lnTo>
                    <a:pt x="20222" y="8109"/>
                  </a:lnTo>
                  <a:lnTo>
                    <a:pt x="19916" y="8196"/>
                  </a:lnTo>
                  <a:lnTo>
                    <a:pt x="19700" y="8360"/>
                  </a:lnTo>
                  <a:lnTo>
                    <a:pt x="19631" y="8498"/>
                  </a:lnTo>
                  <a:lnTo>
                    <a:pt x="19615" y="8867"/>
                  </a:lnTo>
                  <a:lnTo>
                    <a:pt x="19688" y="9089"/>
                  </a:lnTo>
                  <a:lnTo>
                    <a:pt x="19688" y="9302"/>
                  </a:lnTo>
                  <a:lnTo>
                    <a:pt x="19705" y="9546"/>
                  </a:lnTo>
                  <a:lnTo>
                    <a:pt x="19653" y="9772"/>
                  </a:lnTo>
                  <a:lnTo>
                    <a:pt x="19612" y="9950"/>
                  </a:lnTo>
                  <a:lnTo>
                    <a:pt x="19580" y="10104"/>
                  </a:lnTo>
                  <a:lnTo>
                    <a:pt x="19559" y="10281"/>
                  </a:lnTo>
                  <a:lnTo>
                    <a:pt x="19465" y="10449"/>
                  </a:lnTo>
                  <a:lnTo>
                    <a:pt x="19444" y="10661"/>
                  </a:lnTo>
                  <a:lnTo>
                    <a:pt x="19392" y="10797"/>
                  </a:lnTo>
                  <a:lnTo>
                    <a:pt x="19322" y="10935"/>
                  </a:lnTo>
                  <a:lnTo>
                    <a:pt x="19169" y="11064"/>
                  </a:lnTo>
                  <a:lnTo>
                    <a:pt x="19033" y="11278"/>
                  </a:lnTo>
                  <a:lnTo>
                    <a:pt x="18939" y="11393"/>
                  </a:lnTo>
                  <a:lnTo>
                    <a:pt x="18834" y="11511"/>
                  </a:lnTo>
                  <a:lnTo>
                    <a:pt x="18562" y="11665"/>
                  </a:lnTo>
                  <a:lnTo>
                    <a:pt x="18374" y="11762"/>
                  </a:lnTo>
                  <a:lnTo>
                    <a:pt x="18204" y="11755"/>
                  </a:lnTo>
                  <a:lnTo>
                    <a:pt x="18048" y="11735"/>
                  </a:lnTo>
                  <a:lnTo>
                    <a:pt x="17899" y="11638"/>
                  </a:lnTo>
                  <a:lnTo>
                    <a:pt x="17642" y="11707"/>
                  </a:lnTo>
                  <a:lnTo>
                    <a:pt x="17486" y="11796"/>
                  </a:lnTo>
                  <a:lnTo>
                    <a:pt x="17287" y="11941"/>
                  </a:lnTo>
                  <a:lnTo>
                    <a:pt x="17134" y="11969"/>
                  </a:lnTo>
                  <a:lnTo>
                    <a:pt x="16834" y="12015"/>
                  </a:lnTo>
                  <a:lnTo>
                    <a:pt x="16534" y="12077"/>
                  </a:lnTo>
                  <a:lnTo>
                    <a:pt x="16336" y="12167"/>
                  </a:lnTo>
                  <a:lnTo>
                    <a:pt x="16253" y="12270"/>
                  </a:lnTo>
                  <a:lnTo>
                    <a:pt x="16183" y="12325"/>
                  </a:lnTo>
                  <a:lnTo>
                    <a:pt x="16027" y="12380"/>
                  </a:lnTo>
                  <a:lnTo>
                    <a:pt x="15916" y="12449"/>
                  </a:lnTo>
                  <a:lnTo>
                    <a:pt x="15804" y="12518"/>
                  </a:lnTo>
                  <a:lnTo>
                    <a:pt x="15752" y="12629"/>
                  </a:lnTo>
                  <a:lnTo>
                    <a:pt x="15825" y="12724"/>
                  </a:lnTo>
                  <a:lnTo>
                    <a:pt x="15951" y="12849"/>
                  </a:lnTo>
                  <a:lnTo>
                    <a:pt x="15961" y="13008"/>
                  </a:lnTo>
                  <a:lnTo>
                    <a:pt x="15909" y="13192"/>
                  </a:lnTo>
                  <a:cubicBezTo>
                    <a:pt x="15880" y="13228"/>
                    <a:pt x="15856" y="13266"/>
                    <a:pt x="15840" y="13305"/>
                  </a:cubicBezTo>
                  <a:cubicBezTo>
                    <a:pt x="15812" y="13369"/>
                    <a:pt x="15801" y="13436"/>
                    <a:pt x="15809" y="13503"/>
                  </a:cubicBezTo>
                  <a:lnTo>
                    <a:pt x="15600" y="13652"/>
                  </a:lnTo>
                  <a:lnTo>
                    <a:pt x="15506" y="13742"/>
                  </a:lnTo>
                  <a:lnTo>
                    <a:pt x="15464" y="13846"/>
                  </a:lnTo>
                  <a:cubicBezTo>
                    <a:pt x="15464" y="13877"/>
                    <a:pt x="15464" y="13909"/>
                    <a:pt x="15464" y="13940"/>
                  </a:cubicBezTo>
                  <a:cubicBezTo>
                    <a:pt x="15464" y="13981"/>
                    <a:pt x="15464" y="14022"/>
                    <a:pt x="15464" y="14062"/>
                  </a:cubicBezTo>
                  <a:lnTo>
                    <a:pt x="15412" y="14177"/>
                  </a:lnTo>
                  <a:lnTo>
                    <a:pt x="15183" y="14308"/>
                  </a:lnTo>
                  <a:lnTo>
                    <a:pt x="15048" y="14443"/>
                  </a:lnTo>
                  <a:lnTo>
                    <a:pt x="14923" y="14578"/>
                  </a:lnTo>
                  <a:lnTo>
                    <a:pt x="14840" y="14707"/>
                  </a:lnTo>
                  <a:lnTo>
                    <a:pt x="14760" y="14868"/>
                  </a:lnTo>
                  <a:cubicBezTo>
                    <a:pt x="14740" y="14913"/>
                    <a:pt x="14716" y="14957"/>
                    <a:pt x="14687" y="14999"/>
                  </a:cubicBezTo>
                  <a:cubicBezTo>
                    <a:pt x="14660" y="15040"/>
                    <a:pt x="14629" y="15079"/>
                    <a:pt x="14593" y="15116"/>
                  </a:cubicBezTo>
                  <a:cubicBezTo>
                    <a:pt x="14565" y="15141"/>
                    <a:pt x="14538" y="15167"/>
                    <a:pt x="14510" y="15192"/>
                  </a:cubicBezTo>
                  <a:cubicBezTo>
                    <a:pt x="14469" y="15230"/>
                    <a:pt x="14429" y="15268"/>
                    <a:pt x="14390" y="15307"/>
                  </a:cubicBezTo>
                  <a:lnTo>
                    <a:pt x="14233" y="15431"/>
                  </a:lnTo>
                  <a:lnTo>
                    <a:pt x="14123" y="15518"/>
                  </a:lnTo>
                  <a:lnTo>
                    <a:pt x="13872" y="15628"/>
                  </a:lnTo>
                  <a:lnTo>
                    <a:pt x="13685" y="15663"/>
                  </a:lnTo>
                  <a:lnTo>
                    <a:pt x="13323" y="15670"/>
                  </a:lnTo>
                  <a:cubicBezTo>
                    <a:pt x="13286" y="15642"/>
                    <a:pt x="13245" y="15616"/>
                    <a:pt x="13201" y="15594"/>
                  </a:cubicBezTo>
                  <a:cubicBezTo>
                    <a:pt x="13122" y="15553"/>
                    <a:pt x="13034" y="15521"/>
                    <a:pt x="12939" y="15499"/>
                  </a:cubicBezTo>
                  <a:cubicBezTo>
                    <a:pt x="12851" y="15484"/>
                    <a:pt x="12764" y="15467"/>
                    <a:pt x="12678" y="15446"/>
                  </a:cubicBezTo>
                  <a:cubicBezTo>
                    <a:pt x="12585" y="15424"/>
                    <a:pt x="12495" y="15399"/>
                    <a:pt x="12406" y="15370"/>
                  </a:cubicBezTo>
                  <a:lnTo>
                    <a:pt x="12194" y="15426"/>
                  </a:lnTo>
                  <a:lnTo>
                    <a:pt x="12131" y="15541"/>
                  </a:lnTo>
                  <a:lnTo>
                    <a:pt x="12255" y="15615"/>
                  </a:lnTo>
                  <a:lnTo>
                    <a:pt x="12467" y="15700"/>
                  </a:lnTo>
                  <a:lnTo>
                    <a:pt x="12582" y="15762"/>
                  </a:lnTo>
                  <a:lnTo>
                    <a:pt x="12768" y="15886"/>
                  </a:lnTo>
                  <a:lnTo>
                    <a:pt x="12977" y="16065"/>
                  </a:lnTo>
                  <a:lnTo>
                    <a:pt x="13103" y="16201"/>
                  </a:lnTo>
                  <a:lnTo>
                    <a:pt x="13155" y="16372"/>
                  </a:lnTo>
                  <a:lnTo>
                    <a:pt x="13166" y="16545"/>
                  </a:lnTo>
                  <a:lnTo>
                    <a:pt x="13065" y="16676"/>
                  </a:lnTo>
                  <a:lnTo>
                    <a:pt x="12951" y="16779"/>
                  </a:lnTo>
                  <a:lnTo>
                    <a:pt x="12787" y="16862"/>
                  </a:lnTo>
                  <a:lnTo>
                    <a:pt x="12505" y="16924"/>
                  </a:lnTo>
                  <a:lnTo>
                    <a:pt x="12122" y="16970"/>
                  </a:lnTo>
                  <a:lnTo>
                    <a:pt x="11913" y="16977"/>
                  </a:lnTo>
                  <a:lnTo>
                    <a:pt x="11733" y="16982"/>
                  </a:lnTo>
                  <a:lnTo>
                    <a:pt x="11430" y="16982"/>
                  </a:lnTo>
                  <a:lnTo>
                    <a:pt x="11263" y="17044"/>
                  </a:lnTo>
                  <a:lnTo>
                    <a:pt x="11232" y="17116"/>
                  </a:lnTo>
                  <a:lnTo>
                    <a:pt x="11252" y="17235"/>
                  </a:lnTo>
                  <a:lnTo>
                    <a:pt x="11325" y="17332"/>
                  </a:lnTo>
                  <a:lnTo>
                    <a:pt x="11412" y="17380"/>
                  </a:lnTo>
                  <a:lnTo>
                    <a:pt x="11444" y="17498"/>
                  </a:lnTo>
                  <a:lnTo>
                    <a:pt x="11382" y="17567"/>
                  </a:lnTo>
                  <a:cubicBezTo>
                    <a:pt x="11322" y="17599"/>
                    <a:pt x="11279" y="17642"/>
                    <a:pt x="11257" y="17691"/>
                  </a:cubicBezTo>
                  <a:cubicBezTo>
                    <a:pt x="11240" y="17729"/>
                    <a:pt x="11236" y="17769"/>
                    <a:pt x="11246" y="17808"/>
                  </a:cubicBezTo>
                  <a:lnTo>
                    <a:pt x="11037" y="17802"/>
                  </a:lnTo>
                  <a:lnTo>
                    <a:pt x="10881" y="17726"/>
                  </a:lnTo>
                  <a:lnTo>
                    <a:pt x="10631" y="17622"/>
                  </a:lnTo>
                  <a:lnTo>
                    <a:pt x="10349" y="17581"/>
                  </a:lnTo>
                  <a:lnTo>
                    <a:pt x="10141" y="17677"/>
                  </a:lnTo>
                  <a:lnTo>
                    <a:pt x="10273" y="17815"/>
                  </a:lnTo>
                  <a:cubicBezTo>
                    <a:pt x="10359" y="17814"/>
                    <a:pt x="10437" y="17847"/>
                    <a:pt x="10472" y="17898"/>
                  </a:cubicBezTo>
                  <a:cubicBezTo>
                    <a:pt x="10504" y="17944"/>
                    <a:pt x="10496" y="17997"/>
                    <a:pt x="10451" y="18038"/>
                  </a:cubicBezTo>
                  <a:lnTo>
                    <a:pt x="10493" y="18142"/>
                  </a:lnTo>
                  <a:cubicBezTo>
                    <a:pt x="10535" y="18167"/>
                    <a:pt x="10583" y="18187"/>
                    <a:pt x="10636" y="18201"/>
                  </a:cubicBezTo>
                  <a:cubicBezTo>
                    <a:pt x="10678" y="18213"/>
                    <a:pt x="10723" y="18220"/>
                    <a:pt x="10768" y="18222"/>
                  </a:cubicBezTo>
                  <a:cubicBezTo>
                    <a:pt x="10824" y="18185"/>
                    <a:pt x="10918" y="18194"/>
                    <a:pt x="10956" y="18240"/>
                  </a:cubicBezTo>
                  <a:cubicBezTo>
                    <a:pt x="10983" y="18272"/>
                    <a:pt x="10969" y="18313"/>
                    <a:pt x="10925" y="18335"/>
                  </a:cubicBezTo>
                  <a:lnTo>
                    <a:pt x="10783" y="18390"/>
                  </a:lnTo>
                  <a:lnTo>
                    <a:pt x="10605" y="18448"/>
                  </a:lnTo>
                  <a:lnTo>
                    <a:pt x="10615" y="18589"/>
                  </a:lnTo>
                  <a:lnTo>
                    <a:pt x="10663" y="18651"/>
                  </a:lnTo>
                  <a:lnTo>
                    <a:pt x="10698" y="18740"/>
                  </a:lnTo>
                  <a:lnTo>
                    <a:pt x="10479" y="18860"/>
                  </a:lnTo>
                  <a:lnTo>
                    <a:pt x="10374" y="19045"/>
                  </a:lnTo>
                  <a:lnTo>
                    <a:pt x="10259" y="19180"/>
                  </a:lnTo>
                  <a:lnTo>
                    <a:pt x="10218" y="19263"/>
                  </a:lnTo>
                  <a:lnTo>
                    <a:pt x="10283" y="19367"/>
                  </a:lnTo>
                  <a:lnTo>
                    <a:pt x="10350" y="19544"/>
                  </a:lnTo>
                  <a:lnTo>
                    <a:pt x="10506" y="19579"/>
                  </a:lnTo>
                  <a:lnTo>
                    <a:pt x="10637" y="19689"/>
                  </a:lnTo>
                  <a:lnTo>
                    <a:pt x="10913" y="19767"/>
                  </a:lnTo>
                  <a:lnTo>
                    <a:pt x="11066" y="19942"/>
                  </a:lnTo>
                  <a:lnTo>
                    <a:pt x="11076" y="20069"/>
                  </a:lnTo>
                  <a:lnTo>
                    <a:pt x="10982" y="20241"/>
                  </a:lnTo>
                  <a:lnTo>
                    <a:pt x="10888" y="20363"/>
                  </a:lnTo>
                  <a:lnTo>
                    <a:pt x="10794" y="20527"/>
                  </a:lnTo>
                  <a:cubicBezTo>
                    <a:pt x="10712" y="20573"/>
                    <a:pt x="10646" y="20631"/>
                    <a:pt x="10600" y="20695"/>
                  </a:cubicBezTo>
                  <a:cubicBezTo>
                    <a:pt x="10553" y="20760"/>
                    <a:pt x="10528" y="20830"/>
                    <a:pt x="10526" y="20902"/>
                  </a:cubicBezTo>
                  <a:lnTo>
                    <a:pt x="10613" y="21051"/>
                  </a:lnTo>
                  <a:lnTo>
                    <a:pt x="10773" y="21173"/>
                  </a:lnTo>
                  <a:lnTo>
                    <a:pt x="10846" y="21254"/>
                  </a:lnTo>
                  <a:lnTo>
                    <a:pt x="10766" y="21359"/>
                  </a:lnTo>
                  <a:lnTo>
                    <a:pt x="10536" y="21440"/>
                  </a:lnTo>
                  <a:lnTo>
                    <a:pt x="10441" y="21536"/>
                  </a:lnTo>
                  <a:lnTo>
                    <a:pt x="10363" y="21600"/>
                  </a:lnTo>
                  <a:lnTo>
                    <a:pt x="10225" y="21595"/>
                  </a:lnTo>
                  <a:lnTo>
                    <a:pt x="9866" y="21480"/>
                  </a:lnTo>
                  <a:lnTo>
                    <a:pt x="9668" y="21506"/>
                  </a:lnTo>
                  <a:lnTo>
                    <a:pt x="9418" y="21531"/>
                  </a:lnTo>
                  <a:cubicBezTo>
                    <a:pt x="9428" y="21473"/>
                    <a:pt x="9417" y="21413"/>
                    <a:pt x="9386" y="21358"/>
                  </a:cubicBezTo>
                  <a:cubicBezTo>
                    <a:pt x="9350" y="21293"/>
                    <a:pt x="9286" y="21235"/>
                    <a:pt x="9202" y="21193"/>
                  </a:cubicBezTo>
                  <a:lnTo>
                    <a:pt x="8951" y="21172"/>
                  </a:lnTo>
                  <a:lnTo>
                    <a:pt x="8767" y="21096"/>
                  </a:lnTo>
                  <a:lnTo>
                    <a:pt x="8767" y="20966"/>
                  </a:lnTo>
                  <a:lnTo>
                    <a:pt x="8683" y="20814"/>
                  </a:lnTo>
                  <a:cubicBezTo>
                    <a:pt x="8625" y="20767"/>
                    <a:pt x="8560" y="20724"/>
                    <a:pt x="8489" y="20687"/>
                  </a:cubicBezTo>
                  <a:cubicBezTo>
                    <a:pt x="8402" y="20641"/>
                    <a:pt x="8307" y="20603"/>
                    <a:pt x="8206" y="20574"/>
                  </a:cubicBezTo>
                  <a:lnTo>
                    <a:pt x="8185" y="20340"/>
                  </a:lnTo>
                  <a:lnTo>
                    <a:pt x="8175" y="20091"/>
                  </a:lnTo>
                  <a:cubicBezTo>
                    <a:pt x="8118" y="20014"/>
                    <a:pt x="8052" y="19940"/>
                    <a:pt x="7977" y="19870"/>
                  </a:cubicBezTo>
                  <a:cubicBezTo>
                    <a:pt x="7874" y="19775"/>
                    <a:pt x="7755" y="19687"/>
                    <a:pt x="7622" y="19610"/>
                  </a:cubicBezTo>
                  <a:lnTo>
                    <a:pt x="7320" y="19591"/>
                  </a:lnTo>
                  <a:lnTo>
                    <a:pt x="7269" y="19491"/>
                  </a:lnTo>
                  <a:lnTo>
                    <a:pt x="7463" y="19422"/>
                  </a:lnTo>
                  <a:lnTo>
                    <a:pt x="7664" y="19293"/>
                  </a:lnTo>
                  <a:lnTo>
                    <a:pt x="7747" y="19155"/>
                  </a:lnTo>
                  <a:lnTo>
                    <a:pt x="7862" y="18947"/>
                  </a:lnTo>
                  <a:cubicBezTo>
                    <a:pt x="7859" y="18904"/>
                    <a:pt x="7841" y="18862"/>
                    <a:pt x="7810" y="18823"/>
                  </a:cubicBezTo>
                  <a:cubicBezTo>
                    <a:pt x="7763" y="18763"/>
                    <a:pt x="7687" y="18715"/>
                    <a:pt x="7594" y="18687"/>
                  </a:cubicBezTo>
                  <a:lnTo>
                    <a:pt x="7373" y="18531"/>
                  </a:lnTo>
                  <a:lnTo>
                    <a:pt x="7344" y="18427"/>
                  </a:lnTo>
                  <a:lnTo>
                    <a:pt x="7439" y="18291"/>
                  </a:lnTo>
                  <a:lnTo>
                    <a:pt x="7386" y="18128"/>
                  </a:lnTo>
                  <a:lnTo>
                    <a:pt x="7191" y="18036"/>
                  </a:lnTo>
                  <a:lnTo>
                    <a:pt x="6944" y="17872"/>
                  </a:lnTo>
                  <a:lnTo>
                    <a:pt x="6714" y="17722"/>
                  </a:lnTo>
                  <a:lnTo>
                    <a:pt x="6595" y="17655"/>
                  </a:lnTo>
                  <a:lnTo>
                    <a:pt x="6560" y="17485"/>
                  </a:lnTo>
                  <a:lnTo>
                    <a:pt x="6414" y="17372"/>
                  </a:lnTo>
                  <a:lnTo>
                    <a:pt x="6518" y="17199"/>
                  </a:lnTo>
                  <a:cubicBezTo>
                    <a:pt x="6570" y="17154"/>
                    <a:pt x="6593" y="17097"/>
                    <a:pt x="6581" y="17041"/>
                  </a:cubicBezTo>
                  <a:cubicBezTo>
                    <a:pt x="6561" y="16948"/>
                    <a:pt x="6457" y="16874"/>
                    <a:pt x="6320" y="16854"/>
                  </a:cubicBezTo>
                  <a:cubicBezTo>
                    <a:pt x="6272" y="16815"/>
                    <a:pt x="6237" y="16771"/>
                    <a:pt x="6215" y="16723"/>
                  </a:cubicBezTo>
                  <a:cubicBezTo>
                    <a:pt x="6159" y="16596"/>
                    <a:pt x="6202" y="16460"/>
                    <a:pt x="6330" y="16359"/>
                  </a:cubicBezTo>
                  <a:lnTo>
                    <a:pt x="6341" y="16207"/>
                  </a:lnTo>
                  <a:lnTo>
                    <a:pt x="6351" y="16005"/>
                  </a:lnTo>
                  <a:lnTo>
                    <a:pt x="6382" y="15534"/>
                  </a:lnTo>
                  <a:lnTo>
                    <a:pt x="6330" y="14960"/>
                  </a:lnTo>
                  <a:lnTo>
                    <a:pt x="6125" y="14624"/>
                  </a:lnTo>
                  <a:lnTo>
                    <a:pt x="6027" y="14310"/>
                  </a:lnTo>
                  <a:lnTo>
                    <a:pt x="5975" y="14131"/>
                  </a:lnTo>
                  <a:lnTo>
                    <a:pt x="5925" y="13492"/>
                  </a:lnTo>
                  <a:lnTo>
                    <a:pt x="5925" y="13243"/>
                  </a:lnTo>
                  <a:lnTo>
                    <a:pt x="6020" y="13001"/>
                  </a:lnTo>
                  <a:lnTo>
                    <a:pt x="6020" y="12755"/>
                  </a:lnTo>
                  <a:lnTo>
                    <a:pt x="5988" y="12469"/>
                  </a:lnTo>
                  <a:lnTo>
                    <a:pt x="5842" y="12317"/>
                  </a:lnTo>
                  <a:lnTo>
                    <a:pt x="5852" y="12041"/>
                  </a:lnTo>
                  <a:lnTo>
                    <a:pt x="5936" y="11755"/>
                  </a:lnTo>
                  <a:cubicBezTo>
                    <a:pt x="5963" y="11665"/>
                    <a:pt x="5977" y="11573"/>
                    <a:pt x="5978" y="11481"/>
                  </a:cubicBezTo>
                  <a:cubicBezTo>
                    <a:pt x="5979" y="11396"/>
                    <a:pt x="5968" y="11310"/>
                    <a:pt x="5946" y="11226"/>
                  </a:cubicBezTo>
                  <a:cubicBezTo>
                    <a:pt x="5920" y="11122"/>
                    <a:pt x="5877" y="11021"/>
                    <a:pt x="5817" y="10924"/>
                  </a:cubicBezTo>
                  <a:lnTo>
                    <a:pt x="5790" y="10657"/>
                  </a:lnTo>
                  <a:lnTo>
                    <a:pt x="5779" y="10588"/>
                  </a:lnTo>
                  <a:lnTo>
                    <a:pt x="5509" y="10273"/>
                  </a:lnTo>
                  <a:lnTo>
                    <a:pt x="5325" y="10025"/>
                  </a:lnTo>
                  <a:lnTo>
                    <a:pt x="5081" y="9901"/>
                  </a:lnTo>
                  <a:lnTo>
                    <a:pt x="4781" y="9783"/>
                  </a:lnTo>
                  <a:lnTo>
                    <a:pt x="4531" y="9611"/>
                  </a:lnTo>
                  <a:lnTo>
                    <a:pt x="4066" y="9506"/>
                  </a:lnTo>
                  <a:lnTo>
                    <a:pt x="3850" y="9416"/>
                  </a:lnTo>
                  <a:lnTo>
                    <a:pt x="3285" y="9256"/>
                  </a:lnTo>
                  <a:lnTo>
                    <a:pt x="3020" y="9164"/>
                  </a:lnTo>
                  <a:lnTo>
                    <a:pt x="2895" y="8913"/>
                  </a:lnTo>
                  <a:lnTo>
                    <a:pt x="2752" y="8757"/>
                  </a:lnTo>
                  <a:lnTo>
                    <a:pt x="2626" y="8512"/>
                  </a:lnTo>
                  <a:lnTo>
                    <a:pt x="2494" y="8355"/>
                  </a:lnTo>
                  <a:lnTo>
                    <a:pt x="2330" y="8219"/>
                  </a:lnTo>
                  <a:lnTo>
                    <a:pt x="2088" y="8047"/>
                  </a:lnTo>
                  <a:lnTo>
                    <a:pt x="1976" y="7929"/>
                  </a:lnTo>
                  <a:lnTo>
                    <a:pt x="1868" y="7775"/>
                  </a:lnTo>
                  <a:lnTo>
                    <a:pt x="1712" y="7713"/>
                  </a:lnTo>
                  <a:lnTo>
                    <a:pt x="1653" y="7630"/>
                  </a:lnTo>
                  <a:lnTo>
                    <a:pt x="1559" y="7481"/>
                  </a:lnTo>
                  <a:lnTo>
                    <a:pt x="1499" y="7363"/>
                  </a:lnTo>
                  <a:lnTo>
                    <a:pt x="1332" y="7016"/>
                  </a:lnTo>
                  <a:lnTo>
                    <a:pt x="1207" y="6813"/>
                  </a:lnTo>
                  <a:lnTo>
                    <a:pt x="1072" y="6654"/>
                  </a:lnTo>
                  <a:lnTo>
                    <a:pt x="958" y="6495"/>
                  </a:lnTo>
                  <a:lnTo>
                    <a:pt x="875" y="6420"/>
                  </a:lnTo>
                  <a:lnTo>
                    <a:pt x="683" y="6358"/>
                  </a:lnTo>
                  <a:lnTo>
                    <a:pt x="577" y="6210"/>
                  </a:lnTo>
                  <a:lnTo>
                    <a:pt x="392" y="6183"/>
                  </a:lnTo>
                  <a:lnTo>
                    <a:pt x="270" y="6084"/>
                  </a:lnTo>
                  <a:lnTo>
                    <a:pt x="131" y="5971"/>
                  </a:lnTo>
                  <a:lnTo>
                    <a:pt x="79" y="5813"/>
                  </a:lnTo>
                  <a:lnTo>
                    <a:pt x="38" y="5703"/>
                  </a:lnTo>
                  <a:lnTo>
                    <a:pt x="0" y="5602"/>
                  </a:lnTo>
                  <a:lnTo>
                    <a:pt x="115" y="5491"/>
                  </a:lnTo>
                  <a:lnTo>
                    <a:pt x="268" y="5348"/>
                  </a:lnTo>
                  <a:lnTo>
                    <a:pt x="330" y="5224"/>
                  </a:lnTo>
                  <a:lnTo>
                    <a:pt x="413" y="5153"/>
                  </a:lnTo>
                  <a:lnTo>
                    <a:pt x="602" y="5033"/>
                  </a:lnTo>
                  <a:lnTo>
                    <a:pt x="653" y="4916"/>
                  </a:lnTo>
                  <a:lnTo>
                    <a:pt x="542" y="4875"/>
                  </a:lnTo>
                  <a:lnTo>
                    <a:pt x="350" y="4849"/>
                  </a:lnTo>
                  <a:lnTo>
                    <a:pt x="233" y="4810"/>
                  </a:lnTo>
                  <a:lnTo>
                    <a:pt x="173" y="4693"/>
                  </a:lnTo>
                  <a:lnTo>
                    <a:pt x="132" y="4589"/>
                  </a:lnTo>
                  <a:lnTo>
                    <a:pt x="236" y="4435"/>
                  </a:lnTo>
                  <a:lnTo>
                    <a:pt x="363" y="4279"/>
                  </a:lnTo>
                  <a:lnTo>
                    <a:pt x="464" y="4141"/>
                  </a:lnTo>
                  <a:lnTo>
                    <a:pt x="722" y="3881"/>
                  </a:lnTo>
                  <a:lnTo>
                    <a:pt x="837" y="3725"/>
                  </a:lnTo>
                  <a:lnTo>
                    <a:pt x="878" y="3658"/>
                  </a:lnTo>
                  <a:lnTo>
                    <a:pt x="1105" y="3567"/>
                  </a:lnTo>
                  <a:lnTo>
                    <a:pt x="1275" y="3479"/>
                  </a:lnTo>
                  <a:lnTo>
                    <a:pt x="1338" y="3385"/>
                  </a:lnTo>
                  <a:lnTo>
                    <a:pt x="1359" y="3295"/>
                  </a:lnTo>
                  <a:lnTo>
                    <a:pt x="1523" y="3201"/>
                  </a:lnTo>
                  <a:lnTo>
                    <a:pt x="1707" y="3072"/>
                  </a:lnTo>
                  <a:cubicBezTo>
                    <a:pt x="1704" y="3016"/>
                    <a:pt x="1711" y="2960"/>
                    <a:pt x="1728" y="2906"/>
                  </a:cubicBezTo>
                  <a:cubicBezTo>
                    <a:pt x="1757" y="2814"/>
                    <a:pt x="1814" y="2727"/>
                    <a:pt x="1896" y="2650"/>
                  </a:cubicBezTo>
                  <a:cubicBezTo>
                    <a:pt x="1934" y="2572"/>
                    <a:pt x="1938" y="2488"/>
                    <a:pt x="1906" y="2408"/>
                  </a:cubicBezTo>
                  <a:cubicBezTo>
                    <a:pt x="1883" y="2352"/>
                    <a:pt x="1843" y="2298"/>
                    <a:pt x="1815" y="2242"/>
                  </a:cubicBezTo>
                  <a:cubicBezTo>
                    <a:pt x="1790" y="2191"/>
                    <a:pt x="1776" y="2138"/>
                    <a:pt x="1774" y="2083"/>
                  </a:cubicBezTo>
                  <a:lnTo>
                    <a:pt x="1774" y="1918"/>
                  </a:lnTo>
                  <a:lnTo>
                    <a:pt x="1753" y="1808"/>
                  </a:lnTo>
                  <a:lnTo>
                    <a:pt x="1638" y="1656"/>
                  </a:lnTo>
                  <a:lnTo>
                    <a:pt x="1493" y="1546"/>
                  </a:lnTo>
                  <a:lnTo>
                    <a:pt x="1587" y="1443"/>
                  </a:lnTo>
                  <a:lnTo>
                    <a:pt x="1656" y="1310"/>
                  </a:lnTo>
                  <a:lnTo>
                    <a:pt x="1459" y="1199"/>
                  </a:lnTo>
                  <a:lnTo>
                    <a:pt x="1280" y="1115"/>
                  </a:lnTo>
                  <a:lnTo>
                    <a:pt x="1083" y="1076"/>
                  </a:lnTo>
                  <a:lnTo>
                    <a:pt x="968" y="1103"/>
                  </a:lnTo>
                  <a:lnTo>
                    <a:pt x="869" y="101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68" name="ïşḷíḋê">
              <a:extLst>
                <a:ext uri="{FF2B5EF4-FFF2-40B4-BE49-F238E27FC236}">
                  <a16:creationId xmlns:a16="http://schemas.microsoft.com/office/drawing/2014/main" id="{BE9A8492-D4DB-4AE2-B92B-759F7C5AEBDD}"/>
                </a:ext>
              </a:extLst>
            </p:cNvPr>
            <p:cNvSpPr/>
            <p:nvPr/>
          </p:nvSpPr>
          <p:spPr>
            <a:xfrm>
              <a:off x="3559421" y="5995142"/>
              <a:ext cx="176422" cy="898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225" y="3547"/>
                  </a:moveTo>
                  <a:lnTo>
                    <a:pt x="5676" y="1626"/>
                  </a:lnTo>
                  <a:lnTo>
                    <a:pt x="3209" y="0"/>
                  </a:lnTo>
                  <a:lnTo>
                    <a:pt x="1176" y="1709"/>
                  </a:lnTo>
                  <a:lnTo>
                    <a:pt x="993" y="6809"/>
                  </a:lnTo>
                  <a:lnTo>
                    <a:pt x="0" y="9230"/>
                  </a:lnTo>
                  <a:lnTo>
                    <a:pt x="146" y="11719"/>
                  </a:lnTo>
                  <a:lnTo>
                    <a:pt x="1232" y="14861"/>
                  </a:lnTo>
                  <a:lnTo>
                    <a:pt x="2757" y="16925"/>
                  </a:lnTo>
                  <a:lnTo>
                    <a:pt x="4617" y="16204"/>
                  </a:lnTo>
                  <a:lnTo>
                    <a:pt x="6205" y="18329"/>
                  </a:lnTo>
                  <a:lnTo>
                    <a:pt x="6765" y="21054"/>
                  </a:lnTo>
                  <a:lnTo>
                    <a:pt x="9338" y="21600"/>
                  </a:lnTo>
                  <a:lnTo>
                    <a:pt x="10638" y="20386"/>
                  </a:lnTo>
                  <a:lnTo>
                    <a:pt x="12868" y="19239"/>
                  </a:lnTo>
                  <a:cubicBezTo>
                    <a:pt x="13384" y="19258"/>
                    <a:pt x="13900" y="19258"/>
                    <a:pt x="14416" y="19239"/>
                  </a:cubicBezTo>
                  <a:cubicBezTo>
                    <a:pt x="15695" y="19193"/>
                    <a:pt x="16971" y="19031"/>
                    <a:pt x="18242" y="18754"/>
                  </a:cubicBezTo>
                  <a:lnTo>
                    <a:pt x="20946" y="19118"/>
                  </a:lnTo>
                  <a:lnTo>
                    <a:pt x="21600" y="16751"/>
                  </a:lnTo>
                  <a:lnTo>
                    <a:pt x="17600" y="16751"/>
                  </a:lnTo>
                  <a:lnTo>
                    <a:pt x="14802" y="15172"/>
                  </a:lnTo>
                  <a:lnTo>
                    <a:pt x="13214" y="10808"/>
                  </a:lnTo>
                  <a:lnTo>
                    <a:pt x="11408" y="9230"/>
                  </a:lnTo>
                  <a:lnTo>
                    <a:pt x="9731" y="7773"/>
                  </a:lnTo>
                  <a:lnTo>
                    <a:pt x="9139" y="5420"/>
                  </a:lnTo>
                  <a:lnTo>
                    <a:pt x="7225" y="3547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69" name="íṩḻíḑè">
              <a:extLst>
                <a:ext uri="{FF2B5EF4-FFF2-40B4-BE49-F238E27FC236}">
                  <a16:creationId xmlns:a16="http://schemas.microsoft.com/office/drawing/2014/main" id="{21295AEA-312E-417F-97CE-0E26E676E2EC}"/>
                </a:ext>
              </a:extLst>
            </p:cNvPr>
            <p:cNvSpPr/>
            <p:nvPr/>
          </p:nvSpPr>
          <p:spPr>
            <a:xfrm>
              <a:off x="3768642" y="5937250"/>
              <a:ext cx="110098" cy="467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319" y="0"/>
                  </a:moveTo>
                  <a:lnTo>
                    <a:pt x="5026" y="117"/>
                  </a:lnTo>
                  <a:cubicBezTo>
                    <a:pt x="4484" y="789"/>
                    <a:pt x="3941" y="1461"/>
                    <a:pt x="3399" y="2133"/>
                  </a:cubicBezTo>
                  <a:cubicBezTo>
                    <a:pt x="2857" y="2805"/>
                    <a:pt x="2314" y="3476"/>
                    <a:pt x="1772" y="4148"/>
                  </a:cubicBezTo>
                  <a:lnTo>
                    <a:pt x="4542" y="6577"/>
                  </a:lnTo>
                  <a:lnTo>
                    <a:pt x="3392" y="10753"/>
                  </a:lnTo>
                  <a:lnTo>
                    <a:pt x="0" y="11818"/>
                  </a:lnTo>
                  <a:lnTo>
                    <a:pt x="1581" y="16345"/>
                  </a:lnTo>
                  <a:lnTo>
                    <a:pt x="4913" y="16345"/>
                  </a:lnTo>
                  <a:lnTo>
                    <a:pt x="7757" y="19148"/>
                  </a:lnTo>
                  <a:lnTo>
                    <a:pt x="10993" y="21600"/>
                  </a:lnTo>
                  <a:lnTo>
                    <a:pt x="14223" y="19761"/>
                  </a:lnTo>
                  <a:lnTo>
                    <a:pt x="14972" y="14169"/>
                  </a:lnTo>
                  <a:lnTo>
                    <a:pt x="18108" y="8928"/>
                  </a:lnTo>
                  <a:lnTo>
                    <a:pt x="21600" y="7876"/>
                  </a:lnTo>
                  <a:lnTo>
                    <a:pt x="21600" y="3101"/>
                  </a:lnTo>
                  <a:lnTo>
                    <a:pt x="19411" y="1378"/>
                  </a:lnTo>
                  <a:lnTo>
                    <a:pt x="17621" y="692"/>
                  </a:lnTo>
                  <a:lnTo>
                    <a:pt x="12533" y="2093"/>
                  </a:lnTo>
                  <a:lnTo>
                    <a:pt x="10949" y="1393"/>
                  </a:lnTo>
                  <a:lnTo>
                    <a:pt x="831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70" name="ïṡḷiḋê">
              <a:extLst>
                <a:ext uri="{FF2B5EF4-FFF2-40B4-BE49-F238E27FC236}">
                  <a16:creationId xmlns:a16="http://schemas.microsoft.com/office/drawing/2014/main" id="{33B8E9DD-9BDB-483A-BA80-2BD0B5F8C85A}"/>
                </a:ext>
              </a:extLst>
            </p:cNvPr>
            <p:cNvSpPr/>
            <p:nvPr/>
          </p:nvSpPr>
          <p:spPr>
            <a:xfrm>
              <a:off x="4951705" y="2729160"/>
              <a:ext cx="2278812" cy="26127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905" y="1298"/>
                  </a:moveTo>
                  <a:lnTo>
                    <a:pt x="11748" y="1386"/>
                  </a:lnTo>
                  <a:lnTo>
                    <a:pt x="11649" y="1501"/>
                  </a:lnTo>
                  <a:lnTo>
                    <a:pt x="11657" y="1629"/>
                  </a:lnTo>
                  <a:lnTo>
                    <a:pt x="11744" y="1704"/>
                  </a:lnTo>
                  <a:lnTo>
                    <a:pt x="11765" y="1791"/>
                  </a:lnTo>
                  <a:lnTo>
                    <a:pt x="11622" y="1915"/>
                  </a:lnTo>
                  <a:lnTo>
                    <a:pt x="11470" y="2059"/>
                  </a:lnTo>
                  <a:lnTo>
                    <a:pt x="11326" y="2096"/>
                  </a:lnTo>
                  <a:lnTo>
                    <a:pt x="11204" y="2078"/>
                  </a:lnTo>
                  <a:lnTo>
                    <a:pt x="10972" y="2003"/>
                  </a:lnTo>
                  <a:lnTo>
                    <a:pt x="10824" y="1959"/>
                  </a:lnTo>
                  <a:lnTo>
                    <a:pt x="10659" y="1903"/>
                  </a:lnTo>
                  <a:lnTo>
                    <a:pt x="10370" y="1872"/>
                  </a:lnTo>
                  <a:lnTo>
                    <a:pt x="10297" y="1768"/>
                  </a:lnTo>
                  <a:lnTo>
                    <a:pt x="10194" y="1639"/>
                  </a:lnTo>
                  <a:lnTo>
                    <a:pt x="10095" y="1497"/>
                  </a:lnTo>
                  <a:lnTo>
                    <a:pt x="9893" y="1403"/>
                  </a:lnTo>
                  <a:lnTo>
                    <a:pt x="9738" y="1384"/>
                  </a:lnTo>
                  <a:lnTo>
                    <a:pt x="9487" y="1311"/>
                  </a:lnTo>
                  <a:lnTo>
                    <a:pt x="9256" y="1311"/>
                  </a:lnTo>
                  <a:lnTo>
                    <a:pt x="9130" y="1305"/>
                  </a:lnTo>
                  <a:lnTo>
                    <a:pt x="9053" y="1242"/>
                  </a:lnTo>
                  <a:lnTo>
                    <a:pt x="8911" y="1116"/>
                  </a:lnTo>
                  <a:lnTo>
                    <a:pt x="8694" y="947"/>
                  </a:lnTo>
                  <a:lnTo>
                    <a:pt x="8636" y="849"/>
                  </a:lnTo>
                  <a:lnTo>
                    <a:pt x="8687" y="761"/>
                  </a:lnTo>
                  <a:lnTo>
                    <a:pt x="8783" y="636"/>
                  </a:lnTo>
                  <a:lnTo>
                    <a:pt x="8776" y="548"/>
                  </a:lnTo>
                  <a:lnTo>
                    <a:pt x="8704" y="440"/>
                  </a:lnTo>
                  <a:lnTo>
                    <a:pt x="8651" y="369"/>
                  </a:lnTo>
                  <a:lnTo>
                    <a:pt x="8694" y="263"/>
                  </a:lnTo>
                  <a:lnTo>
                    <a:pt x="8750" y="213"/>
                  </a:lnTo>
                  <a:lnTo>
                    <a:pt x="8706" y="120"/>
                  </a:lnTo>
                  <a:lnTo>
                    <a:pt x="8574" y="53"/>
                  </a:lnTo>
                  <a:lnTo>
                    <a:pt x="8473" y="0"/>
                  </a:lnTo>
                  <a:lnTo>
                    <a:pt x="8301" y="31"/>
                  </a:lnTo>
                  <a:lnTo>
                    <a:pt x="8038" y="123"/>
                  </a:lnTo>
                  <a:lnTo>
                    <a:pt x="7831" y="167"/>
                  </a:lnTo>
                  <a:lnTo>
                    <a:pt x="7542" y="204"/>
                  </a:lnTo>
                  <a:lnTo>
                    <a:pt x="7323" y="198"/>
                  </a:lnTo>
                  <a:lnTo>
                    <a:pt x="7098" y="173"/>
                  </a:lnTo>
                  <a:lnTo>
                    <a:pt x="6861" y="167"/>
                  </a:lnTo>
                  <a:lnTo>
                    <a:pt x="6735" y="117"/>
                  </a:lnTo>
                  <a:lnTo>
                    <a:pt x="6538" y="97"/>
                  </a:lnTo>
                  <a:lnTo>
                    <a:pt x="6405" y="145"/>
                  </a:lnTo>
                  <a:lnTo>
                    <a:pt x="6221" y="214"/>
                  </a:lnTo>
                  <a:lnTo>
                    <a:pt x="6040" y="224"/>
                  </a:lnTo>
                  <a:lnTo>
                    <a:pt x="5774" y="295"/>
                  </a:lnTo>
                  <a:lnTo>
                    <a:pt x="5503" y="389"/>
                  </a:lnTo>
                  <a:lnTo>
                    <a:pt x="5346" y="481"/>
                  </a:lnTo>
                  <a:lnTo>
                    <a:pt x="5159" y="600"/>
                  </a:lnTo>
                  <a:lnTo>
                    <a:pt x="4994" y="675"/>
                  </a:lnTo>
                  <a:cubicBezTo>
                    <a:pt x="4958" y="685"/>
                    <a:pt x="4920" y="693"/>
                    <a:pt x="4883" y="698"/>
                  </a:cubicBezTo>
                  <a:cubicBezTo>
                    <a:pt x="4849" y="702"/>
                    <a:pt x="4815" y="704"/>
                    <a:pt x="4781" y="704"/>
                  </a:cubicBezTo>
                  <a:lnTo>
                    <a:pt x="4638" y="679"/>
                  </a:lnTo>
                  <a:lnTo>
                    <a:pt x="4547" y="675"/>
                  </a:lnTo>
                  <a:lnTo>
                    <a:pt x="4417" y="656"/>
                  </a:lnTo>
                  <a:lnTo>
                    <a:pt x="4244" y="637"/>
                  </a:lnTo>
                  <a:lnTo>
                    <a:pt x="4107" y="562"/>
                  </a:lnTo>
                  <a:lnTo>
                    <a:pt x="3988" y="482"/>
                  </a:lnTo>
                  <a:lnTo>
                    <a:pt x="3873" y="464"/>
                  </a:lnTo>
                  <a:lnTo>
                    <a:pt x="3807" y="533"/>
                  </a:lnTo>
                  <a:lnTo>
                    <a:pt x="3751" y="608"/>
                  </a:lnTo>
                  <a:lnTo>
                    <a:pt x="3646" y="730"/>
                  </a:lnTo>
                  <a:lnTo>
                    <a:pt x="3580" y="822"/>
                  </a:lnTo>
                  <a:lnTo>
                    <a:pt x="3480" y="939"/>
                  </a:lnTo>
                  <a:lnTo>
                    <a:pt x="3212" y="1058"/>
                  </a:lnTo>
                  <a:lnTo>
                    <a:pt x="2961" y="1162"/>
                  </a:lnTo>
                  <a:lnTo>
                    <a:pt x="2882" y="1237"/>
                  </a:lnTo>
                  <a:lnTo>
                    <a:pt x="2746" y="1325"/>
                  </a:lnTo>
                  <a:lnTo>
                    <a:pt x="2704" y="1430"/>
                  </a:lnTo>
                  <a:lnTo>
                    <a:pt x="2576" y="1610"/>
                  </a:lnTo>
                  <a:lnTo>
                    <a:pt x="2532" y="1707"/>
                  </a:lnTo>
                  <a:lnTo>
                    <a:pt x="2566" y="1826"/>
                  </a:lnTo>
                  <a:lnTo>
                    <a:pt x="2573" y="1918"/>
                  </a:lnTo>
                  <a:lnTo>
                    <a:pt x="2559" y="2012"/>
                  </a:lnTo>
                  <a:lnTo>
                    <a:pt x="2544" y="2114"/>
                  </a:lnTo>
                  <a:lnTo>
                    <a:pt x="2436" y="2195"/>
                  </a:lnTo>
                  <a:lnTo>
                    <a:pt x="2269" y="2330"/>
                  </a:lnTo>
                  <a:lnTo>
                    <a:pt x="2091" y="2512"/>
                  </a:lnTo>
                  <a:lnTo>
                    <a:pt x="1925" y="2605"/>
                  </a:lnTo>
                  <a:lnTo>
                    <a:pt x="1797" y="2653"/>
                  </a:lnTo>
                  <a:lnTo>
                    <a:pt x="1647" y="2722"/>
                  </a:lnTo>
                  <a:lnTo>
                    <a:pt x="1528" y="2808"/>
                  </a:lnTo>
                  <a:lnTo>
                    <a:pt x="1447" y="2931"/>
                  </a:lnTo>
                  <a:lnTo>
                    <a:pt x="1332" y="3038"/>
                  </a:lnTo>
                  <a:lnTo>
                    <a:pt x="1173" y="3213"/>
                  </a:lnTo>
                  <a:lnTo>
                    <a:pt x="1030" y="3388"/>
                  </a:lnTo>
                  <a:lnTo>
                    <a:pt x="1001" y="3475"/>
                  </a:lnTo>
                  <a:lnTo>
                    <a:pt x="951" y="3585"/>
                  </a:lnTo>
                  <a:lnTo>
                    <a:pt x="845" y="3723"/>
                  </a:lnTo>
                  <a:lnTo>
                    <a:pt x="700" y="3911"/>
                  </a:lnTo>
                  <a:lnTo>
                    <a:pt x="650" y="4048"/>
                  </a:lnTo>
                  <a:lnTo>
                    <a:pt x="448" y="4221"/>
                  </a:lnTo>
                  <a:lnTo>
                    <a:pt x="410" y="4305"/>
                  </a:lnTo>
                  <a:lnTo>
                    <a:pt x="349" y="4386"/>
                  </a:lnTo>
                  <a:lnTo>
                    <a:pt x="269" y="4455"/>
                  </a:lnTo>
                  <a:lnTo>
                    <a:pt x="232" y="4555"/>
                  </a:lnTo>
                  <a:lnTo>
                    <a:pt x="226" y="4651"/>
                  </a:lnTo>
                  <a:lnTo>
                    <a:pt x="176" y="4751"/>
                  </a:lnTo>
                  <a:lnTo>
                    <a:pt x="156" y="4813"/>
                  </a:lnTo>
                  <a:lnTo>
                    <a:pt x="163" y="4888"/>
                  </a:lnTo>
                  <a:lnTo>
                    <a:pt x="220" y="5002"/>
                  </a:lnTo>
                  <a:lnTo>
                    <a:pt x="292" y="5121"/>
                  </a:lnTo>
                  <a:lnTo>
                    <a:pt x="355" y="5258"/>
                  </a:lnTo>
                  <a:lnTo>
                    <a:pt x="369" y="5453"/>
                  </a:lnTo>
                  <a:lnTo>
                    <a:pt x="413" y="5578"/>
                  </a:lnTo>
                  <a:lnTo>
                    <a:pt x="477" y="5695"/>
                  </a:lnTo>
                  <a:lnTo>
                    <a:pt x="477" y="5825"/>
                  </a:lnTo>
                  <a:lnTo>
                    <a:pt x="441" y="5944"/>
                  </a:lnTo>
                  <a:lnTo>
                    <a:pt x="405" y="6019"/>
                  </a:lnTo>
                  <a:lnTo>
                    <a:pt x="391" y="6138"/>
                  </a:lnTo>
                  <a:lnTo>
                    <a:pt x="355" y="6250"/>
                  </a:lnTo>
                  <a:lnTo>
                    <a:pt x="307" y="6323"/>
                  </a:lnTo>
                  <a:lnTo>
                    <a:pt x="280" y="6392"/>
                  </a:lnTo>
                  <a:lnTo>
                    <a:pt x="215" y="6459"/>
                  </a:lnTo>
                  <a:lnTo>
                    <a:pt x="80" y="6545"/>
                  </a:lnTo>
                  <a:lnTo>
                    <a:pt x="0" y="6592"/>
                  </a:lnTo>
                  <a:lnTo>
                    <a:pt x="0" y="6680"/>
                  </a:lnTo>
                  <a:lnTo>
                    <a:pt x="74" y="6761"/>
                  </a:lnTo>
                  <a:lnTo>
                    <a:pt x="110" y="6891"/>
                  </a:lnTo>
                  <a:lnTo>
                    <a:pt x="117" y="7009"/>
                  </a:lnTo>
                  <a:lnTo>
                    <a:pt x="117" y="7138"/>
                  </a:lnTo>
                  <a:lnTo>
                    <a:pt x="61" y="7213"/>
                  </a:lnTo>
                  <a:lnTo>
                    <a:pt x="54" y="7299"/>
                  </a:lnTo>
                  <a:lnTo>
                    <a:pt x="185" y="7447"/>
                  </a:lnTo>
                  <a:lnTo>
                    <a:pt x="278" y="7578"/>
                  </a:lnTo>
                  <a:lnTo>
                    <a:pt x="459" y="7641"/>
                  </a:lnTo>
                  <a:lnTo>
                    <a:pt x="564" y="7676"/>
                  </a:lnTo>
                  <a:lnTo>
                    <a:pt x="670" y="7805"/>
                  </a:lnTo>
                  <a:lnTo>
                    <a:pt x="779" y="7951"/>
                  </a:lnTo>
                  <a:lnTo>
                    <a:pt x="880" y="8070"/>
                  </a:lnTo>
                  <a:lnTo>
                    <a:pt x="1010" y="8216"/>
                  </a:lnTo>
                  <a:lnTo>
                    <a:pt x="1152" y="8321"/>
                  </a:lnTo>
                  <a:lnTo>
                    <a:pt x="1238" y="8546"/>
                  </a:lnTo>
                  <a:lnTo>
                    <a:pt x="1195" y="8652"/>
                  </a:lnTo>
                  <a:lnTo>
                    <a:pt x="1275" y="8822"/>
                  </a:lnTo>
                  <a:lnTo>
                    <a:pt x="1378" y="8876"/>
                  </a:lnTo>
                  <a:lnTo>
                    <a:pt x="1513" y="8970"/>
                  </a:lnTo>
                  <a:lnTo>
                    <a:pt x="1679" y="9195"/>
                  </a:lnTo>
                  <a:lnTo>
                    <a:pt x="1843" y="9284"/>
                  </a:lnTo>
                  <a:lnTo>
                    <a:pt x="1963" y="9393"/>
                  </a:lnTo>
                  <a:lnTo>
                    <a:pt x="2026" y="9468"/>
                  </a:lnTo>
                  <a:lnTo>
                    <a:pt x="2137" y="9480"/>
                  </a:lnTo>
                  <a:lnTo>
                    <a:pt x="2185" y="9549"/>
                  </a:lnTo>
                  <a:lnTo>
                    <a:pt x="2387" y="9655"/>
                  </a:lnTo>
                  <a:lnTo>
                    <a:pt x="2546" y="9722"/>
                  </a:lnTo>
                  <a:lnTo>
                    <a:pt x="2676" y="9747"/>
                  </a:lnTo>
                  <a:lnTo>
                    <a:pt x="2864" y="9801"/>
                  </a:lnTo>
                  <a:lnTo>
                    <a:pt x="3059" y="9868"/>
                  </a:lnTo>
                  <a:lnTo>
                    <a:pt x="3321" y="9803"/>
                  </a:lnTo>
                  <a:lnTo>
                    <a:pt x="3355" y="9741"/>
                  </a:lnTo>
                  <a:lnTo>
                    <a:pt x="3514" y="9656"/>
                  </a:lnTo>
                  <a:lnTo>
                    <a:pt x="3671" y="9656"/>
                  </a:lnTo>
                  <a:lnTo>
                    <a:pt x="3834" y="9668"/>
                  </a:lnTo>
                  <a:lnTo>
                    <a:pt x="3928" y="9618"/>
                  </a:lnTo>
                  <a:lnTo>
                    <a:pt x="4065" y="9568"/>
                  </a:lnTo>
                  <a:lnTo>
                    <a:pt x="4183" y="9562"/>
                  </a:lnTo>
                  <a:lnTo>
                    <a:pt x="4264" y="9614"/>
                  </a:lnTo>
                  <a:lnTo>
                    <a:pt x="4399" y="9656"/>
                  </a:lnTo>
                  <a:lnTo>
                    <a:pt x="4491" y="9685"/>
                  </a:lnTo>
                  <a:lnTo>
                    <a:pt x="4570" y="9697"/>
                  </a:lnTo>
                  <a:lnTo>
                    <a:pt x="4741" y="9672"/>
                  </a:lnTo>
                  <a:lnTo>
                    <a:pt x="4835" y="9629"/>
                  </a:lnTo>
                  <a:lnTo>
                    <a:pt x="5049" y="9541"/>
                  </a:lnTo>
                  <a:lnTo>
                    <a:pt x="5236" y="9504"/>
                  </a:lnTo>
                  <a:lnTo>
                    <a:pt x="5409" y="9560"/>
                  </a:lnTo>
                  <a:lnTo>
                    <a:pt x="5568" y="9456"/>
                  </a:lnTo>
                  <a:lnTo>
                    <a:pt x="5900" y="9362"/>
                  </a:lnTo>
                  <a:lnTo>
                    <a:pt x="6211" y="9231"/>
                  </a:lnTo>
                  <a:lnTo>
                    <a:pt x="6387" y="9206"/>
                  </a:lnTo>
                  <a:lnTo>
                    <a:pt x="6552" y="9212"/>
                  </a:lnTo>
                  <a:lnTo>
                    <a:pt x="6746" y="9256"/>
                  </a:lnTo>
                  <a:lnTo>
                    <a:pt x="6865" y="9309"/>
                  </a:lnTo>
                  <a:lnTo>
                    <a:pt x="6951" y="9353"/>
                  </a:lnTo>
                  <a:lnTo>
                    <a:pt x="7023" y="9409"/>
                  </a:lnTo>
                  <a:lnTo>
                    <a:pt x="7103" y="9497"/>
                  </a:lnTo>
                  <a:lnTo>
                    <a:pt x="7134" y="9626"/>
                  </a:lnTo>
                  <a:lnTo>
                    <a:pt x="7148" y="9713"/>
                  </a:lnTo>
                  <a:lnTo>
                    <a:pt x="7170" y="9786"/>
                  </a:lnTo>
                  <a:lnTo>
                    <a:pt x="7298" y="9829"/>
                  </a:lnTo>
                  <a:lnTo>
                    <a:pt x="7435" y="9842"/>
                  </a:lnTo>
                  <a:lnTo>
                    <a:pt x="7584" y="9786"/>
                  </a:lnTo>
                  <a:lnTo>
                    <a:pt x="7980" y="9786"/>
                  </a:lnTo>
                  <a:lnTo>
                    <a:pt x="8202" y="9831"/>
                  </a:lnTo>
                  <a:lnTo>
                    <a:pt x="8289" y="9968"/>
                  </a:lnTo>
                  <a:lnTo>
                    <a:pt x="8455" y="10087"/>
                  </a:lnTo>
                  <a:lnTo>
                    <a:pt x="8491" y="10175"/>
                  </a:lnTo>
                  <a:lnTo>
                    <a:pt x="8498" y="10323"/>
                  </a:lnTo>
                  <a:lnTo>
                    <a:pt x="8534" y="10455"/>
                  </a:lnTo>
                  <a:lnTo>
                    <a:pt x="8534" y="10567"/>
                  </a:lnTo>
                  <a:lnTo>
                    <a:pt x="8486" y="10709"/>
                  </a:lnTo>
                  <a:lnTo>
                    <a:pt x="8438" y="10877"/>
                  </a:lnTo>
                  <a:lnTo>
                    <a:pt x="8421" y="11008"/>
                  </a:lnTo>
                  <a:lnTo>
                    <a:pt x="8356" y="11171"/>
                  </a:lnTo>
                  <a:lnTo>
                    <a:pt x="8236" y="11348"/>
                  </a:lnTo>
                  <a:lnTo>
                    <a:pt x="8272" y="11458"/>
                  </a:lnTo>
                  <a:lnTo>
                    <a:pt x="8279" y="11545"/>
                  </a:lnTo>
                  <a:lnTo>
                    <a:pt x="8322" y="11649"/>
                  </a:lnTo>
                  <a:lnTo>
                    <a:pt x="8387" y="11749"/>
                  </a:lnTo>
                  <a:lnTo>
                    <a:pt x="8437" y="11849"/>
                  </a:lnTo>
                  <a:lnTo>
                    <a:pt x="8567" y="11936"/>
                  </a:lnTo>
                  <a:lnTo>
                    <a:pt x="8726" y="12086"/>
                  </a:lnTo>
                  <a:lnTo>
                    <a:pt x="8935" y="12257"/>
                  </a:lnTo>
                  <a:lnTo>
                    <a:pt x="9193" y="12538"/>
                  </a:lnTo>
                  <a:lnTo>
                    <a:pt x="9222" y="12667"/>
                  </a:lnTo>
                  <a:lnTo>
                    <a:pt x="9215" y="12761"/>
                  </a:lnTo>
                  <a:lnTo>
                    <a:pt x="9229" y="12888"/>
                  </a:lnTo>
                  <a:lnTo>
                    <a:pt x="9266" y="13018"/>
                  </a:lnTo>
                  <a:lnTo>
                    <a:pt x="9302" y="13097"/>
                  </a:lnTo>
                  <a:lnTo>
                    <a:pt x="9403" y="13235"/>
                  </a:lnTo>
                  <a:lnTo>
                    <a:pt x="9453" y="13316"/>
                  </a:lnTo>
                  <a:lnTo>
                    <a:pt x="9566" y="13451"/>
                  </a:lnTo>
                  <a:lnTo>
                    <a:pt x="9766" y="13633"/>
                  </a:lnTo>
                  <a:lnTo>
                    <a:pt x="9692" y="13770"/>
                  </a:lnTo>
                  <a:lnTo>
                    <a:pt x="9591" y="13864"/>
                  </a:lnTo>
                  <a:lnTo>
                    <a:pt x="9591" y="13962"/>
                  </a:lnTo>
                  <a:lnTo>
                    <a:pt x="9620" y="14068"/>
                  </a:lnTo>
                  <a:lnTo>
                    <a:pt x="9710" y="14197"/>
                  </a:lnTo>
                  <a:lnTo>
                    <a:pt x="9780" y="14370"/>
                  </a:lnTo>
                  <a:lnTo>
                    <a:pt x="9795" y="14482"/>
                  </a:lnTo>
                  <a:lnTo>
                    <a:pt x="9802" y="14588"/>
                  </a:lnTo>
                  <a:lnTo>
                    <a:pt x="9775" y="14690"/>
                  </a:lnTo>
                  <a:lnTo>
                    <a:pt x="9739" y="14790"/>
                  </a:lnTo>
                  <a:lnTo>
                    <a:pt x="9667" y="14915"/>
                  </a:lnTo>
                  <a:lnTo>
                    <a:pt x="9609" y="15021"/>
                  </a:lnTo>
                  <a:lnTo>
                    <a:pt x="9530" y="15132"/>
                  </a:lnTo>
                  <a:lnTo>
                    <a:pt x="9479" y="15276"/>
                  </a:lnTo>
                  <a:lnTo>
                    <a:pt x="9395" y="15443"/>
                  </a:lnTo>
                  <a:lnTo>
                    <a:pt x="9345" y="15586"/>
                  </a:lnTo>
                  <a:lnTo>
                    <a:pt x="9275" y="15726"/>
                  </a:lnTo>
                  <a:lnTo>
                    <a:pt x="9162" y="15929"/>
                  </a:lnTo>
                  <a:lnTo>
                    <a:pt x="9125" y="16060"/>
                  </a:lnTo>
                  <a:lnTo>
                    <a:pt x="9118" y="16204"/>
                  </a:lnTo>
                  <a:lnTo>
                    <a:pt x="9133" y="16366"/>
                  </a:lnTo>
                  <a:lnTo>
                    <a:pt x="9145" y="16558"/>
                  </a:lnTo>
                  <a:lnTo>
                    <a:pt x="9224" y="16671"/>
                  </a:lnTo>
                  <a:lnTo>
                    <a:pt x="9275" y="16808"/>
                  </a:lnTo>
                  <a:lnTo>
                    <a:pt x="9364" y="16942"/>
                  </a:lnTo>
                  <a:lnTo>
                    <a:pt x="9448" y="17105"/>
                  </a:lnTo>
                  <a:lnTo>
                    <a:pt x="9540" y="17211"/>
                  </a:lnTo>
                  <a:lnTo>
                    <a:pt x="9663" y="17399"/>
                  </a:lnTo>
                  <a:lnTo>
                    <a:pt x="9739" y="17522"/>
                  </a:lnTo>
                  <a:lnTo>
                    <a:pt x="9826" y="17703"/>
                  </a:lnTo>
                  <a:lnTo>
                    <a:pt x="9978" y="17846"/>
                  </a:lnTo>
                  <a:lnTo>
                    <a:pt x="9978" y="17984"/>
                  </a:lnTo>
                  <a:lnTo>
                    <a:pt x="10014" y="18084"/>
                  </a:lnTo>
                  <a:lnTo>
                    <a:pt x="10050" y="18240"/>
                  </a:lnTo>
                  <a:lnTo>
                    <a:pt x="10081" y="18371"/>
                  </a:lnTo>
                  <a:lnTo>
                    <a:pt x="10146" y="18518"/>
                  </a:lnTo>
                  <a:lnTo>
                    <a:pt x="10197" y="18674"/>
                  </a:lnTo>
                  <a:lnTo>
                    <a:pt x="10223" y="18828"/>
                  </a:lnTo>
                  <a:lnTo>
                    <a:pt x="10173" y="18905"/>
                  </a:lnTo>
                  <a:cubicBezTo>
                    <a:pt x="10161" y="18932"/>
                    <a:pt x="10154" y="18960"/>
                    <a:pt x="10154" y="18989"/>
                  </a:cubicBezTo>
                  <a:cubicBezTo>
                    <a:pt x="10153" y="19050"/>
                    <a:pt x="10179" y="19109"/>
                    <a:pt x="10226" y="19154"/>
                  </a:cubicBezTo>
                  <a:lnTo>
                    <a:pt x="10226" y="19319"/>
                  </a:lnTo>
                  <a:lnTo>
                    <a:pt x="10198" y="19438"/>
                  </a:lnTo>
                  <a:lnTo>
                    <a:pt x="10205" y="19569"/>
                  </a:lnTo>
                  <a:lnTo>
                    <a:pt x="10335" y="19657"/>
                  </a:lnTo>
                  <a:cubicBezTo>
                    <a:pt x="10390" y="19680"/>
                    <a:pt x="10437" y="19714"/>
                    <a:pt x="10472" y="19757"/>
                  </a:cubicBezTo>
                  <a:cubicBezTo>
                    <a:pt x="10520" y="19816"/>
                    <a:pt x="10543" y="19887"/>
                    <a:pt x="10537" y="19959"/>
                  </a:cubicBezTo>
                  <a:cubicBezTo>
                    <a:pt x="10582" y="19972"/>
                    <a:pt x="10624" y="19991"/>
                    <a:pt x="10662" y="20015"/>
                  </a:cubicBezTo>
                  <a:cubicBezTo>
                    <a:pt x="10709" y="20045"/>
                    <a:pt x="10748" y="20083"/>
                    <a:pt x="10778" y="20126"/>
                  </a:cubicBezTo>
                  <a:lnTo>
                    <a:pt x="10833" y="20258"/>
                  </a:lnTo>
                  <a:lnTo>
                    <a:pt x="10886" y="20443"/>
                  </a:lnTo>
                  <a:lnTo>
                    <a:pt x="10987" y="20518"/>
                  </a:lnTo>
                  <a:lnTo>
                    <a:pt x="11146" y="20643"/>
                  </a:lnTo>
                  <a:lnTo>
                    <a:pt x="11228" y="20767"/>
                  </a:lnTo>
                  <a:lnTo>
                    <a:pt x="11192" y="20929"/>
                  </a:lnTo>
                  <a:lnTo>
                    <a:pt x="11116" y="20979"/>
                  </a:lnTo>
                  <a:lnTo>
                    <a:pt x="11094" y="21129"/>
                  </a:lnTo>
                  <a:lnTo>
                    <a:pt x="11138" y="21216"/>
                  </a:lnTo>
                  <a:lnTo>
                    <a:pt x="11232" y="21323"/>
                  </a:lnTo>
                  <a:lnTo>
                    <a:pt x="11296" y="21404"/>
                  </a:lnTo>
                  <a:lnTo>
                    <a:pt x="11398" y="21485"/>
                  </a:lnTo>
                  <a:lnTo>
                    <a:pt x="11510" y="21554"/>
                  </a:lnTo>
                  <a:lnTo>
                    <a:pt x="11611" y="21600"/>
                  </a:lnTo>
                  <a:lnTo>
                    <a:pt x="11710" y="21587"/>
                  </a:lnTo>
                  <a:lnTo>
                    <a:pt x="11885" y="21519"/>
                  </a:lnTo>
                  <a:lnTo>
                    <a:pt x="12056" y="21494"/>
                  </a:lnTo>
                  <a:lnTo>
                    <a:pt x="12201" y="21481"/>
                  </a:lnTo>
                  <a:lnTo>
                    <a:pt x="12338" y="21418"/>
                  </a:lnTo>
                  <a:lnTo>
                    <a:pt x="12439" y="21389"/>
                  </a:lnTo>
                  <a:lnTo>
                    <a:pt x="12576" y="21408"/>
                  </a:lnTo>
                  <a:lnTo>
                    <a:pt x="12739" y="21426"/>
                  </a:lnTo>
                  <a:lnTo>
                    <a:pt x="12983" y="21499"/>
                  </a:lnTo>
                  <a:lnTo>
                    <a:pt x="13082" y="21535"/>
                  </a:lnTo>
                  <a:lnTo>
                    <a:pt x="13262" y="21478"/>
                  </a:lnTo>
                  <a:lnTo>
                    <a:pt x="13457" y="21372"/>
                  </a:lnTo>
                  <a:lnTo>
                    <a:pt x="13645" y="21293"/>
                  </a:lnTo>
                  <a:lnTo>
                    <a:pt x="13855" y="21184"/>
                  </a:lnTo>
                  <a:lnTo>
                    <a:pt x="13917" y="21124"/>
                  </a:lnTo>
                  <a:lnTo>
                    <a:pt x="14020" y="21112"/>
                  </a:lnTo>
                  <a:lnTo>
                    <a:pt x="14140" y="20918"/>
                  </a:lnTo>
                  <a:lnTo>
                    <a:pt x="14308" y="20841"/>
                  </a:lnTo>
                  <a:lnTo>
                    <a:pt x="14496" y="20735"/>
                  </a:lnTo>
                  <a:lnTo>
                    <a:pt x="14532" y="20631"/>
                  </a:lnTo>
                  <a:cubicBezTo>
                    <a:pt x="14523" y="20597"/>
                    <a:pt x="14526" y="20563"/>
                    <a:pt x="14539" y="20531"/>
                  </a:cubicBezTo>
                  <a:cubicBezTo>
                    <a:pt x="14575" y="20440"/>
                    <a:pt x="14682" y="20384"/>
                    <a:pt x="14791" y="20399"/>
                  </a:cubicBezTo>
                  <a:lnTo>
                    <a:pt x="14996" y="20260"/>
                  </a:lnTo>
                  <a:lnTo>
                    <a:pt x="15107" y="20110"/>
                  </a:lnTo>
                  <a:lnTo>
                    <a:pt x="15150" y="19997"/>
                  </a:lnTo>
                  <a:lnTo>
                    <a:pt x="15186" y="19891"/>
                  </a:lnTo>
                  <a:lnTo>
                    <a:pt x="15369" y="19792"/>
                  </a:lnTo>
                  <a:lnTo>
                    <a:pt x="15454" y="19676"/>
                  </a:lnTo>
                  <a:lnTo>
                    <a:pt x="15576" y="19632"/>
                  </a:lnTo>
                  <a:lnTo>
                    <a:pt x="15638" y="19549"/>
                  </a:lnTo>
                  <a:lnTo>
                    <a:pt x="15609" y="19482"/>
                  </a:lnTo>
                  <a:lnTo>
                    <a:pt x="15554" y="19391"/>
                  </a:lnTo>
                  <a:lnTo>
                    <a:pt x="15540" y="19247"/>
                  </a:lnTo>
                  <a:lnTo>
                    <a:pt x="15594" y="18994"/>
                  </a:lnTo>
                  <a:lnTo>
                    <a:pt x="15680" y="18888"/>
                  </a:lnTo>
                  <a:lnTo>
                    <a:pt x="15783" y="18803"/>
                  </a:lnTo>
                  <a:lnTo>
                    <a:pt x="16108" y="18703"/>
                  </a:lnTo>
                  <a:lnTo>
                    <a:pt x="16294" y="18563"/>
                  </a:lnTo>
                  <a:lnTo>
                    <a:pt x="16356" y="18482"/>
                  </a:lnTo>
                  <a:lnTo>
                    <a:pt x="16450" y="18419"/>
                  </a:lnTo>
                  <a:lnTo>
                    <a:pt x="16505" y="18325"/>
                  </a:lnTo>
                  <a:lnTo>
                    <a:pt x="16541" y="18156"/>
                  </a:lnTo>
                  <a:lnTo>
                    <a:pt x="16548" y="18043"/>
                  </a:lnTo>
                  <a:lnTo>
                    <a:pt x="16548" y="17943"/>
                  </a:lnTo>
                  <a:lnTo>
                    <a:pt x="16457" y="17826"/>
                  </a:lnTo>
                  <a:lnTo>
                    <a:pt x="16334" y="17670"/>
                  </a:lnTo>
                  <a:lnTo>
                    <a:pt x="16240" y="17538"/>
                  </a:lnTo>
                  <a:lnTo>
                    <a:pt x="16254" y="17449"/>
                  </a:lnTo>
                  <a:lnTo>
                    <a:pt x="16304" y="17342"/>
                  </a:lnTo>
                  <a:lnTo>
                    <a:pt x="16369" y="17186"/>
                  </a:lnTo>
                  <a:lnTo>
                    <a:pt x="16451" y="17084"/>
                  </a:lnTo>
                  <a:lnTo>
                    <a:pt x="16585" y="16986"/>
                  </a:lnTo>
                  <a:lnTo>
                    <a:pt x="16672" y="16904"/>
                  </a:lnTo>
                  <a:lnTo>
                    <a:pt x="16819" y="16806"/>
                  </a:lnTo>
                  <a:lnTo>
                    <a:pt x="16908" y="16667"/>
                  </a:lnTo>
                  <a:lnTo>
                    <a:pt x="17014" y="16561"/>
                  </a:lnTo>
                  <a:lnTo>
                    <a:pt x="17093" y="16492"/>
                  </a:lnTo>
                  <a:lnTo>
                    <a:pt x="17208" y="16417"/>
                  </a:lnTo>
                  <a:lnTo>
                    <a:pt x="17512" y="16298"/>
                  </a:lnTo>
                  <a:lnTo>
                    <a:pt x="17764" y="16173"/>
                  </a:lnTo>
                  <a:lnTo>
                    <a:pt x="17834" y="16130"/>
                  </a:lnTo>
                  <a:lnTo>
                    <a:pt x="18026" y="15990"/>
                  </a:lnTo>
                  <a:cubicBezTo>
                    <a:pt x="18082" y="15956"/>
                    <a:pt x="18127" y="15911"/>
                    <a:pt x="18157" y="15859"/>
                  </a:cubicBezTo>
                  <a:cubicBezTo>
                    <a:pt x="18188" y="15803"/>
                    <a:pt x="18203" y="15741"/>
                    <a:pt x="18198" y="15679"/>
                  </a:cubicBezTo>
                  <a:lnTo>
                    <a:pt x="18246" y="15583"/>
                  </a:lnTo>
                  <a:lnTo>
                    <a:pt x="18366" y="15487"/>
                  </a:lnTo>
                  <a:lnTo>
                    <a:pt x="18345" y="15404"/>
                  </a:lnTo>
                  <a:lnTo>
                    <a:pt x="18243" y="15335"/>
                  </a:lnTo>
                  <a:lnTo>
                    <a:pt x="18279" y="15179"/>
                  </a:lnTo>
                  <a:lnTo>
                    <a:pt x="18265" y="15022"/>
                  </a:lnTo>
                  <a:lnTo>
                    <a:pt x="18188" y="14962"/>
                  </a:lnTo>
                  <a:cubicBezTo>
                    <a:pt x="18199" y="14916"/>
                    <a:pt x="18210" y="14869"/>
                    <a:pt x="18222" y="14823"/>
                  </a:cubicBezTo>
                  <a:cubicBezTo>
                    <a:pt x="18246" y="14730"/>
                    <a:pt x="18271" y="14638"/>
                    <a:pt x="18299" y="14547"/>
                  </a:cubicBezTo>
                  <a:lnTo>
                    <a:pt x="18285" y="14483"/>
                  </a:lnTo>
                  <a:lnTo>
                    <a:pt x="18215" y="14353"/>
                  </a:lnTo>
                  <a:lnTo>
                    <a:pt x="18136" y="14247"/>
                  </a:lnTo>
                  <a:lnTo>
                    <a:pt x="18078" y="14173"/>
                  </a:lnTo>
                  <a:lnTo>
                    <a:pt x="18002" y="14079"/>
                  </a:lnTo>
                  <a:lnTo>
                    <a:pt x="17843" y="13717"/>
                  </a:lnTo>
                  <a:lnTo>
                    <a:pt x="17758" y="13550"/>
                  </a:lnTo>
                  <a:lnTo>
                    <a:pt x="17758" y="13409"/>
                  </a:lnTo>
                  <a:lnTo>
                    <a:pt x="17751" y="13334"/>
                  </a:lnTo>
                  <a:lnTo>
                    <a:pt x="17751" y="13215"/>
                  </a:lnTo>
                  <a:lnTo>
                    <a:pt x="17758" y="13096"/>
                  </a:lnTo>
                  <a:lnTo>
                    <a:pt x="17763" y="12990"/>
                  </a:lnTo>
                  <a:lnTo>
                    <a:pt x="17785" y="12871"/>
                  </a:lnTo>
                  <a:lnTo>
                    <a:pt x="17806" y="12777"/>
                  </a:lnTo>
                  <a:lnTo>
                    <a:pt x="17847" y="12656"/>
                  </a:lnTo>
                  <a:lnTo>
                    <a:pt x="17869" y="12508"/>
                  </a:lnTo>
                  <a:lnTo>
                    <a:pt x="17948" y="12397"/>
                  </a:lnTo>
                  <a:lnTo>
                    <a:pt x="17975" y="12341"/>
                  </a:lnTo>
                  <a:lnTo>
                    <a:pt x="18025" y="12266"/>
                  </a:lnTo>
                  <a:lnTo>
                    <a:pt x="18119" y="12160"/>
                  </a:lnTo>
                  <a:lnTo>
                    <a:pt x="18213" y="12103"/>
                  </a:lnTo>
                  <a:lnTo>
                    <a:pt x="18266" y="11989"/>
                  </a:lnTo>
                  <a:lnTo>
                    <a:pt x="18374" y="11916"/>
                  </a:lnTo>
                  <a:lnTo>
                    <a:pt x="18483" y="11840"/>
                  </a:lnTo>
                  <a:lnTo>
                    <a:pt x="18706" y="11666"/>
                  </a:lnTo>
                  <a:lnTo>
                    <a:pt x="18844" y="11494"/>
                  </a:lnTo>
                  <a:lnTo>
                    <a:pt x="18938" y="11331"/>
                  </a:lnTo>
                  <a:lnTo>
                    <a:pt x="19010" y="11281"/>
                  </a:lnTo>
                  <a:lnTo>
                    <a:pt x="19096" y="11194"/>
                  </a:lnTo>
                  <a:lnTo>
                    <a:pt x="19175" y="11131"/>
                  </a:lnTo>
                  <a:lnTo>
                    <a:pt x="19282" y="10996"/>
                  </a:lnTo>
                  <a:lnTo>
                    <a:pt x="19324" y="10940"/>
                  </a:lnTo>
                  <a:lnTo>
                    <a:pt x="19389" y="10872"/>
                  </a:lnTo>
                  <a:lnTo>
                    <a:pt x="19524" y="10799"/>
                  </a:lnTo>
                  <a:cubicBezTo>
                    <a:pt x="19560" y="10778"/>
                    <a:pt x="19596" y="10758"/>
                    <a:pt x="19632" y="10738"/>
                  </a:cubicBezTo>
                  <a:cubicBezTo>
                    <a:pt x="19704" y="10698"/>
                    <a:pt x="19777" y="10660"/>
                    <a:pt x="19849" y="10621"/>
                  </a:cubicBezTo>
                  <a:lnTo>
                    <a:pt x="20001" y="10465"/>
                  </a:lnTo>
                  <a:lnTo>
                    <a:pt x="20044" y="10396"/>
                  </a:lnTo>
                  <a:lnTo>
                    <a:pt x="20145" y="10315"/>
                  </a:lnTo>
                  <a:lnTo>
                    <a:pt x="20246" y="10299"/>
                  </a:lnTo>
                  <a:lnTo>
                    <a:pt x="20366" y="10226"/>
                  </a:lnTo>
                  <a:cubicBezTo>
                    <a:pt x="20392" y="10200"/>
                    <a:pt x="20416" y="10173"/>
                    <a:pt x="20438" y="10144"/>
                  </a:cubicBezTo>
                  <a:cubicBezTo>
                    <a:pt x="20479" y="10093"/>
                    <a:pt x="20513" y="10038"/>
                    <a:pt x="20540" y="9980"/>
                  </a:cubicBezTo>
                  <a:lnTo>
                    <a:pt x="20669" y="9713"/>
                  </a:lnTo>
                  <a:lnTo>
                    <a:pt x="20763" y="9627"/>
                  </a:lnTo>
                  <a:lnTo>
                    <a:pt x="20850" y="9427"/>
                  </a:lnTo>
                  <a:lnTo>
                    <a:pt x="21053" y="9218"/>
                  </a:lnTo>
                  <a:lnTo>
                    <a:pt x="21106" y="9101"/>
                  </a:lnTo>
                  <a:lnTo>
                    <a:pt x="21207" y="8920"/>
                  </a:lnTo>
                  <a:lnTo>
                    <a:pt x="21270" y="8773"/>
                  </a:lnTo>
                  <a:lnTo>
                    <a:pt x="21345" y="8665"/>
                  </a:lnTo>
                  <a:lnTo>
                    <a:pt x="21410" y="8525"/>
                  </a:lnTo>
                  <a:lnTo>
                    <a:pt x="21516" y="8371"/>
                  </a:lnTo>
                  <a:lnTo>
                    <a:pt x="21542" y="8283"/>
                  </a:lnTo>
                  <a:lnTo>
                    <a:pt x="21600" y="8133"/>
                  </a:lnTo>
                  <a:lnTo>
                    <a:pt x="21600" y="8003"/>
                  </a:lnTo>
                  <a:lnTo>
                    <a:pt x="21549" y="7866"/>
                  </a:lnTo>
                  <a:lnTo>
                    <a:pt x="21537" y="7747"/>
                  </a:lnTo>
                  <a:lnTo>
                    <a:pt x="21528" y="7674"/>
                  </a:lnTo>
                  <a:lnTo>
                    <a:pt x="21417" y="7699"/>
                  </a:lnTo>
                  <a:lnTo>
                    <a:pt x="21251" y="7784"/>
                  </a:lnTo>
                  <a:lnTo>
                    <a:pt x="20953" y="7845"/>
                  </a:lnTo>
                  <a:lnTo>
                    <a:pt x="20707" y="7931"/>
                  </a:lnTo>
                  <a:lnTo>
                    <a:pt x="20477" y="7987"/>
                  </a:lnTo>
                  <a:lnTo>
                    <a:pt x="20226" y="8018"/>
                  </a:lnTo>
                  <a:lnTo>
                    <a:pt x="19987" y="8056"/>
                  </a:lnTo>
                  <a:lnTo>
                    <a:pt x="19901" y="8080"/>
                  </a:lnTo>
                  <a:lnTo>
                    <a:pt x="19803" y="8110"/>
                  </a:lnTo>
                  <a:lnTo>
                    <a:pt x="19721" y="8116"/>
                  </a:lnTo>
                  <a:lnTo>
                    <a:pt x="19490" y="8053"/>
                  </a:lnTo>
                  <a:cubicBezTo>
                    <a:pt x="19444" y="8038"/>
                    <a:pt x="19398" y="8022"/>
                    <a:pt x="19353" y="8003"/>
                  </a:cubicBezTo>
                  <a:cubicBezTo>
                    <a:pt x="19301" y="7982"/>
                    <a:pt x="19251" y="7959"/>
                    <a:pt x="19202" y="7934"/>
                  </a:cubicBezTo>
                  <a:lnTo>
                    <a:pt x="19144" y="7826"/>
                  </a:lnTo>
                  <a:lnTo>
                    <a:pt x="19151" y="7733"/>
                  </a:lnTo>
                  <a:lnTo>
                    <a:pt x="19091" y="7614"/>
                  </a:lnTo>
                  <a:lnTo>
                    <a:pt x="19062" y="7518"/>
                  </a:lnTo>
                  <a:lnTo>
                    <a:pt x="19033" y="7385"/>
                  </a:lnTo>
                  <a:lnTo>
                    <a:pt x="18862" y="7343"/>
                  </a:lnTo>
                  <a:lnTo>
                    <a:pt x="18805" y="7243"/>
                  </a:lnTo>
                  <a:lnTo>
                    <a:pt x="18783" y="7166"/>
                  </a:lnTo>
                  <a:lnTo>
                    <a:pt x="18632" y="7073"/>
                  </a:lnTo>
                  <a:lnTo>
                    <a:pt x="18605" y="6906"/>
                  </a:lnTo>
                  <a:lnTo>
                    <a:pt x="18519" y="6897"/>
                  </a:lnTo>
                  <a:cubicBezTo>
                    <a:pt x="18492" y="6901"/>
                    <a:pt x="18465" y="6899"/>
                    <a:pt x="18439" y="6891"/>
                  </a:cubicBezTo>
                  <a:cubicBezTo>
                    <a:pt x="18366" y="6870"/>
                    <a:pt x="18317" y="6810"/>
                    <a:pt x="18316" y="6743"/>
                  </a:cubicBezTo>
                  <a:cubicBezTo>
                    <a:pt x="18302" y="6716"/>
                    <a:pt x="18283" y="6691"/>
                    <a:pt x="18261" y="6668"/>
                  </a:cubicBezTo>
                  <a:cubicBezTo>
                    <a:pt x="18230" y="6636"/>
                    <a:pt x="18191" y="6609"/>
                    <a:pt x="18148" y="6589"/>
                  </a:cubicBezTo>
                  <a:lnTo>
                    <a:pt x="18030" y="6579"/>
                  </a:lnTo>
                  <a:lnTo>
                    <a:pt x="17871" y="6463"/>
                  </a:lnTo>
                  <a:lnTo>
                    <a:pt x="17771" y="6355"/>
                  </a:lnTo>
                  <a:lnTo>
                    <a:pt x="17792" y="6247"/>
                  </a:lnTo>
                  <a:lnTo>
                    <a:pt x="17721" y="6185"/>
                  </a:lnTo>
                  <a:lnTo>
                    <a:pt x="17713" y="6087"/>
                  </a:lnTo>
                  <a:lnTo>
                    <a:pt x="17711" y="6006"/>
                  </a:lnTo>
                  <a:lnTo>
                    <a:pt x="17530" y="5908"/>
                  </a:lnTo>
                  <a:lnTo>
                    <a:pt x="17460" y="5774"/>
                  </a:lnTo>
                  <a:lnTo>
                    <a:pt x="17402" y="5680"/>
                  </a:lnTo>
                  <a:lnTo>
                    <a:pt x="17258" y="5530"/>
                  </a:lnTo>
                  <a:lnTo>
                    <a:pt x="17183" y="5451"/>
                  </a:lnTo>
                  <a:lnTo>
                    <a:pt x="17082" y="5351"/>
                  </a:lnTo>
                  <a:lnTo>
                    <a:pt x="17048" y="5222"/>
                  </a:lnTo>
                  <a:lnTo>
                    <a:pt x="17048" y="5089"/>
                  </a:lnTo>
                  <a:cubicBezTo>
                    <a:pt x="17065" y="5018"/>
                    <a:pt x="17060" y="4945"/>
                    <a:pt x="17034" y="4876"/>
                  </a:cubicBezTo>
                  <a:cubicBezTo>
                    <a:pt x="17013" y="4820"/>
                    <a:pt x="16978" y="4769"/>
                    <a:pt x="16933" y="4726"/>
                  </a:cubicBezTo>
                  <a:lnTo>
                    <a:pt x="16889" y="4630"/>
                  </a:lnTo>
                  <a:lnTo>
                    <a:pt x="16775" y="4458"/>
                  </a:lnTo>
                  <a:lnTo>
                    <a:pt x="16501" y="4341"/>
                  </a:lnTo>
                  <a:lnTo>
                    <a:pt x="16472" y="4199"/>
                  </a:lnTo>
                  <a:cubicBezTo>
                    <a:pt x="16470" y="4140"/>
                    <a:pt x="16461" y="4082"/>
                    <a:pt x="16443" y="4024"/>
                  </a:cubicBezTo>
                  <a:cubicBezTo>
                    <a:pt x="16425" y="3965"/>
                    <a:pt x="16398" y="3909"/>
                    <a:pt x="16363" y="3855"/>
                  </a:cubicBezTo>
                  <a:lnTo>
                    <a:pt x="16291" y="3674"/>
                  </a:lnTo>
                  <a:cubicBezTo>
                    <a:pt x="16289" y="3647"/>
                    <a:pt x="16285" y="3621"/>
                    <a:pt x="16277" y="3595"/>
                  </a:cubicBezTo>
                  <a:cubicBezTo>
                    <a:pt x="16256" y="3522"/>
                    <a:pt x="16213" y="3455"/>
                    <a:pt x="16154" y="3401"/>
                  </a:cubicBezTo>
                  <a:lnTo>
                    <a:pt x="16039" y="3250"/>
                  </a:lnTo>
                  <a:lnTo>
                    <a:pt x="15769" y="2894"/>
                  </a:lnTo>
                  <a:lnTo>
                    <a:pt x="15611" y="2670"/>
                  </a:lnTo>
                  <a:lnTo>
                    <a:pt x="15517" y="2564"/>
                  </a:lnTo>
                  <a:lnTo>
                    <a:pt x="15445" y="2442"/>
                  </a:lnTo>
                  <a:lnTo>
                    <a:pt x="15435" y="2351"/>
                  </a:lnTo>
                  <a:lnTo>
                    <a:pt x="15507" y="2268"/>
                  </a:lnTo>
                  <a:lnTo>
                    <a:pt x="15557" y="2174"/>
                  </a:lnTo>
                  <a:lnTo>
                    <a:pt x="15579" y="2095"/>
                  </a:lnTo>
                  <a:lnTo>
                    <a:pt x="15476" y="1983"/>
                  </a:lnTo>
                  <a:lnTo>
                    <a:pt x="15276" y="1854"/>
                  </a:lnTo>
                  <a:lnTo>
                    <a:pt x="15163" y="1798"/>
                  </a:lnTo>
                  <a:lnTo>
                    <a:pt x="15004" y="1798"/>
                  </a:lnTo>
                  <a:lnTo>
                    <a:pt x="14882" y="1810"/>
                  </a:lnTo>
                  <a:lnTo>
                    <a:pt x="14680" y="1867"/>
                  </a:lnTo>
                  <a:lnTo>
                    <a:pt x="14502" y="1898"/>
                  </a:lnTo>
                  <a:lnTo>
                    <a:pt x="14335" y="1902"/>
                  </a:lnTo>
                  <a:lnTo>
                    <a:pt x="14156" y="1858"/>
                  </a:lnTo>
                  <a:lnTo>
                    <a:pt x="13954" y="1827"/>
                  </a:lnTo>
                  <a:lnTo>
                    <a:pt x="13826" y="1795"/>
                  </a:lnTo>
                  <a:lnTo>
                    <a:pt x="13650" y="1741"/>
                  </a:lnTo>
                  <a:lnTo>
                    <a:pt x="13521" y="1716"/>
                  </a:lnTo>
                  <a:lnTo>
                    <a:pt x="13389" y="1716"/>
                  </a:lnTo>
                  <a:lnTo>
                    <a:pt x="13240" y="1681"/>
                  </a:lnTo>
                  <a:lnTo>
                    <a:pt x="13103" y="1668"/>
                  </a:lnTo>
                  <a:lnTo>
                    <a:pt x="12934" y="1606"/>
                  </a:lnTo>
                  <a:lnTo>
                    <a:pt x="12749" y="1481"/>
                  </a:lnTo>
                  <a:lnTo>
                    <a:pt x="12590" y="1418"/>
                  </a:lnTo>
                  <a:lnTo>
                    <a:pt x="12457" y="1374"/>
                  </a:lnTo>
                  <a:lnTo>
                    <a:pt x="12308" y="1331"/>
                  </a:lnTo>
                  <a:lnTo>
                    <a:pt x="12072" y="1318"/>
                  </a:lnTo>
                  <a:lnTo>
                    <a:pt x="11905" y="129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71" name="íšḻíḍé">
              <a:extLst>
                <a:ext uri="{FF2B5EF4-FFF2-40B4-BE49-F238E27FC236}">
                  <a16:creationId xmlns:a16="http://schemas.microsoft.com/office/drawing/2014/main" id="{2F6ED008-1752-43ED-831C-B4B4B7296608}"/>
                </a:ext>
              </a:extLst>
            </p:cNvPr>
            <p:cNvSpPr/>
            <p:nvPr/>
          </p:nvSpPr>
          <p:spPr>
            <a:xfrm>
              <a:off x="7392962" y="4263491"/>
              <a:ext cx="22472" cy="273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26" y="0"/>
                  </a:moveTo>
                  <a:lnTo>
                    <a:pt x="0" y="9333"/>
                  </a:lnTo>
                  <a:lnTo>
                    <a:pt x="1832" y="16236"/>
                  </a:lnTo>
                  <a:lnTo>
                    <a:pt x="15030" y="21600"/>
                  </a:lnTo>
                  <a:lnTo>
                    <a:pt x="21600" y="15013"/>
                  </a:lnTo>
                  <a:lnTo>
                    <a:pt x="21600" y="3233"/>
                  </a:lnTo>
                  <a:lnTo>
                    <a:pt x="632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72" name="íṩḷîḍe">
              <a:extLst>
                <a:ext uri="{FF2B5EF4-FFF2-40B4-BE49-F238E27FC236}">
                  <a16:creationId xmlns:a16="http://schemas.microsoft.com/office/drawing/2014/main" id="{4489EA31-E53C-4B66-B31A-6ACEA65CF6BB}"/>
                </a:ext>
              </a:extLst>
            </p:cNvPr>
            <p:cNvSpPr/>
            <p:nvPr/>
          </p:nvSpPr>
          <p:spPr>
            <a:xfrm>
              <a:off x="6950702" y="4538501"/>
              <a:ext cx="248466" cy="4757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96" y="0"/>
                  </a:moveTo>
                  <a:lnTo>
                    <a:pt x="19918" y="733"/>
                  </a:lnTo>
                  <a:lnTo>
                    <a:pt x="20738" y="1839"/>
                  </a:lnTo>
                  <a:lnTo>
                    <a:pt x="21268" y="2687"/>
                  </a:lnTo>
                  <a:lnTo>
                    <a:pt x="21600" y="3981"/>
                  </a:lnTo>
                  <a:lnTo>
                    <a:pt x="20826" y="5023"/>
                  </a:lnTo>
                  <a:cubicBezTo>
                    <a:pt x="20609" y="5376"/>
                    <a:pt x="20366" y="5724"/>
                    <a:pt x="20097" y="6066"/>
                  </a:cubicBezTo>
                  <a:cubicBezTo>
                    <a:pt x="19662" y="6621"/>
                    <a:pt x="19160" y="7160"/>
                    <a:pt x="18594" y="7681"/>
                  </a:cubicBezTo>
                  <a:lnTo>
                    <a:pt x="17802" y="9136"/>
                  </a:lnTo>
                  <a:lnTo>
                    <a:pt x="17031" y="10592"/>
                  </a:lnTo>
                  <a:cubicBezTo>
                    <a:pt x="16764" y="10920"/>
                    <a:pt x="16499" y="11249"/>
                    <a:pt x="16235" y="11578"/>
                  </a:cubicBezTo>
                  <a:cubicBezTo>
                    <a:pt x="15888" y="12012"/>
                    <a:pt x="15544" y="12446"/>
                    <a:pt x="15203" y="12881"/>
                  </a:cubicBezTo>
                  <a:lnTo>
                    <a:pt x="14606" y="13728"/>
                  </a:lnTo>
                  <a:lnTo>
                    <a:pt x="14010" y="14760"/>
                  </a:lnTo>
                  <a:lnTo>
                    <a:pt x="13215" y="16308"/>
                  </a:lnTo>
                  <a:lnTo>
                    <a:pt x="12950" y="17339"/>
                  </a:lnTo>
                  <a:lnTo>
                    <a:pt x="12553" y="18473"/>
                  </a:lnTo>
                  <a:lnTo>
                    <a:pt x="11359" y="19536"/>
                  </a:lnTo>
                  <a:lnTo>
                    <a:pt x="10161" y="20327"/>
                  </a:lnTo>
                  <a:lnTo>
                    <a:pt x="8567" y="20671"/>
                  </a:lnTo>
                  <a:lnTo>
                    <a:pt x="6435" y="21394"/>
                  </a:lnTo>
                  <a:lnTo>
                    <a:pt x="5446" y="21600"/>
                  </a:lnTo>
                  <a:cubicBezTo>
                    <a:pt x="4959" y="21573"/>
                    <a:pt x="4489" y="21491"/>
                    <a:pt x="4070" y="21359"/>
                  </a:cubicBezTo>
                  <a:cubicBezTo>
                    <a:pt x="3557" y="21198"/>
                    <a:pt x="3137" y="20969"/>
                    <a:pt x="2852" y="20696"/>
                  </a:cubicBezTo>
                  <a:cubicBezTo>
                    <a:pt x="2444" y="20653"/>
                    <a:pt x="2063" y="20558"/>
                    <a:pt x="1743" y="20420"/>
                  </a:cubicBezTo>
                  <a:cubicBezTo>
                    <a:pt x="1252" y="20209"/>
                    <a:pt x="932" y="19911"/>
                    <a:pt x="844" y="19584"/>
                  </a:cubicBezTo>
                  <a:cubicBezTo>
                    <a:pt x="905" y="19197"/>
                    <a:pt x="866" y="18807"/>
                    <a:pt x="730" y="18426"/>
                  </a:cubicBezTo>
                  <a:cubicBezTo>
                    <a:pt x="598" y="18058"/>
                    <a:pt x="376" y="17701"/>
                    <a:pt x="69" y="17362"/>
                  </a:cubicBezTo>
                  <a:lnTo>
                    <a:pt x="0" y="16892"/>
                  </a:lnTo>
                  <a:lnTo>
                    <a:pt x="534" y="16137"/>
                  </a:lnTo>
                  <a:lnTo>
                    <a:pt x="1656" y="15246"/>
                  </a:lnTo>
                  <a:lnTo>
                    <a:pt x="2695" y="14432"/>
                  </a:lnTo>
                  <a:lnTo>
                    <a:pt x="3422" y="13745"/>
                  </a:lnTo>
                  <a:lnTo>
                    <a:pt x="4350" y="12713"/>
                  </a:lnTo>
                  <a:cubicBezTo>
                    <a:pt x="4439" y="12532"/>
                    <a:pt x="4506" y="12348"/>
                    <a:pt x="4549" y="12163"/>
                  </a:cubicBezTo>
                  <a:cubicBezTo>
                    <a:pt x="4652" y="11728"/>
                    <a:pt x="4630" y="11288"/>
                    <a:pt x="4483" y="10857"/>
                  </a:cubicBezTo>
                  <a:lnTo>
                    <a:pt x="3687" y="9791"/>
                  </a:lnTo>
                  <a:cubicBezTo>
                    <a:pt x="3616" y="9483"/>
                    <a:pt x="3616" y="9171"/>
                    <a:pt x="3687" y="8862"/>
                  </a:cubicBezTo>
                  <a:cubicBezTo>
                    <a:pt x="3777" y="8475"/>
                    <a:pt x="3978" y="8097"/>
                    <a:pt x="4284" y="7740"/>
                  </a:cubicBezTo>
                  <a:lnTo>
                    <a:pt x="4594" y="6756"/>
                  </a:lnTo>
                  <a:lnTo>
                    <a:pt x="5588" y="5967"/>
                  </a:lnTo>
                  <a:cubicBezTo>
                    <a:pt x="5955" y="5974"/>
                    <a:pt x="6322" y="5974"/>
                    <a:pt x="6688" y="5967"/>
                  </a:cubicBezTo>
                  <a:cubicBezTo>
                    <a:pt x="7526" y="5953"/>
                    <a:pt x="8361" y="5907"/>
                    <a:pt x="9186" y="5830"/>
                  </a:cubicBezTo>
                  <a:lnTo>
                    <a:pt x="11131" y="5176"/>
                  </a:lnTo>
                  <a:lnTo>
                    <a:pt x="12454" y="4236"/>
                  </a:lnTo>
                  <a:cubicBezTo>
                    <a:pt x="12687" y="3853"/>
                    <a:pt x="13251" y="3548"/>
                    <a:pt x="13980" y="3411"/>
                  </a:cubicBezTo>
                  <a:cubicBezTo>
                    <a:pt x="14318" y="3347"/>
                    <a:pt x="14680" y="3324"/>
                    <a:pt x="15038" y="3342"/>
                  </a:cubicBezTo>
                  <a:cubicBezTo>
                    <a:pt x="15356" y="3221"/>
                    <a:pt x="15665" y="3095"/>
                    <a:pt x="15966" y="2964"/>
                  </a:cubicBezTo>
                  <a:cubicBezTo>
                    <a:pt x="16733" y="2629"/>
                    <a:pt x="17443" y="2261"/>
                    <a:pt x="18088" y="1863"/>
                  </a:cubicBezTo>
                  <a:lnTo>
                    <a:pt x="18685" y="866"/>
                  </a:lnTo>
                  <a:lnTo>
                    <a:pt x="18354" y="341"/>
                  </a:lnTo>
                  <a:lnTo>
                    <a:pt x="1869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73" name="íS1ídé">
              <a:extLst>
                <a:ext uri="{FF2B5EF4-FFF2-40B4-BE49-F238E27FC236}">
                  <a16:creationId xmlns:a16="http://schemas.microsoft.com/office/drawing/2014/main" id="{6B379066-0D35-42EC-A8AB-646D51B61E89}"/>
                </a:ext>
              </a:extLst>
            </p:cNvPr>
            <p:cNvSpPr/>
            <p:nvPr/>
          </p:nvSpPr>
          <p:spPr>
            <a:xfrm>
              <a:off x="7015877" y="4582107"/>
              <a:ext cx="16360" cy="256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802" y="0"/>
                  </a:moveTo>
                  <a:lnTo>
                    <a:pt x="4813" y="1913"/>
                  </a:lnTo>
                  <a:lnTo>
                    <a:pt x="0" y="12064"/>
                  </a:lnTo>
                  <a:lnTo>
                    <a:pt x="5083" y="21600"/>
                  </a:lnTo>
                  <a:lnTo>
                    <a:pt x="21600" y="9513"/>
                  </a:lnTo>
                  <a:lnTo>
                    <a:pt x="1880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74" name="ïṩḷîḍe">
              <a:extLst>
                <a:ext uri="{FF2B5EF4-FFF2-40B4-BE49-F238E27FC236}">
                  <a16:creationId xmlns:a16="http://schemas.microsoft.com/office/drawing/2014/main" id="{D6D76FC8-0ED6-4212-B08F-3C9F45758872}"/>
                </a:ext>
              </a:extLst>
            </p:cNvPr>
            <p:cNvSpPr/>
            <p:nvPr/>
          </p:nvSpPr>
          <p:spPr>
            <a:xfrm>
              <a:off x="6990181" y="4542570"/>
              <a:ext cx="21071" cy="206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28" y="8886"/>
                  </a:moveTo>
                  <a:lnTo>
                    <a:pt x="8318" y="0"/>
                  </a:lnTo>
                  <a:lnTo>
                    <a:pt x="0" y="6625"/>
                  </a:lnTo>
                  <a:lnTo>
                    <a:pt x="9071" y="16880"/>
                  </a:lnTo>
                  <a:lnTo>
                    <a:pt x="21600" y="21600"/>
                  </a:lnTo>
                  <a:lnTo>
                    <a:pt x="18128" y="888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75" name="îṥlîḑe">
              <a:extLst>
                <a:ext uri="{FF2B5EF4-FFF2-40B4-BE49-F238E27FC236}">
                  <a16:creationId xmlns:a16="http://schemas.microsoft.com/office/drawing/2014/main" id="{E4E41C60-BAD5-49A4-9895-7873C11279B2}"/>
                </a:ext>
              </a:extLst>
            </p:cNvPr>
            <p:cNvSpPr/>
            <p:nvPr/>
          </p:nvSpPr>
          <p:spPr>
            <a:xfrm>
              <a:off x="6964606" y="4555580"/>
              <a:ext cx="20339" cy="166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800" y="0"/>
                  </a:moveTo>
                  <a:lnTo>
                    <a:pt x="0" y="2623"/>
                  </a:lnTo>
                  <a:lnTo>
                    <a:pt x="9524" y="21600"/>
                  </a:lnTo>
                  <a:lnTo>
                    <a:pt x="21600" y="20616"/>
                  </a:lnTo>
                  <a:lnTo>
                    <a:pt x="19979" y="3243"/>
                  </a:lnTo>
                  <a:lnTo>
                    <a:pt x="78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76" name="iS1íḑé">
              <a:extLst>
                <a:ext uri="{FF2B5EF4-FFF2-40B4-BE49-F238E27FC236}">
                  <a16:creationId xmlns:a16="http://schemas.microsoft.com/office/drawing/2014/main" id="{315022B5-91B1-4AF2-8105-78533E7AE093}"/>
                </a:ext>
              </a:extLst>
            </p:cNvPr>
            <p:cNvSpPr/>
            <p:nvPr/>
          </p:nvSpPr>
          <p:spPr>
            <a:xfrm>
              <a:off x="6946134" y="4515244"/>
              <a:ext cx="16360" cy="240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062" y="0"/>
                  </a:moveTo>
                  <a:lnTo>
                    <a:pt x="3048" y="6808"/>
                  </a:lnTo>
                  <a:lnTo>
                    <a:pt x="0" y="16890"/>
                  </a:lnTo>
                  <a:lnTo>
                    <a:pt x="17411" y="21600"/>
                  </a:lnTo>
                  <a:lnTo>
                    <a:pt x="21600" y="12326"/>
                  </a:lnTo>
                  <a:lnTo>
                    <a:pt x="1306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77" name="iṩľiḋê">
              <a:extLst>
                <a:ext uri="{FF2B5EF4-FFF2-40B4-BE49-F238E27FC236}">
                  <a16:creationId xmlns:a16="http://schemas.microsoft.com/office/drawing/2014/main" id="{128693D1-3554-4F99-8589-969617A636A2}"/>
                </a:ext>
              </a:extLst>
            </p:cNvPr>
            <p:cNvSpPr/>
            <p:nvPr/>
          </p:nvSpPr>
          <p:spPr>
            <a:xfrm>
              <a:off x="7355849" y="4831107"/>
              <a:ext cx="26760" cy="357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532" y="0"/>
                  </a:moveTo>
                  <a:lnTo>
                    <a:pt x="1397" y="5278"/>
                  </a:lnTo>
                  <a:lnTo>
                    <a:pt x="0" y="13559"/>
                  </a:lnTo>
                  <a:lnTo>
                    <a:pt x="6822" y="21600"/>
                  </a:lnTo>
                  <a:lnTo>
                    <a:pt x="21600" y="17485"/>
                  </a:lnTo>
                  <a:lnTo>
                    <a:pt x="21600" y="7445"/>
                  </a:lnTo>
                  <a:lnTo>
                    <a:pt x="953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78" name="iŝḻïdé">
              <a:extLst>
                <a:ext uri="{FF2B5EF4-FFF2-40B4-BE49-F238E27FC236}">
                  <a16:creationId xmlns:a16="http://schemas.microsoft.com/office/drawing/2014/main" id="{A912B6E6-3251-473D-B3DF-10EF4BA8ABAD}"/>
                </a:ext>
              </a:extLst>
            </p:cNvPr>
            <p:cNvSpPr/>
            <p:nvPr/>
          </p:nvSpPr>
          <p:spPr>
            <a:xfrm>
              <a:off x="7418815" y="4803555"/>
              <a:ext cx="16360" cy="235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956" y="0"/>
                  </a:moveTo>
                  <a:lnTo>
                    <a:pt x="1750" y="4177"/>
                  </a:lnTo>
                  <a:lnTo>
                    <a:pt x="0" y="18148"/>
                  </a:lnTo>
                  <a:lnTo>
                    <a:pt x="21600" y="21600"/>
                  </a:lnTo>
                  <a:lnTo>
                    <a:pt x="21555" y="10257"/>
                  </a:lnTo>
                  <a:lnTo>
                    <a:pt x="1795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79" name="iṥliḋê">
              <a:extLst>
                <a:ext uri="{FF2B5EF4-FFF2-40B4-BE49-F238E27FC236}">
                  <a16:creationId xmlns:a16="http://schemas.microsoft.com/office/drawing/2014/main" id="{381A0EDA-358A-47CC-9CB9-8B309B7D8AE8}"/>
                </a:ext>
              </a:extLst>
            </p:cNvPr>
            <p:cNvSpPr/>
            <p:nvPr/>
          </p:nvSpPr>
          <p:spPr>
            <a:xfrm>
              <a:off x="5322768" y="4656828"/>
              <a:ext cx="31865" cy="302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397" y="0"/>
                  </a:moveTo>
                  <a:lnTo>
                    <a:pt x="0" y="19826"/>
                  </a:lnTo>
                  <a:lnTo>
                    <a:pt x="21600" y="21600"/>
                  </a:lnTo>
                  <a:lnTo>
                    <a:pt x="939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80" name="işľïďê">
              <a:extLst>
                <a:ext uri="{FF2B5EF4-FFF2-40B4-BE49-F238E27FC236}">
                  <a16:creationId xmlns:a16="http://schemas.microsoft.com/office/drawing/2014/main" id="{29B7E068-338F-47D9-8D29-34EFF2694C30}"/>
                </a:ext>
              </a:extLst>
            </p:cNvPr>
            <p:cNvSpPr/>
            <p:nvPr/>
          </p:nvSpPr>
          <p:spPr>
            <a:xfrm>
              <a:off x="5724659" y="4042992"/>
              <a:ext cx="23245" cy="21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4824" y="4121"/>
                  </a:lnTo>
                  <a:lnTo>
                    <a:pt x="0" y="11667"/>
                  </a:lnTo>
                  <a:lnTo>
                    <a:pt x="9389" y="21600"/>
                  </a:lnTo>
                  <a:lnTo>
                    <a:pt x="20674" y="10869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81" name="íŝḻîḑè">
              <a:extLst>
                <a:ext uri="{FF2B5EF4-FFF2-40B4-BE49-F238E27FC236}">
                  <a16:creationId xmlns:a16="http://schemas.microsoft.com/office/drawing/2014/main" id="{E733622F-AF80-4527-AD63-B1716B04F9F8}"/>
                </a:ext>
              </a:extLst>
            </p:cNvPr>
            <p:cNvSpPr/>
            <p:nvPr/>
          </p:nvSpPr>
          <p:spPr>
            <a:xfrm>
              <a:off x="5797850" y="3949493"/>
              <a:ext cx="20701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047" y="0"/>
                  </a:moveTo>
                  <a:lnTo>
                    <a:pt x="0" y="5982"/>
                  </a:lnTo>
                  <a:lnTo>
                    <a:pt x="2019" y="20443"/>
                  </a:lnTo>
                  <a:lnTo>
                    <a:pt x="15499" y="21600"/>
                  </a:lnTo>
                  <a:lnTo>
                    <a:pt x="21600" y="4412"/>
                  </a:lnTo>
                  <a:lnTo>
                    <a:pt x="1104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82" name="ïšľídé">
              <a:extLst>
                <a:ext uri="{FF2B5EF4-FFF2-40B4-BE49-F238E27FC236}">
                  <a16:creationId xmlns:a16="http://schemas.microsoft.com/office/drawing/2014/main" id="{E1B603A9-B0B0-4C1C-8064-C921C9C28E63}"/>
                </a:ext>
              </a:extLst>
            </p:cNvPr>
            <p:cNvSpPr/>
            <p:nvPr/>
          </p:nvSpPr>
          <p:spPr>
            <a:xfrm>
              <a:off x="5771093" y="4007307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211" y="0"/>
                  </a:moveTo>
                  <a:lnTo>
                    <a:pt x="0" y="9014"/>
                  </a:lnTo>
                  <a:lnTo>
                    <a:pt x="7385" y="21600"/>
                  </a:lnTo>
                  <a:lnTo>
                    <a:pt x="21600" y="12069"/>
                  </a:lnTo>
                  <a:lnTo>
                    <a:pt x="17567" y="1769"/>
                  </a:lnTo>
                  <a:lnTo>
                    <a:pt x="7211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83" name="iŝliḍê">
              <a:extLst>
                <a:ext uri="{FF2B5EF4-FFF2-40B4-BE49-F238E27FC236}">
                  <a16:creationId xmlns:a16="http://schemas.microsoft.com/office/drawing/2014/main" id="{0630BA85-A9C8-40E7-9A62-3F9B8FB368E5}"/>
                </a:ext>
              </a:extLst>
            </p:cNvPr>
            <p:cNvSpPr/>
            <p:nvPr/>
          </p:nvSpPr>
          <p:spPr>
            <a:xfrm>
              <a:off x="4744799" y="3515700"/>
              <a:ext cx="23569" cy="208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240" y="3109"/>
                  </a:moveTo>
                  <a:lnTo>
                    <a:pt x="7082" y="0"/>
                  </a:lnTo>
                  <a:lnTo>
                    <a:pt x="0" y="4651"/>
                  </a:lnTo>
                  <a:lnTo>
                    <a:pt x="2157" y="15611"/>
                  </a:lnTo>
                  <a:lnTo>
                    <a:pt x="14637" y="21600"/>
                  </a:lnTo>
                  <a:lnTo>
                    <a:pt x="21600" y="17214"/>
                  </a:lnTo>
                  <a:lnTo>
                    <a:pt x="18240" y="3109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84" name="iṣľîḋê">
              <a:extLst>
                <a:ext uri="{FF2B5EF4-FFF2-40B4-BE49-F238E27FC236}">
                  <a16:creationId xmlns:a16="http://schemas.microsoft.com/office/drawing/2014/main" id="{309894C6-6E39-4B53-8E18-25115C833012}"/>
                </a:ext>
              </a:extLst>
            </p:cNvPr>
            <p:cNvSpPr/>
            <p:nvPr/>
          </p:nvSpPr>
          <p:spPr>
            <a:xfrm>
              <a:off x="4718288" y="3519867"/>
              <a:ext cx="18421" cy="17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002" y="0"/>
                  </a:moveTo>
                  <a:lnTo>
                    <a:pt x="2249" y="4561"/>
                  </a:lnTo>
                  <a:lnTo>
                    <a:pt x="0" y="15210"/>
                  </a:lnTo>
                  <a:lnTo>
                    <a:pt x="16269" y="21600"/>
                  </a:lnTo>
                  <a:lnTo>
                    <a:pt x="21600" y="9771"/>
                  </a:lnTo>
                  <a:lnTo>
                    <a:pt x="1000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85" name="ïşḷíḍé">
              <a:extLst>
                <a:ext uri="{FF2B5EF4-FFF2-40B4-BE49-F238E27FC236}">
                  <a16:creationId xmlns:a16="http://schemas.microsoft.com/office/drawing/2014/main" id="{2A9C0F49-629E-42A7-B87C-A7FA67EAB6AF}"/>
                </a:ext>
              </a:extLst>
            </p:cNvPr>
            <p:cNvSpPr/>
            <p:nvPr/>
          </p:nvSpPr>
          <p:spPr>
            <a:xfrm>
              <a:off x="4711539" y="3478504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567" y="0"/>
                  </a:moveTo>
                  <a:lnTo>
                    <a:pt x="0" y="5790"/>
                  </a:lnTo>
                  <a:lnTo>
                    <a:pt x="269" y="21257"/>
                  </a:lnTo>
                  <a:lnTo>
                    <a:pt x="21600" y="21600"/>
                  </a:lnTo>
                  <a:lnTo>
                    <a:pt x="1556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86" name="íśļîḑè">
              <a:extLst>
                <a:ext uri="{FF2B5EF4-FFF2-40B4-BE49-F238E27FC236}">
                  <a16:creationId xmlns:a16="http://schemas.microsoft.com/office/drawing/2014/main" id="{3149630C-AD20-4F48-BC2D-5223403394D9}"/>
                </a:ext>
              </a:extLst>
            </p:cNvPr>
            <p:cNvSpPr/>
            <p:nvPr/>
          </p:nvSpPr>
          <p:spPr>
            <a:xfrm>
              <a:off x="4753604" y="3480420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788" y="13213"/>
                  </a:lnTo>
                  <a:lnTo>
                    <a:pt x="15312" y="21600"/>
                  </a:lnTo>
                  <a:lnTo>
                    <a:pt x="21600" y="190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87" name="ïṡ1îde">
              <a:extLst>
                <a:ext uri="{FF2B5EF4-FFF2-40B4-BE49-F238E27FC236}">
                  <a16:creationId xmlns:a16="http://schemas.microsoft.com/office/drawing/2014/main" id="{22F603E0-F7B6-4909-9FBE-F8940AF78FA2}"/>
                </a:ext>
              </a:extLst>
            </p:cNvPr>
            <p:cNvSpPr/>
            <p:nvPr/>
          </p:nvSpPr>
          <p:spPr>
            <a:xfrm>
              <a:off x="4664619" y="3447009"/>
              <a:ext cx="16360" cy="220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3742"/>
                  </a:moveTo>
                  <a:lnTo>
                    <a:pt x="4329" y="14327"/>
                  </a:lnTo>
                  <a:lnTo>
                    <a:pt x="16819" y="21600"/>
                  </a:lnTo>
                  <a:lnTo>
                    <a:pt x="21600" y="10493"/>
                  </a:lnTo>
                  <a:lnTo>
                    <a:pt x="13195" y="0"/>
                  </a:lnTo>
                  <a:lnTo>
                    <a:pt x="0" y="374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88" name="išľîďé">
              <a:extLst>
                <a:ext uri="{FF2B5EF4-FFF2-40B4-BE49-F238E27FC236}">
                  <a16:creationId xmlns:a16="http://schemas.microsoft.com/office/drawing/2014/main" id="{0C89CD37-3252-47CF-AB2B-F17F0EBA9F20}"/>
                </a:ext>
              </a:extLst>
            </p:cNvPr>
            <p:cNvSpPr/>
            <p:nvPr/>
          </p:nvSpPr>
          <p:spPr>
            <a:xfrm>
              <a:off x="6355015" y="1385657"/>
              <a:ext cx="4055030" cy="26522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888" y="10223"/>
                  </a:moveTo>
                  <a:lnTo>
                    <a:pt x="3759" y="10132"/>
                  </a:lnTo>
                  <a:lnTo>
                    <a:pt x="3569" y="10003"/>
                  </a:lnTo>
                  <a:lnTo>
                    <a:pt x="3374" y="9884"/>
                  </a:lnTo>
                  <a:lnTo>
                    <a:pt x="3246" y="9786"/>
                  </a:lnTo>
                  <a:lnTo>
                    <a:pt x="3076" y="9629"/>
                  </a:lnTo>
                  <a:lnTo>
                    <a:pt x="2911" y="9493"/>
                  </a:lnTo>
                  <a:lnTo>
                    <a:pt x="2761" y="9429"/>
                  </a:lnTo>
                  <a:lnTo>
                    <a:pt x="2496" y="9413"/>
                  </a:lnTo>
                  <a:lnTo>
                    <a:pt x="2488" y="9536"/>
                  </a:lnTo>
                  <a:lnTo>
                    <a:pt x="2488" y="9685"/>
                  </a:lnTo>
                  <a:lnTo>
                    <a:pt x="2440" y="9710"/>
                  </a:lnTo>
                  <a:lnTo>
                    <a:pt x="2438" y="9806"/>
                  </a:lnTo>
                  <a:lnTo>
                    <a:pt x="2404" y="9868"/>
                  </a:lnTo>
                  <a:lnTo>
                    <a:pt x="2281" y="9898"/>
                  </a:lnTo>
                  <a:lnTo>
                    <a:pt x="2204" y="9935"/>
                  </a:lnTo>
                  <a:lnTo>
                    <a:pt x="2136" y="9972"/>
                  </a:lnTo>
                  <a:lnTo>
                    <a:pt x="2027" y="9972"/>
                  </a:lnTo>
                  <a:lnTo>
                    <a:pt x="2002" y="9923"/>
                  </a:lnTo>
                  <a:lnTo>
                    <a:pt x="1910" y="9911"/>
                  </a:lnTo>
                  <a:lnTo>
                    <a:pt x="1838" y="9882"/>
                  </a:lnTo>
                  <a:lnTo>
                    <a:pt x="1737" y="9753"/>
                  </a:lnTo>
                  <a:lnTo>
                    <a:pt x="1662" y="9674"/>
                  </a:lnTo>
                  <a:lnTo>
                    <a:pt x="1566" y="9632"/>
                  </a:lnTo>
                  <a:lnTo>
                    <a:pt x="1456" y="9632"/>
                  </a:lnTo>
                  <a:lnTo>
                    <a:pt x="1311" y="9556"/>
                  </a:lnTo>
                  <a:lnTo>
                    <a:pt x="1142" y="9550"/>
                  </a:lnTo>
                  <a:lnTo>
                    <a:pt x="1029" y="9601"/>
                  </a:lnTo>
                  <a:lnTo>
                    <a:pt x="892" y="9755"/>
                  </a:lnTo>
                  <a:lnTo>
                    <a:pt x="746" y="9853"/>
                  </a:lnTo>
                  <a:lnTo>
                    <a:pt x="686" y="9775"/>
                  </a:lnTo>
                  <a:lnTo>
                    <a:pt x="637" y="9781"/>
                  </a:lnTo>
                  <a:lnTo>
                    <a:pt x="517" y="9840"/>
                  </a:lnTo>
                  <a:lnTo>
                    <a:pt x="497" y="9942"/>
                  </a:lnTo>
                  <a:lnTo>
                    <a:pt x="434" y="10016"/>
                  </a:lnTo>
                  <a:lnTo>
                    <a:pt x="372" y="10094"/>
                  </a:lnTo>
                  <a:lnTo>
                    <a:pt x="333" y="10172"/>
                  </a:lnTo>
                  <a:lnTo>
                    <a:pt x="266" y="10168"/>
                  </a:lnTo>
                  <a:lnTo>
                    <a:pt x="217" y="10086"/>
                  </a:lnTo>
                  <a:lnTo>
                    <a:pt x="134" y="10086"/>
                  </a:lnTo>
                  <a:lnTo>
                    <a:pt x="77" y="10159"/>
                  </a:lnTo>
                  <a:lnTo>
                    <a:pt x="17" y="10178"/>
                  </a:lnTo>
                  <a:lnTo>
                    <a:pt x="0" y="10303"/>
                  </a:lnTo>
                  <a:lnTo>
                    <a:pt x="78" y="10326"/>
                  </a:lnTo>
                  <a:lnTo>
                    <a:pt x="133" y="10326"/>
                  </a:lnTo>
                  <a:lnTo>
                    <a:pt x="213" y="10443"/>
                  </a:lnTo>
                  <a:lnTo>
                    <a:pt x="190" y="10662"/>
                  </a:lnTo>
                  <a:lnTo>
                    <a:pt x="231" y="10788"/>
                  </a:lnTo>
                  <a:lnTo>
                    <a:pt x="262" y="10847"/>
                  </a:lnTo>
                  <a:lnTo>
                    <a:pt x="282" y="10968"/>
                  </a:lnTo>
                  <a:lnTo>
                    <a:pt x="337" y="11040"/>
                  </a:lnTo>
                  <a:lnTo>
                    <a:pt x="424" y="11071"/>
                  </a:lnTo>
                  <a:lnTo>
                    <a:pt x="465" y="11186"/>
                  </a:lnTo>
                  <a:lnTo>
                    <a:pt x="540" y="11180"/>
                  </a:lnTo>
                  <a:lnTo>
                    <a:pt x="596" y="11201"/>
                  </a:lnTo>
                  <a:lnTo>
                    <a:pt x="645" y="11223"/>
                  </a:lnTo>
                  <a:lnTo>
                    <a:pt x="735" y="11198"/>
                  </a:lnTo>
                  <a:lnTo>
                    <a:pt x="776" y="11089"/>
                  </a:lnTo>
                  <a:lnTo>
                    <a:pt x="857" y="11047"/>
                  </a:lnTo>
                  <a:lnTo>
                    <a:pt x="954" y="11071"/>
                  </a:lnTo>
                  <a:lnTo>
                    <a:pt x="993" y="11139"/>
                  </a:lnTo>
                  <a:lnTo>
                    <a:pt x="1119" y="11238"/>
                  </a:lnTo>
                  <a:lnTo>
                    <a:pt x="1269" y="11219"/>
                  </a:lnTo>
                  <a:lnTo>
                    <a:pt x="1313" y="11207"/>
                  </a:lnTo>
                  <a:lnTo>
                    <a:pt x="1390" y="11119"/>
                  </a:lnTo>
                  <a:lnTo>
                    <a:pt x="1486" y="11040"/>
                  </a:lnTo>
                  <a:lnTo>
                    <a:pt x="1581" y="11016"/>
                  </a:lnTo>
                  <a:lnTo>
                    <a:pt x="1654" y="11065"/>
                  </a:lnTo>
                  <a:lnTo>
                    <a:pt x="1739" y="11096"/>
                  </a:lnTo>
                  <a:lnTo>
                    <a:pt x="1739" y="11260"/>
                  </a:lnTo>
                  <a:lnTo>
                    <a:pt x="1702" y="11340"/>
                  </a:lnTo>
                  <a:lnTo>
                    <a:pt x="1719" y="11558"/>
                  </a:lnTo>
                  <a:lnTo>
                    <a:pt x="1711" y="11714"/>
                  </a:lnTo>
                  <a:lnTo>
                    <a:pt x="1701" y="11890"/>
                  </a:lnTo>
                  <a:lnTo>
                    <a:pt x="1645" y="12051"/>
                  </a:lnTo>
                  <a:lnTo>
                    <a:pt x="1657" y="12205"/>
                  </a:lnTo>
                  <a:cubicBezTo>
                    <a:pt x="1663" y="12254"/>
                    <a:pt x="1664" y="12305"/>
                    <a:pt x="1661" y="12355"/>
                  </a:cubicBezTo>
                  <a:cubicBezTo>
                    <a:pt x="1657" y="12420"/>
                    <a:pt x="1645" y="12483"/>
                    <a:pt x="1626" y="12542"/>
                  </a:cubicBezTo>
                  <a:lnTo>
                    <a:pt x="1585" y="12622"/>
                  </a:lnTo>
                  <a:lnTo>
                    <a:pt x="1546" y="12708"/>
                  </a:lnTo>
                  <a:lnTo>
                    <a:pt x="1479" y="12732"/>
                  </a:lnTo>
                  <a:lnTo>
                    <a:pt x="1386" y="12744"/>
                  </a:lnTo>
                  <a:lnTo>
                    <a:pt x="1285" y="12855"/>
                  </a:lnTo>
                  <a:lnTo>
                    <a:pt x="1201" y="12825"/>
                  </a:lnTo>
                  <a:lnTo>
                    <a:pt x="1164" y="12855"/>
                  </a:lnTo>
                  <a:lnTo>
                    <a:pt x="1228" y="12954"/>
                  </a:lnTo>
                  <a:lnTo>
                    <a:pt x="1263" y="13016"/>
                  </a:lnTo>
                  <a:lnTo>
                    <a:pt x="1239" y="13122"/>
                  </a:lnTo>
                  <a:lnTo>
                    <a:pt x="1307" y="13243"/>
                  </a:lnTo>
                  <a:lnTo>
                    <a:pt x="1359" y="13286"/>
                  </a:lnTo>
                  <a:lnTo>
                    <a:pt x="1408" y="13345"/>
                  </a:lnTo>
                  <a:lnTo>
                    <a:pt x="1404" y="13429"/>
                  </a:lnTo>
                  <a:lnTo>
                    <a:pt x="1404" y="13509"/>
                  </a:lnTo>
                  <a:lnTo>
                    <a:pt x="1481" y="13572"/>
                  </a:lnTo>
                  <a:lnTo>
                    <a:pt x="1558" y="13731"/>
                  </a:lnTo>
                  <a:lnTo>
                    <a:pt x="1602" y="13657"/>
                  </a:lnTo>
                  <a:lnTo>
                    <a:pt x="1602" y="13398"/>
                  </a:lnTo>
                  <a:lnTo>
                    <a:pt x="1659" y="13331"/>
                  </a:lnTo>
                  <a:lnTo>
                    <a:pt x="1705" y="13420"/>
                  </a:lnTo>
                  <a:lnTo>
                    <a:pt x="1741" y="13555"/>
                  </a:lnTo>
                  <a:lnTo>
                    <a:pt x="1778" y="13837"/>
                  </a:lnTo>
                  <a:lnTo>
                    <a:pt x="1857" y="13946"/>
                  </a:lnTo>
                  <a:lnTo>
                    <a:pt x="1897" y="14113"/>
                  </a:lnTo>
                  <a:lnTo>
                    <a:pt x="1945" y="14215"/>
                  </a:lnTo>
                  <a:lnTo>
                    <a:pt x="1995" y="14373"/>
                  </a:lnTo>
                  <a:lnTo>
                    <a:pt x="2107" y="14477"/>
                  </a:lnTo>
                  <a:lnTo>
                    <a:pt x="2161" y="14557"/>
                  </a:lnTo>
                  <a:lnTo>
                    <a:pt x="2205" y="14753"/>
                  </a:lnTo>
                  <a:lnTo>
                    <a:pt x="2226" y="14836"/>
                  </a:lnTo>
                  <a:lnTo>
                    <a:pt x="2263" y="14879"/>
                  </a:lnTo>
                  <a:lnTo>
                    <a:pt x="2376" y="14996"/>
                  </a:lnTo>
                  <a:cubicBezTo>
                    <a:pt x="2426" y="15014"/>
                    <a:pt x="2466" y="15070"/>
                    <a:pt x="2482" y="15144"/>
                  </a:cubicBezTo>
                  <a:cubicBezTo>
                    <a:pt x="2497" y="15214"/>
                    <a:pt x="2488" y="15290"/>
                    <a:pt x="2459" y="15348"/>
                  </a:cubicBezTo>
                  <a:lnTo>
                    <a:pt x="2471" y="15538"/>
                  </a:lnTo>
                  <a:lnTo>
                    <a:pt x="2507" y="15643"/>
                  </a:lnTo>
                  <a:lnTo>
                    <a:pt x="2572" y="15815"/>
                  </a:lnTo>
                  <a:lnTo>
                    <a:pt x="2569" y="15885"/>
                  </a:lnTo>
                  <a:lnTo>
                    <a:pt x="2642" y="16007"/>
                  </a:lnTo>
                  <a:lnTo>
                    <a:pt x="2642" y="16132"/>
                  </a:lnTo>
                  <a:lnTo>
                    <a:pt x="2752" y="16182"/>
                  </a:lnTo>
                  <a:lnTo>
                    <a:pt x="2832" y="16227"/>
                  </a:lnTo>
                  <a:lnTo>
                    <a:pt x="2913" y="16387"/>
                  </a:lnTo>
                  <a:lnTo>
                    <a:pt x="2927" y="16529"/>
                  </a:lnTo>
                  <a:lnTo>
                    <a:pt x="2966" y="16723"/>
                  </a:lnTo>
                  <a:lnTo>
                    <a:pt x="3043" y="16785"/>
                  </a:lnTo>
                  <a:lnTo>
                    <a:pt x="3087" y="16846"/>
                  </a:lnTo>
                  <a:lnTo>
                    <a:pt x="3139" y="16957"/>
                  </a:lnTo>
                  <a:lnTo>
                    <a:pt x="3191" y="17089"/>
                  </a:lnTo>
                  <a:lnTo>
                    <a:pt x="3118" y="17304"/>
                  </a:lnTo>
                  <a:lnTo>
                    <a:pt x="3139" y="17419"/>
                  </a:lnTo>
                  <a:lnTo>
                    <a:pt x="3194" y="17508"/>
                  </a:lnTo>
                  <a:lnTo>
                    <a:pt x="3227" y="17680"/>
                  </a:lnTo>
                  <a:lnTo>
                    <a:pt x="3227" y="17814"/>
                  </a:lnTo>
                  <a:lnTo>
                    <a:pt x="3293" y="17911"/>
                  </a:lnTo>
                  <a:lnTo>
                    <a:pt x="3336" y="18030"/>
                  </a:lnTo>
                  <a:lnTo>
                    <a:pt x="3409" y="18178"/>
                  </a:lnTo>
                  <a:lnTo>
                    <a:pt x="3565" y="18190"/>
                  </a:lnTo>
                  <a:lnTo>
                    <a:pt x="3748" y="18135"/>
                  </a:lnTo>
                  <a:lnTo>
                    <a:pt x="3935" y="18014"/>
                  </a:lnTo>
                  <a:lnTo>
                    <a:pt x="4073" y="17896"/>
                  </a:lnTo>
                  <a:lnTo>
                    <a:pt x="4184" y="17812"/>
                  </a:lnTo>
                  <a:cubicBezTo>
                    <a:pt x="4199" y="17796"/>
                    <a:pt x="4214" y="17780"/>
                    <a:pt x="4230" y="17765"/>
                  </a:cubicBezTo>
                  <a:cubicBezTo>
                    <a:pt x="4287" y="17711"/>
                    <a:pt x="4350" y="17669"/>
                    <a:pt x="4415" y="17640"/>
                  </a:cubicBezTo>
                  <a:lnTo>
                    <a:pt x="4544" y="17598"/>
                  </a:lnTo>
                  <a:lnTo>
                    <a:pt x="4658" y="17456"/>
                  </a:lnTo>
                  <a:lnTo>
                    <a:pt x="4758" y="17382"/>
                  </a:lnTo>
                  <a:lnTo>
                    <a:pt x="4839" y="17253"/>
                  </a:lnTo>
                  <a:lnTo>
                    <a:pt x="4875" y="17128"/>
                  </a:lnTo>
                  <a:lnTo>
                    <a:pt x="4961" y="17019"/>
                  </a:lnTo>
                  <a:cubicBezTo>
                    <a:pt x="4995" y="16986"/>
                    <a:pt x="5032" y="16960"/>
                    <a:pt x="5070" y="16941"/>
                  </a:cubicBezTo>
                  <a:cubicBezTo>
                    <a:pt x="5110" y="16921"/>
                    <a:pt x="5151" y="16908"/>
                    <a:pt x="5192" y="16903"/>
                  </a:cubicBezTo>
                  <a:cubicBezTo>
                    <a:pt x="5225" y="16899"/>
                    <a:pt x="5257" y="16887"/>
                    <a:pt x="5288" y="16869"/>
                  </a:cubicBezTo>
                  <a:cubicBezTo>
                    <a:pt x="5328" y="16844"/>
                    <a:pt x="5365" y="16809"/>
                    <a:pt x="5396" y="16764"/>
                  </a:cubicBezTo>
                  <a:lnTo>
                    <a:pt x="5451" y="16651"/>
                  </a:lnTo>
                  <a:lnTo>
                    <a:pt x="5538" y="16468"/>
                  </a:lnTo>
                  <a:lnTo>
                    <a:pt x="5657" y="16322"/>
                  </a:lnTo>
                  <a:cubicBezTo>
                    <a:pt x="5670" y="16286"/>
                    <a:pt x="5682" y="16249"/>
                    <a:pt x="5694" y="16212"/>
                  </a:cubicBezTo>
                  <a:cubicBezTo>
                    <a:pt x="5710" y="16157"/>
                    <a:pt x="5726" y="16102"/>
                    <a:pt x="5740" y="16045"/>
                  </a:cubicBezTo>
                  <a:lnTo>
                    <a:pt x="5776" y="15879"/>
                  </a:lnTo>
                  <a:cubicBezTo>
                    <a:pt x="5808" y="15838"/>
                    <a:pt x="5839" y="15797"/>
                    <a:pt x="5869" y="15756"/>
                  </a:cubicBezTo>
                  <a:cubicBezTo>
                    <a:pt x="5901" y="15713"/>
                    <a:pt x="5933" y="15670"/>
                    <a:pt x="5964" y="15626"/>
                  </a:cubicBezTo>
                  <a:lnTo>
                    <a:pt x="6029" y="15553"/>
                  </a:lnTo>
                  <a:lnTo>
                    <a:pt x="6063" y="15485"/>
                  </a:lnTo>
                  <a:lnTo>
                    <a:pt x="6063" y="15401"/>
                  </a:lnTo>
                  <a:lnTo>
                    <a:pt x="5965" y="15268"/>
                  </a:lnTo>
                  <a:lnTo>
                    <a:pt x="5871" y="15159"/>
                  </a:lnTo>
                  <a:lnTo>
                    <a:pt x="5830" y="15003"/>
                  </a:lnTo>
                  <a:lnTo>
                    <a:pt x="5748" y="14940"/>
                  </a:lnTo>
                  <a:lnTo>
                    <a:pt x="5631" y="14861"/>
                  </a:lnTo>
                  <a:lnTo>
                    <a:pt x="5505" y="14786"/>
                  </a:lnTo>
                  <a:lnTo>
                    <a:pt x="5437" y="14638"/>
                  </a:lnTo>
                  <a:lnTo>
                    <a:pt x="5414" y="14547"/>
                  </a:lnTo>
                  <a:lnTo>
                    <a:pt x="5434" y="14455"/>
                  </a:lnTo>
                  <a:lnTo>
                    <a:pt x="5487" y="14377"/>
                  </a:lnTo>
                  <a:lnTo>
                    <a:pt x="5436" y="14294"/>
                  </a:lnTo>
                  <a:lnTo>
                    <a:pt x="5436" y="14214"/>
                  </a:lnTo>
                  <a:lnTo>
                    <a:pt x="5394" y="14183"/>
                  </a:lnTo>
                  <a:lnTo>
                    <a:pt x="5375" y="14243"/>
                  </a:lnTo>
                  <a:lnTo>
                    <a:pt x="5340" y="14329"/>
                  </a:lnTo>
                  <a:lnTo>
                    <a:pt x="5256" y="14499"/>
                  </a:lnTo>
                  <a:lnTo>
                    <a:pt x="5091" y="14727"/>
                  </a:lnTo>
                  <a:lnTo>
                    <a:pt x="5056" y="14801"/>
                  </a:lnTo>
                  <a:lnTo>
                    <a:pt x="4994" y="14801"/>
                  </a:lnTo>
                  <a:lnTo>
                    <a:pt x="4947" y="14807"/>
                  </a:lnTo>
                  <a:lnTo>
                    <a:pt x="4906" y="14856"/>
                  </a:lnTo>
                  <a:lnTo>
                    <a:pt x="4740" y="14875"/>
                  </a:lnTo>
                  <a:lnTo>
                    <a:pt x="4692" y="14807"/>
                  </a:lnTo>
                  <a:lnTo>
                    <a:pt x="4634" y="14766"/>
                  </a:lnTo>
                  <a:lnTo>
                    <a:pt x="4581" y="14679"/>
                  </a:lnTo>
                  <a:lnTo>
                    <a:pt x="4674" y="14568"/>
                  </a:lnTo>
                  <a:lnTo>
                    <a:pt x="4648" y="14475"/>
                  </a:lnTo>
                  <a:lnTo>
                    <a:pt x="4550" y="14438"/>
                  </a:lnTo>
                  <a:lnTo>
                    <a:pt x="4562" y="14367"/>
                  </a:lnTo>
                  <a:lnTo>
                    <a:pt x="4522" y="14348"/>
                  </a:lnTo>
                  <a:lnTo>
                    <a:pt x="4490" y="14410"/>
                  </a:lnTo>
                  <a:lnTo>
                    <a:pt x="4462" y="14502"/>
                  </a:lnTo>
                  <a:lnTo>
                    <a:pt x="4337" y="14533"/>
                  </a:lnTo>
                  <a:cubicBezTo>
                    <a:pt x="4331" y="14498"/>
                    <a:pt x="4323" y="14463"/>
                    <a:pt x="4314" y="14428"/>
                  </a:cubicBezTo>
                  <a:cubicBezTo>
                    <a:pt x="4298" y="14362"/>
                    <a:pt x="4278" y="14299"/>
                    <a:pt x="4255" y="14237"/>
                  </a:cubicBezTo>
                  <a:lnTo>
                    <a:pt x="4234" y="14018"/>
                  </a:lnTo>
                  <a:lnTo>
                    <a:pt x="4191" y="13904"/>
                  </a:lnTo>
                  <a:lnTo>
                    <a:pt x="4136" y="13783"/>
                  </a:lnTo>
                  <a:lnTo>
                    <a:pt x="4036" y="13581"/>
                  </a:lnTo>
                  <a:lnTo>
                    <a:pt x="3967" y="13457"/>
                  </a:lnTo>
                  <a:lnTo>
                    <a:pt x="3917" y="13357"/>
                  </a:lnTo>
                  <a:lnTo>
                    <a:pt x="3910" y="13265"/>
                  </a:lnTo>
                  <a:lnTo>
                    <a:pt x="3970" y="13125"/>
                  </a:lnTo>
                  <a:lnTo>
                    <a:pt x="3985" y="13013"/>
                  </a:lnTo>
                  <a:lnTo>
                    <a:pt x="4029" y="12939"/>
                  </a:lnTo>
                  <a:lnTo>
                    <a:pt x="4100" y="12939"/>
                  </a:lnTo>
                  <a:lnTo>
                    <a:pt x="4187" y="12956"/>
                  </a:lnTo>
                  <a:lnTo>
                    <a:pt x="4248" y="13017"/>
                  </a:lnTo>
                  <a:lnTo>
                    <a:pt x="4344" y="13091"/>
                  </a:lnTo>
                  <a:lnTo>
                    <a:pt x="4365" y="13162"/>
                  </a:lnTo>
                  <a:lnTo>
                    <a:pt x="4421" y="13266"/>
                  </a:lnTo>
                  <a:cubicBezTo>
                    <a:pt x="4450" y="13317"/>
                    <a:pt x="4470" y="13379"/>
                    <a:pt x="4479" y="13445"/>
                  </a:cubicBezTo>
                  <a:cubicBezTo>
                    <a:pt x="4485" y="13493"/>
                    <a:pt x="4485" y="13543"/>
                    <a:pt x="4479" y="13591"/>
                  </a:cubicBezTo>
                  <a:lnTo>
                    <a:pt x="4511" y="13696"/>
                  </a:lnTo>
                  <a:lnTo>
                    <a:pt x="4660" y="13788"/>
                  </a:lnTo>
                  <a:lnTo>
                    <a:pt x="4794" y="13899"/>
                  </a:lnTo>
                  <a:lnTo>
                    <a:pt x="4994" y="14024"/>
                  </a:lnTo>
                  <a:lnTo>
                    <a:pt x="5100" y="14092"/>
                  </a:lnTo>
                  <a:lnTo>
                    <a:pt x="5224" y="14082"/>
                  </a:lnTo>
                  <a:lnTo>
                    <a:pt x="5261" y="14033"/>
                  </a:lnTo>
                  <a:lnTo>
                    <a:pt x="5374" y="13959"/>
                  </a:lnTo>
                  <a:lnTo>
                    <a:pt x="5431" y="13947"/>
                  </a:lnTo>
                  <a:lnTo>
                    <a:pt x="5522" y="14062"/>
                  </a:lnTo>
                  <a:cubicBezTo>
                    <a:pt x="5537" y="14073"/>
                    <a:pt x="5550" y="14086"/>
                    <a:pt x="5562" y="14103"/>
                  </a:cubicBezTo>
                  <a:cubicBezTo>
                    <a:pt x="5586" y="14136"/>
                    <a:pt x="5605" y="14180"/>
                    <a:pt x="5614" y="14228"/>
                  </a:cubicBezTo>
                  <a:lnTo>
                    <a:pt x="5643" y="14331"/>
                  </a:lnTo>
                  <a:lnTo>
                    <a:pt x="5698" y="14433"/>
                  </a:lnTo>
                  <a:lnTo>
                    <a:pt x="5848" y="14477"/>
                  </a:lnTo>
                  <a:lnTo>
                    <a:pt x="6003" y="14470"/>
                  </a:lnTo>
                  <a:cubicBezTo>
                    <a:pt x="6040" y="14472"/>
                    <a:pt x="6077" y="14481"/>
                    <a:pt x="6112" y="14497"/>
                  </a:cubicBezTo>
                  <a:cubicBezTo>
                    <a:pt x="6145" y="14512"/>
                    <a:pt x="6176" y="14533"/>
                    <a:pt x="6206" y="14559"/>
                  </a:cubicBezTo>
                  <a:lnTo>
                    <a:pt x="6303" y="14547"/>
                  </a:lnTo>
                  <a:lnTo>
                    <a:pt x="6419" y="14487"/>
                  </a:lnTo>
                  <a:lnTo>
                    <a:pt x="6603" y="14487"/>
                  </a:lnTo>
                  <a:lnTo>
                    <a:pt x="6724" y="14567"/>
                  </a:lnTo>
                  <a:lnTo>
                    <a:pt x="6879" y="14555"/>
                  </a:lnTo>
                  <a:lnTo>
                    <a:pt x="6977" y="14489"/>
                  </a:lnTo>
                  <a:lnTo>
                    <a:pt x="7070" y="14403"/>
                  </a:lnTo>
                  <a:lnTo>
                    <a:pt x="7147" y="14409"/>
                  </a:lnTo>
                  <a:lnTo>
                    <a:pt x="7209" y="14502"/>
                  </a:lnTo>
                  <a:lnTo>
                    <a:pt x="7315" y="14543"/>
                  </a:lnTo>
                  <a:lnTo>
                    <a:pt x="7340" y="14604"/>
                  </a:lnTo>
                  <a:lnTo>
                    <a:pt x="7368" y="14721"/>
                  </a:lnTo>
                  <a:lnTo>
                    <a:pt x="7407" y="14857"/>
                  </a:lnTo>
                  <a:lnTo>
                    <a:pt x="7550" y="14913"/>
                  </a:lnTo>
                  <a:lnTo>
                    <a:pt x="7601" y="14995"/>
                  </a:lnTo>
                  <a:lnTo>
                    <a:pt x="7666" y="15131"/>
                  </a:lnTo>
                  <a:lnTo>
                    <a:pt x="7730" y="15227"/>
                  </a:lnTo>
                  <a:lnTo>
                    <a:pt x="7824" y="15221"/>
                  </a:lnTo>
                  <a:lnTo>
                    <a:pt x="7928" y="15166"/>
                  </a:lnTo>
                  <a:lnTo>
                    <a:pt x="7948" y="15245"/>
                  </a:lnTo>
                  <a:lnTo>
                    <a:pt x="7920" y="15356"/>
                  </a:lnTo>
                  <a:lnTo>
                    <a:pt x="7861" y="15391"/>
                  </a:lnTo>
                  <a:lnTo>
                    <a:pt x="7781" y="15366"/>
                  </a:lnTo>
                  <a:lnTo>
                    <a:pt x="7730" y="15391"/>
                  </a:lnTo>
                  <a:lnTo>
                    <a:pt x="7758" y="15489"/>
                  </a:lnTo>
                  <a:lnTo>
                    <a:pt x="7847" y="15538"/>
                  </a:lnTo>
                  <a:lnTo>
                    <a:pt x="7873" y="15682"/>
                  </a:lnTo>
                  <a:lnTo>
                    <a:pt x="7941" y="15770"/>
                  </a:lnTo>
                  <a:lnTo>
                    <a:pt x="8042" y="15801"/>
                  </a:lnTo>
                  <a:lnTo>
                    <a:pt x="8140" y="15801"/>
                  </a:lnTo>
                  <a:lnTo>
                    <a:pt x="8215" y="15735"/>
                  </a:lnTo>
                  <a:lnTo>
                    <a:pt x="8215" y="15647"/>
                  </a:lnTo>
                  <a:lnTo>
                    <a:pt x="8207" y="15558"/>
                  </a:lnTo>
                  <a:lnTo>
                    <a:pt x="8244" y="15441"/>
                  </a:lnTo>
                  <a:cubicBezTo>
                    <a:pt x="8257" y="15421"/>
                    <a:pt x="8274" y="15406"/>
                    <a:pt x="8293" y="15398"/>
                  </a:cubicBezTo>
                  <a:cubicBezTo>
                    <a:pt x="8324" y="15385"/>
                    <a:pt x="8357" y="15392"/>
                    <a:pt x="8385" y="15417"/>
                  </a:cubicBezTo>
                  <a:lnTo>
                    <a:pt x="8429" y="15521"/>
                  </a:lnTo>
                  <a:lnTo>
                    <a:pt x="8417" y="15693"/>
                  </a:lnTo>
                  <a:lnTo>
                    <a:pt x="8397" y="15792"/>
                  </a:lnTo>
                  <a:lnTo>
                    <a:pt x="8386" y="15933"/>
                  </a:lnTo>
                  <a:lnTo>
                    <a:pt x="8386" y="16079"/>
                  </a:lnTo>
                  <a:lnTo>
                    <a:pt x="8398" y="16182"/>
                  </a:lnTo>
                  <a:lnTo>
                    <a:pt x="8473" y="16441"/>
                  </a:lnTo>
                  <a:lnTo>
                    <a:pt x="8502" y="16728"/>
                  </a:lnTo>
                  <a:lnTo>
                    <a:pt x="8510" y="16868"/>
                  </a:lnTo>
                  <a:lnTo>
                    <a:pt x="8607" y="17022"/>
                  </a:lnTo>
                  <a:lnTo>
                    <a:pt x="8663" y="17133"/>
                  </a:lnTo>
                  <a:lnTo>
                    <a:pt x="8679" y="17303"/>
                  </a:lnTo>
                  <a:lnTo>
                    <a:pt x="8703" y="17418"/>
                  </a:lnTo>
                  <a:lnTo>
                    <a:pt x="8759" y="17603"/>
                  </a:lnTo>
                  <a:lnTo>
                    <a:pt x="8799" y="17688"/>
                  </a:lnTo>
                  <a:lnTo>
                    <a:pt x="8858" y="17815"/>
                  </a:lnTo>
                  <a:lnTo>
                    <a:pt x="8894" y="17957"/>
                  </a:lnTo>
                  <a:lnTo>
                    <a:pt x="8919" y="18076"/>
                  </a:lnTo>
                  <a:lnTo>
                    <a:pt x="8963" y="18226"/>
                  </a:lnTo>
                  <a:lnTo>
                    <a:pt x="9034" y="18456"/>
                  </a:lnTo>
                  <a:lnTo>
                    <a:pt x="9088" y="18673"/>
                  </a:lnTo>
                  <a:lnTo>
                    <a:pt x="9120" y="18766"/>
                  </a:lnTo>
                  <a:lnTo>
                    <a:pt x="9157" y="18876"/>
                  </a:lnTo>
                  <a:lnTo>
                    <a:pt x="9165" y="18992"/>
                  </a:lnTo>
                  <a:lnTo>
                    <a:pt x="9224" y="19229"/>
                  </a:lnTo>
                  <a:lnTo>
                    <a:pt x="9265" y="19340"/>
                  </a:lnTo>
                  <a:lnTo>
                    <a:pt x="9335" y="19401"/>
                  </a:lnTo>
                  <a:lnTo>
                    <a:pt x="9398" y="19455"/>
                  </a:lnTo>
                  <a:lnTo>
                    <a:pt x="9435" y="19534"/>
                  </a:lnTo>
                  <a:lnTo>
                    <a:pt x="9499" y="19529"/>
                  </a:lnTo>
                  <a:cubicBezTo>
                    <a:pt x="9505" y="19494"/>
                    <a:pt x="9512" y="19459"/>
                    <a:pt x="9519" y="19424"/>
                  </a:cubicBezTo>
                  <a:cubicBezTo>
                    <a:pt x="9525" y="19391"/>
                    <a:pt x="9532" y="19357"/>
                    <a:pt x="9539" y="19324"/>
                  </a:cubicBezTo>
                  <a:cubicBezTo>
                    <a:pt x="9570" y="19289"/>
                    <a:pt x="9599" y="19249"/>
                    <a:pt x="9625" y="19204"/>
                  </a:cubicBezTo>
                  <a:cubicBezTo>
                    <a:pt x="9647" y="19167"/>
                    <a:pt x="9667" y="19127"/>
                    <a:pt x="9684" y="19085"/>
                  </a:cubicBezTo>
                  <a:cubicBezTo>
                    <a:pt x="9697" y="19045"/>
                    <a:pt x="9711" y="19006"/>
                    <a:pt x="9726" y="18966"/>
                  </a:cubicBezTo>
                  <a:cubicBezTo>
                    <a:pt x="9741" y="18924"/>
                    <a:pt x="9756" y="18882"/>
                    <a:pt x="9772" y="18841"/>
                  </a:cubicBezTo>
                  <a:cubicBezTo>
                    <a:pt x="9774" y="18775"/>
                    <a:pt x="9777" y="18710"/>
                    <a:pt x="9780" y="18644"/>
                  </a:cubicBezTo>
                  <a:cubicBezTo>
                    <a:pt x="9783" y="18560"/>
                    <a:pt x="9787" y="18477"/>
                    <a:pt x="9791" y="18393"/>
                  </a:cubicBezTo>
                  <a:lnTo>
                    <a:pt x="9799" y="18288"/>
                  </a:lnTo>
                  <a:cubicBezTo>
                    <a:pt x="9805" y="18246"/>
                    <a:pt x="9812" y="18203"/>
                    <a:pt x="9819" y="18161"/>
                  </a:cubicBezTo>
                  <a:cubicBezTo>
                    <a:pt x="9829" y="18099"/>
                    <a:pt x="9840" y="18037"/>
                    <a:pt x="9852" y="17976"/>
                  </a:cubicBezTo>
                  <a:lnTo>
                    <a:pt x="9839" y="17816"/>
                  </a:lnTo>
                  <a:lnTo>
                    <a:pt x="9791" y="17643"/>
                  </a:lnTo>
                  <a:lnTo>
                    <a:pt x="9831" y="17391"/>
                  </a:lnTo>
                  <a:lnTo>
                    <a:pt x="9876" y="17301"/>
                  </a:lnTo>
                  <a:lnTo>
                    <a:pt x="10002" y="17165"/>
                  </a:lnTo>
                  <a:lnTo>
                    <a:pt x="10132" y="17023"/>
                  </a:lnTo>
                  <a:lnTo>
                    <a:pt x="10237" y="16902"/>
                  </a:lnTo>
                  <a:lnTo>
                    <a:pt x="10262" y="16723"/>
                  </a:lnTo>
                  <a:lnTo>
                    <a:pt x="10286" y="16610"/>
                  </a:lnTo>
                  <a:lnTo>
                    <a:pt x="10412" y="16555"/>
                  </a:lnTo>
                  <a:lnTo>
                    <a:pt x="10492" y="16493"/>
                  </a:lnTo>
                  <a:lnTo>
                    <a:pt x="10549" y="16327"/>
                  </a:lnTo>
                  <a:cubicBezTo>
                    <a:pt x="10554" y="16271"/>
                    <a:pt x="10568" y="16218"/>
                    <a:pt x="10590" y="16173"/>
                  </a:cubicBezTo>
                  <a:cubicBezTo>
                    <a:pt x="10626" y="16098"/>
                    <a:pt x="10680" y="16049"/>
                    <a:pt x="10740" y="16037"/>
                  </a:cubicBezTo>
                  <a:lnTo>
                    <a:pt x="10874" y="15975"/>
                  </a:lnTo>
                  <a:lnTo>
                    <a:pt x="10909" y="15840"/>
                  </a:lnTo>
                  <a:lnTo>
                    <a:pt x="10885" y="15717"/>
                  </a:lnTo>
                  <a:lnTo>
                    <a:pt x="10892" y="15606"/>
                  </a:lnTo>
                  <a:lnTo>
                    <a:pt x="11030" y="15483"/>
                  </a:lnTo>
                  <a:lnTo>
                    <a:pt x="11172" y="15422"/>
                  </a:lnTo>
                  <a:lnTo>
                    <a:pt x="11283" y="15422"/>
                  </a:lnTo>
                  <a:lnTo>
                    <a:pt x="11432" y="15358"/>
                  </a:lnTo>
                  <a:cubicBezTo>
                    <a:pt x="11441" y="15314"/>
                    <a:pt x="11462" y="15277"/>
                    <a:pt x="11490" y="15257"/>
                  </a:cubicBezTo>
                  <a:cubicBezTo>
                    <a:pt x="11517" y="15237"/>
                    <a:pt x="11549" y="15235"/>
                    <a:pt x="11578" y="15251"/>
                  </a:cubicBezTo>
                  <a:lnTo>
                    <a:pt x="11664" y="15279"/>
                  </a:lnTo>
                  <a:cubicBezTo>
                    <a:pt x="11683" y="15305"/>
                    <a:pt x="11699" y="15334"/>
                    <a:pt x="11713" y="15365"/>
                  </a:cubicBezTo>
                  <a:cubicBezTo>
                    <a:pt x="11732" y="15408"/>
                    <a:pt x="11745" y="15456"/>
                    <a:pt x="11753" y="15507"/>
                  </a:cubicBezTo>
                  <a:lnTo>
                    <a:pt x="11800" y="15701"/>
                  </a:lnTo>
                  <a:lnTo>
                    <a:pt x="11828" y="15833"/>
                  </a:lnTo>
                  <a:cubicBezTo>
                    <a:pt x="11839" y="15860"/>
                    <a:pt x="11854" y="15883"/>
                    <a:pt x="11872" y="15899"/>
                  </a:cubicBezTo>
                  <a:cubicBezTo>
                    <a:pt x="11906" y="15927"/>
                    <a:pt x="11947" y="15931"/>
                    <a:pt x="11982" y="15909"/>
                  </a:cubicBezTo>
                  <a:lnTo>
                    <a:pt x="12043" y="15981"/>
                  </a:lnTo>
                  <a:lnTo>
                    <a:pt x="12197" y="16141"/>
                  </a:lnTo>
                  <a:cubicBezTo>
                    <a:pt x="12217" y="16216"/>
                    <a:pt x="12238" y="16289"/>
                    <a:pt x="12262" y="16361"/>
                  </a:cubicBezTo>
                  <a:cubicBezTo>
                    <a:pt x="12295" y="16459"/>
                    <a:pt x="12331" y="16555"/>
                    <a:pt x="12368" y="16650"/>
                  </a:cubicBezTo>
                  <a:cubicBezTo>
                    <a:pt x="12386" y="16699"/>
                    <a:pt x="12405" y="16748"/>
                    <a:pt x="12423" y="16798"/>
                  </a:cubicBezTo>
                  <a:lnTo>
                    <a:pt x="12395" y="16894"/>
                  </a:lnTo>
                  <a:lnTo>
                    <a:pt x="12331" y="16954"/>
                  </a:lnTo>
                  <a:lnTo>
                    <a:pt x="12335" y="17094"/>
                  </a:lnTo>
                  <a:cubicBezTo>
                    <a:pt x="12355" y="17119"/>
                    <a:pt x="12375" y="17144"/>
                    <a:pt x="12396" y="17168"/>
                  </a:cubicBezTo>
                  <a:cubicBezTo>
                    <a:pt x="12423" y="17200"/>
                    <a:pt x="12450" y="17230"/>
                    <a:pt x="12478" y="17260"/>
                  </a:cubicBezTo>
                  <a:lnTo>
                    <a:pt x="12575" y="17255"/>
                  </a:lnTo>
                  <a:lnTo>
                    <a:pt x="12636" y="17120"/>
                  </a:lnTo>
                  <a:lnTo>
                    <a:pt x="12693" y="16980"/>
                  </a:lnTo>
                  <a:lnTo>
                    <a:pt x="12800" y="16904"/>
                  </a:lnTo>
                  <a:lnTo>
                    <a:pt x="12877" y="17115"/>
                  </a:lnTo>
                  <a:lnTo>
                    <a:pt x="12945" y="17317"/>
                  </a:lnTo>
                  <a:lnTo>
                    <a:pt x="12957" y="17518"/>
                  </a:lnTo>
                  <a:lnTo>
                    <a:pt x="13008" y="17691"/>
                  </a:lnTo>
                  <a:lnTo>
                    <a:pt x="13054" y="17855"/>
                  </a:lnTo>
                  <a:lnTo>
                    <a:pt x="13127" y="18014"/>
                  </a:lnTo>
                  <a:lnTo>
                    <a:pt x="13171" y="18203"/>
                  </a:lnTo>
                  <a:lnTo>
                    <a:pt x="13183" y="18371"/>
                  </a:lnTo>
                  <a:lnTo>
                    <a:pt x="13148" y="18675"/>
                  </a:lnTo>
                  <a:lnTo>
                    <a:pt x="13144" y="18870"/>
                  </a:lnTo>
                  <a:lnTo>
                    <a:pt x="13159" y="19080"/>
                  </a:lnTo>
                  <a:lnTo>
                    <a:pt x="13159" y="19174"/>
                  </a:lnTo>
                  <a:lnTo>
                    <a:pt x="13117" y="19238"/>
                  </a:lnTo>
                  <a:lnTo>
                    <a:pt x="13113" y="19347"/>
                  </a:lnTo>
                  <a:lnTo>
                    <a:pt x="13125" y="19507"/>
                  </a:lnTo>
                  <a:lnTo>
                    <a:pt x="13186" y="19549"/>
                  </a:lnTo>
                  <a:cubicBezTo>
                    <a:pt x="13215" y="19555"/>
                    <a:pt x="13242" y="19574"/>
                    <a:pt x="13263" y="19604"/>
                  </a:cubicBezTo>
                  <a:cubicBezTo>
                    <a:pt x="13285" y="19635"/>
                    <a:pt x="13300" y="19676"/>
                    <a:pt x="13306" y="19721"/>
                  </a:cubicBezTo>
                  <a:lnTo>
                    <a:pt x="13420" y="19817"/>
                  </a:lnTo>
                  <a:lnTo>
                    <a:pt x="13492" y="19981"/>
                  </a:lnTo>
                  <a:lnTo>
                    <a:pt x="13536" y="20099"/>
                  </a:lnTo>
                  <a:lnTo>
                    <a:pt x="13550" y="20266"/>
                  </a:lnTo>
                  <a:lnTo>
                    <a:pt x="13596" y="20554"/>
                  </a:lnTo>
                  <a:lnTo>
                    <a:pt x="13625" y="20775"/>
                  </a:lnTo>
                  <a:lnTo>
                    <a:pt x="13682" y="20923"/>
                  </a:lnTo>
                  <a:lnTo>
                    <a:pt x="13714" y="21021"/>
                  </a:lnTo>
                  <a:lnTo>
                    <a:pt x="13772" y="21189"/>
                  </a:lnTo>
                  <a:lnTo>
                    <a:pt x="13829" y="21220"/>
                  </a:lnTo>
                  <a:lnTo>
                    <a:pt x="13914" y="21327"/>
                  </a:lnTo>
                  <a:lnTo>
                    <a:pt x="13982" y="21385"/>
                  </a:lnTo>
                  <a:lnTo>
                    <a:pt x="14071" y="21477"/>
                  </a:lnTo>
                  <a:lnTo>
                    <a:pt x="14136" y="21600"/>
                  </a:lnTo>
                  <a:lnTo>
                    <a:pt x="14168" y="21558"/>
                  </a:lnTo>
                  <a:lnTo>
                    <a:pt x="14144" y="21461"/>
                  </a:lnTo>
                  <a:lnTo>
                    <a:pt x="14220" y="21456"/>
                  </a:lnTo>
                  <a:lnTo>
                    <a:pt x="14242" y="21376"/>
                  </a:lnTo>
                  <a:lnTo>
                    <a:pt x="14195" y="21227"/>
                  </a:lnTo>
                  <a:lnTo>
                    <a:pt x="14149" y="21028"/>
                  </a:lnTo>
                  <a:lnTo>
                    <a:pt x="14121" y="20856"/>
                  </a:lnTo>
                  <a:lnTo>
                    <a:pt x="14064" y="20706"/>
                  </a:lnTo>
                  <a:cubicBezTo>
                    <a:pt x="14060" y="20650"/>
                    <a:pt x="14051" y="20596"/>
                    <a:pt x="14037" y="20544"/>
                  </a:cubicBezTo>
                  <a:cubicBezTo>
                    <a:pt x="14023" y="20489"/>
                    <a:pt x="14004" y="20437"/>
                    <a:pt x="13980" y="20389"/>
                  </a:cubicBezTo>
                  <a:lnTo>
                    <a:pt x="13916" y="20256"/>
                  </a:lnTo>
                  <a:lnTo>
                    <a:pt x="13796" y="20153"/>
                  </a:lnTo>
                  <a:lnTo>
                    <a:pt x="13711" y="20030"/>
                  </a:lnTo>
                  <a:lnTo>
                    <a:pt x="13609" y="19920"/>
                  </a:lnTo>
                  <a:cubicBezTo>
                    <a:pt x="13556" y="19920"/>
                    <a:pt x="13507" y="19872"/>
                    <a:pt x="13485" y="19798"/>
                  </a:cubicBezTo>
                  <a:cubicBezTo>
                    <a:pt x="13470" y="19751"/>
                    <a:pt x="13469" y="19697"/>
                    <a:pt x="13481" y="19648"/>
                  </a:cubicBezTo>
                  <a:lnTo>
                    <a:pt x="13460" y="19495"/>
                  </a:lnTo>
                  <a:lnTo>
                    <a:pt x="13452" y="19396"/>
                  </a:lnTo>
                  <a:lnTo>
                    <a:pt x="13387" y="19310"/>
                  </a:lnTo>
                  <a:lnTo>
                    <a:pt x="13305" y="19191"/>
                  </a:lnTo>
                  <a:lnTo>
                    <a:pt x="13276" y="19059"/>
                  </a:lnTo>
                  <a:cubicBezTo>
                    <a:pt x="13277" y="19012"/>
                    <a:pt x="13280" y="18965"/>
                    <a:pt x="13285" y="18918"/>
                  </a:cubicBezTo>
                  <a:cubicBezTo>
                    <a:pt x="13292" y="18843"/>
                    <a:pt x="13304" y="18769"/>
                    <a:pt x="13320" y="18698"/>
                  </a:cubicBezTo>
                  <a:lnTo>
                    <a:pt x="13344" y="18550"/>
                  </a:lnTo>
                  <a:lnTo>
                    <a:pt x="13373" y="18396"/>
                  </a:lnTo>
                  <a:lnTo>
                    <a:pt x="13344" y="18289"/>
                  </a:lnTo>
                  <a:lnTo>
                    <a:pt x="13320" y="18141"/>
                  </a:lnTo>
                  <a:lnTo>
                    <a:pt x="13317" y="18024"/>
                  </a:lnTo>
                  <a:lnTo>
                    <a:pt x="13378" y="17962"/>
                  </a:lnTo>
                  <a:lnTo>
                    <a:pt x="13468" y="17956"/>
                  </a:lnTo>
                  <a:lnTo>
                    <a:pt x="13512" y="18073"/>
                  </a:lnTo>
                  <a:lnTo>
                    <a:pt x="13562" y="18139"/>
                  </a:lnTo>
                  <a:lnTo>
                    <a:pt x="13671" y="18279"/>
                  </a:lnTo>
                  <a:lnTo>
                    <a:pt x="13730" y="18310"/>
                  </a:lnTo>
                  <a:lnTo>
                    <a:pt x="13812" y="18382"/>
                  </a:lnTo>
                  <a:lnTo>
                    <a:pt x="13875" y="18423"/>
                  </a:lnTo>
                  <a:lnTo>
                    <a:pt x="13920" y="18490"/>
                  </a:lnTo>
                  <a:lnTo>
                    <a:pt x="13956" y="18648"/>
                  </a:lnTo>
                  <a:lnTo>
                    <a:pt x="14008" y="18743"/>
                  </a:lnTo>
                  <a:lnTo>
                    <a:pt x="14063" y="18771"/>
                  </a:lnTo>
                  <a:lnTo>
                    <a:pt x="14091" y="18862"/>
                  </a:lnTo>
                  <a:lnTo>
                    <a:pt x="14107" y="18940"/>
                  </a:lnTo>
                  <a:lnTo>
                    <a:pt x="14172" y="18933"/>
                  </a:lnTo>
                  <a:lnTo>
                    <a:pt x="14221" y="18872"/>
                  </a:lnTo>
                  <a:lnTo>
                    <a:pt x="14260" y="18826"/>
                  </a:lnTo>
                  <a:lnTo>
                    <a:pt x="14320" y="18833"/>
                  </a:lnTo>
                  <a:lnTo>
                    <a:pt x="14345" y="18921"/>
                  </a:lnTo>
                  <a:lnTo>
                    <a:pt x="14360" y="19056"/>
                  </a:lnTo>
                  <a:lnTo>
                    <a:pt x="14331" y="19130"/>
                  </a:lnTo>
                  <a:lnTo>
                    <a:pt x="14319" y="19343"/>
                  </a:lnTo>
                  <a:lnTo>
                    <a:pt x="14412" y="19408"/>
                  </a:lnTo>
                  <a:lnTo>
                    <a:pt x="14456" y="19286"/>
                  </a:lnTo>
                  <a:lnTo>
                    <a:pt x="14548" y="19241"/>
                  </a:lnTo>
                  <a:lnTo>
                    <a:pt x="14577" y="19051"/>
                  </a:lnTo>
                  <a:lnTo>
                    <a:pt x="14624" y="18944"/>
                  </a:lnTo>
                  <a:lnTo>
                    <a:pt x="14784" y="18882"/>
                  </a:lnTo>
                  <a:lnTo>
                    <a:pt x="14859" y="18791"/>
                  </a:lnTo>
                  <a:lnTo>
                    <a:pt x="15001" y="18675"/>
                  </a:lnTo>
                  <a:lnTo>
                    <a:pt x="15018" y="18428"/>
                  </a:lnTo>
                  <a:cubicBezTo>
                    <a:pt x="15027" y="18358"/>
                    <a:pt x="15029" y="18286"/>
                    <a:pt x="15026" y="18214"/>
                  </a:cubicBezTo>
                  <a:cubicBezTo>
                    <a:pt x="15023" y="18158"/>
                    <a:pt x="15016" y="18102"/>
                    <a:pt x="15005" y="18048"/>
                  </a:cubicBezTo>
                  <a:lnTo>
                    <a:pt x="14951" y="17795"/>
                  </a:lnTo>
                  <a:lnTo>
                    <a:pt x="14866" y="17561"/>
                  </a:lnTo>
                  <a:lnTo>
                    <a:pt x="14850" y="17352"/>
                  </a:lnTo>
                  <a:lnTo>
                    <a:pt x="14784" y="17141"/>
                  </a:lnTo>
                  <a:lnTo>
                    <a:pt x="14703" y="17036"/>
                  </a:lnTo>
                  <a:lnTo>
                    <a:pt x="14574" y="16931"/>
                  </a:lnTo>
                  <a:lnTo>
                    <a:pt x="14515" y="16866"/>
                  </a:lnTo>
                  <a:lnTo>
                    <a:pt x="14356" y="16669"/>
                  </a:lnTo>
                  <a:lnTo>
                    <a:pt x="14313" y="16504"/>
                  </a:lnTo>
                  <a:lnTo>
                    <a:pt x="14270" y="16280"/>
                  </a:lnTo>
                  <a:lnTo>
                    <a:pt x="14249" y="16054"/>
                  </a:lnTo>
                  <a:lnTo>
                    <a:pt x="14249" y="15855"/>
                  </a:lnTo>
                  <a:lnTo>
                    <a:pt x="14310" y="15701"/>
                  </a:lnTo>
                  <a:lnTo>
                    <a:pt x="14404" y="15603"/>
                  </a:lnTo>
                  <a:lnTo>
                    <a:pt x="14539" y="15572"/>
                  </a:lnTo>
                  <a:lnTo>
                    <a:pt x="14646" y="15529"/>
                  </a:lnTo>
                  <a:lnTo>
                    <a:pt x="14709" y="15498"/>
                  </a:lnTo>
                  <a:lnTo>
                    <a:pt x="14801" y="15566"/>
                  </a:lnTo>
                  <a:lnTo>
                    <a:pt x="14849" y="15613"/>
                  </a:lnTo>
                  <a:lnTo>
                    <a:pt x="14905" y="15711"/>
                  </a:lnTo>
                  <a:lnTo>
                    <a:pt x="14913" y="15816"/>
                  </a:lnTo>
                  <a:lnTo>
                    <a:pt x="14978" y="15932"/>
                  </a:lnTo>
                  <a:lnTo>
                    <a:pt x="15034" y="15903"/>
                  </a:lnTo>
                  <a:lnTo>
                    <a:pt x="15067" y="15749"/>
                  </a:lnTo>
                  <a:lnTo>
                    <a:pt x="15119" y="15621"/>
                  </a:lnTo>
                  <a:lnTo>
                    <a:pt x="15197" y="15541"/>
                  </a:lnTo>
                  <a:lnTo>
                    <a:pt x="15236" y="15492"/>
                  </a:lnTo>
                  <a:lnTo>
                    <a:pt x="15356" y="15426"/>
                  </a:lnTo>
                  <a:lnTo>
                    <a:pt x="15409" y="15420"/>
                  </a:lnTo>
                  <a:lnTo>
                    <a:pt x="15506" y="15420"/>
                  </a:lnTo>
                  <a:cubicBezTo>
                    <a:pt x="15541" y="15410"/>
                    <a:pt x="15576" y="15402"/>
                    <a:pt x="15611" y="15395"/>
                  </a:cubicBezTo>
                  <a:cubicBezTo>
                    <a:pt x="15656" y="15387"/>
                    <a:pt x="15702" y="15382"/>
                    <a:pt x="15748" y="15381"/>
                  </a:cubicBezTo>
                  <a:lnTo>
                    <a:pt x="15797" y="15264"/>
                  </a:lnTo>
                  <a:lnTo>
                    <a:pt x="15824" y="15215"/>
                  </a:lnTo>
                  <a:lnTo>
                    <a:pt x="15922" y="15247"/>
                  </a:lnTo>
                  <a:lnTo>
                    <a:pt x="16095" y="15132"/>
                  </a:lnTo>
                  <a:lnTo>
                    <a:pt x="16192" y="15009"/>
                  </a:lnTo>
                  <a:lnTo>
                    <a:pt x="16270" y="14854"/>
                  </a:lnTo>
                  <a:lnTo>
                    <a:pt x="16310" y="14737"/>
                  </a:lnTo>
                  <a:lnTo>
                    <a:pt x="16407" y="14620"/>
                  </a:lnTo>
                  <a:lnTo>
                    <a:pt x="16439" y="14464"/>
                  </a:lnTo>
                  <a:lnTo>
                    <a:pt x="16441" y="14274"/>
                  </a:lnTo>
                  <a:lnTo>
                    <a:pt x="16474" y="14063"/>
                  </a:lnTo>
                  <a:lnTo>
                    <a:pt x="16523" y="13908"/>
                  </a:lnTo>
                  <a:cubicBezTo>
                    <a:pt x="16537" y="13860"/>
                    <a:pt x="16549" y="13811"/>
                    <a:pt x="16559" y="13760"/>
                  </a:cubicBezTo>
                  <a:cubicBezTo>
                    <a:pt x="16573" y="13694"/>
                    <a:pt x="16583" y="13626"/>
                    <a:pt x="16590" y="13557"/>
                  </a:cubicBezTo>
                  <a:lnTo>
                    <a:pt x="16618" y="13434"/>
                  </a:lnTo>
                  <a:lnTo>
                    <a:pt x="16612" y="13238"/>
                  </a:lnTo>
                  <a:lnTo>
                    <a:pt x="16579" y="13087"/>
                  </a:lnTo>
                  <a:lnTo>
                    <a:pt x="16463" y="13118"/>
                  </a:lnTo>
                  <a:lnTo>
                    <a:pt x="16401" y="13023"/>
                  </a:lnTo>
                  <a:lnTo>
                    <a:pt x="16404" y="12902"/>
                  </a:lnTo>
                  <a:lnTo>
                    <a:pt x="16500" y="12877"/>
                  </a:lnTo>
                  <a:lnTo>
                    <a:pt x="16499" y="12711"/>
                  </a:lnTo>
                  <a:lnTo>
                    <a:pt x="16452" y="12608"/>
                  </a:lnTo>
                  <a:lnTo>
                    <a:pt x="16290" y="12516"/>
                  </a:lnTo>
                  <a:lnTo>
                    <a:pt x="16202" y="12414"/>
                  </a:lnTo>
                  <a:lnTo>
                    <a:pt x="16127" y="12274"/>
                  </a:lnTo>
                  <a:lnTo>
                    <a:pt x="16079" y="12031"/>
                  </a:lnTo>
                  <a:lnTo>
                    <a:pt x="16006" y="11871"/>
                  </a:lnTo>
                  <a:lnTo>
                    <a:pt x="15922" y="11816"/>
                  </a:lnTo>
                  <a:lnTo>
                    <a:pt x="15808" y="11687"/>
                  </a:lnTo>
                  <a:lnTo>
                    <a:pt x="15821" y="11475"/>
                  </a:lnTo>
                  <a:lnTo>
                    <a:pt x="15861" y="11346"/>
                  </a:lnTo>
                  <a:lnTo>
                    <a:pt x="15955" y="11253"/>
                  </a:lnTo>
                  <a:lnTo>
                    <a:pt x="16048" y="11167"/>
                  </a:lnTo>
                  <a:lnTo>
                    <a:pt x="16158" y="11093"/>
                  </a:lnTo>
                  <a:lnTo>
                    <a:pt x="16213" y="11001"/>
                  </a:lnTo>
                  <a:lnTo>
                    <a:pt x="16121" y="10906"/>
                  </a:lnTo>
                  <a:lnTo>
                    <a:pt x="16057" y="10878"/>
                  </a:lnTo>
                  <a:lnTo>
                    <a:pt x="15876" y="10796"/>
                  </a:lnTo>
                  <a:lnTo>
                    <a:pt x="15787" y="10913"/>
                  </a:lnTo>
                  <a:lnTo>
                    <a:pt x="15726" y="10986"/>
                  </a:lnTo>
                  <a:lnTo>
                    <a:pt x="15616" y="10898"/>
                  </a:lnTo>
                  <a:lnTo>
                    <a:pt x="15572" y="10814"/>
                  </a:lnTo>
                  <a:lnTo>
                    <a:pt x="15466" y="10773"/>
                  </a:lnTo>
                  <a:lnTo>
                    <a:pt x="15240" y="10656"/>
                  </a:lnTo>
                  <a:lnTo>
                    <a:pt x="15246" y="10486"/>
                  </a:lnTo>
                  <a:lnTo>
                    <a:pt x="15242" y="10361"/>
                  </a:lnTo>
                  <a:lnTo>
                    <a:pt x="15301" y="10324"/>
                  </a:lnTo>
                  <a:lnTo>
                    <a:pt x="15407" y="10336"/>
                  </a:lnTo>
                  <a:lnTo>
                    <a:pt x="15531" y="10149"/>
                  </a:lnTo>
                  <a:lnTo>
                    <a:pt x="15564" y="10015"/>
                  </a:lnTo>
                  <a:lnTo>
                    <a:pt x="15631" y="9837"/>
                  </a:lnTo>
                  <a:lnTo>
                    <a:pt x="15707" y="9806"/>
                  </a:lnTo>
                  <a:lnTo>
                    <a:pt x="15791" y="9837"/>
                  </a:lnTo>
                  <a:lnTo>
                    <a:pt x="15841" y="9943"/>
                  </a:lnTo>
                  <a:lnTo>
                    <a:pt x="15848" y="10050"/>
                  </a:lnTo>
                  <a:lnTo>
                    <a:pt x="15863" y="10231"/>
                  </a:lnTo>
                  <a:lnTo>
                    <a:pt x="15907" y="10340"/>
                  </a:lnTo>
                  <a:lnTo>
                    <a:pt x="15948" y="10401"/>
                  </a:lnTo>
                  <a:lnTo>
                    <a:pt x="16001" y="10382"/>
                  </a:lnTo>
                  <a:lnTo>
                    <a:pt x="16072" y="10288"/>
                  </a:lnTo>
                  <a:lnTo>
                    <a:pt x="16148" y="10200"/>
                  </a:lnTo>
                  <a:lnTo>
                    <a:pt x="16274" y="10150"/>
                  </a:lnTo>
                  <a:lnTo>
                    <a:pt x="16333" y="10181"/>
                  </a:lnTo>
                  <a:lnTo>
                    <a:pt x="16409" y="10234"/>
                  </a:lnTo>
                  <a:lnTo>
                    <a:pt x="16525" y="10312"/>
                  </a:lnTo>
                  <a:lnTo>
                    <a:pt x="16590" y="10442"/>
                  </a:lnTo>
                  <a:lnTo>
                    <a:pt x="16527" y="10497"/>
                  </a:lnTo>
                  <a:lnTo>
                    <a:pt x="16523" y="10644"/>
                  </a:lnTo>
                  <a:lnTo>
                    <a:pt x="16588" y="10729"/>
                  </a:lnTo>
                  <a:lnTo>
                    <a:pt x="16695" y="10722"/>
                  </a:lnTo>
                  <a:lnTo>
                    <a:pt x="16853" y="10809"/>
                  </a:lnTo>
                  <a:lnTo>
                    <a:pt x="16926" y="10987"/>
                  </a:lnTo>
                  <a:lnTo>
                    <a:pt x="16986" y="11078"/>
                  </a:lnTo>
                  <a:lnTo>
                    <a:pt x="17010" y="11232"/>
                  </a:lnTo>
                  <a:lnTo>
                    <a:pt x="17031" y="11349"/>
                  </a:lnTo>
                  <a:lnTo>
                    <a:pt x="17059" y="11498"/>
                  </a:lnTo>
                  <a:lnTo>
                    <a:pt x="17071" y="11651"/>
                  </a:lnTo>
                  <a:lnTo>
                    <a:pt x="17130" y="11766"/>
                  </a:lnTo>
                  <a:lnTo>
                    <a:pt x="17195" y="11815"/>
                  </a:lnTo>
                  <a:lnTo>
                    <a:pt x="17296" y="11702"/>
                  </a:lnTo>
                  <a:lnTo>
                    <a:pt x="17415" y="11614"/>
                  </a:lnTo>
                  <a:lnTo>
                    <a:pt x="17496" y="11558"/>
                  </a:lnTo>
                  <a:lnTo>
                    <a:pt x="17559" y="11499"/>
                  </a:lnTo>
                  <a:cubicBezTo>
                    <a:pt x="17562" y="11433"/>
                    <a:pt x="17556" y="11367"/>
                    <a:pt x="17540" y="11306"/>
                  </a:cubicBezTo>
                  <a:cubicBezTo>
                    <a:pt x="17525" y="11249"/>
                    <a:pt x="17502" y="11197"/>
                    <a:pt x="17473" y="11154"/>
                  </a:cubicBezTo>
                  <a:lnTo>
                    <a:pt x="17400" y="10964"/>
                  </a:lnTo>
                  <a:lnTo>
                    <a:pt x="17298" y="10799"/>
                  </a:lnTo>
                  <a:lnTo>
                    <a:pt x="17248" y="10793"/>
                  </a:lnTo>
                  <a:lnTo>
                    <a:pt x="17072" y="10623"/>
                  </a:lnTo>
                  <a:lnTo>
                    <a:pt x="16989" y="10544"/>
                  </a:lnTo>
                  <a:lnTo>
                    <a:pt x="16900" y="10423"/>
                  </a:lnTo>
                  <a:lnTo>
                    <a:pt x="16820" y="10351"/>
                  </a:lnTo>
                  <a:lnTo>
                    <a:pt x="16820" y="10220"/>
                  </a:lnTo>
                  <a:lnTo>
                    <a:pt x="16933" y="10133"/>
                  </a:lnTo>
                  <a:lnTo>
                    <a:pt x="17068" y="10029"/>
                  </a:lnTo>
                  <a:lnTo>
                    <a:pt x="17083" y="9914"/>
                  </a:lnTo>
                  <a:lnTo>
                    <a:pt x="17049" y="9761"/>
                  </a:lnTo>
                  <a:lnTo>
                    <a:pt x="16957" y="9770"/>
                  </a:lnTo>
                  <a:cubicBezTo>
                    <a:pt x="16942" y="9699"/>
                    <a:pt x="16956" y="9621"/>
                    <a:pt x="16992" y="9571"/>
                  </a:cubicBezTo>
                  <a:cubicBezTo>
                    <a:pt x="17020" y="9533"/>
                    <a:pt x="17058" y="9517"/>
                    <a:pt x="17095" y="9528"/>
                  </a:cubicBezTo>
                  <a:cubicBezTo>
                    <a:pt x="17106" y="9498"/>
                    <a:pt x="17116" y="9467"/>
                    <a:pt x="17123" y="9435"/>
                  </a:cubicBezTo>
                  <a:cubicBezTo>
                    <a:pt x="17139" y="9373"/>
                    <a:pt x="17147" y="9308"/>
                    <a:pt x="17149" y="9242"/>
                  </a:cubicBezTo>
                  <a:lnTo>
                    <a:pt x="17174" y="9110"/>
                  </a:lnTo>
                  <a:lnTo>
                    <a:pt x="17248" y="9178"/>
                  </a:lnTo>
                  <a:lnTo>
                    <a:pt x="17347" y="9270"/>
                  </a:lnTo>
                  <a:lnTo>
                    <a:pt x="17392" y="9297"/>
                  </a:lnTo>
                  <a:lnTo>
                    <a:pt x="17514" y="9286"/>
                  </a:lnTo>
                  <a:lnTo>
                    <a:pt x="17568" y="9177"/>
                  </a:lnTo>
                  <a:cubicBezTo>
                    <a:pt x="17590" y="9119"/>
                    <a:pt x="17610" y="9059"/>
                    <a:pt x="17626" y="8997"/>
                  </a:cubicBezTo>
                  <a:cubicBezTo>
                    <a:pt x="17641" y="8944"/>
                    <a:pt x="17653" y="8890"/>
                    <a:pt x="17663" y="8835"/>
                  </a:cubicBezTo>
                  <a:lnTo>
                    <a:pt x="17709" y="8691"/>
                  </a:lnTo>
                  <a:lnTo>
                    <a:pt x="17732" y="8540"/>
                  </a:lnTo>
                  <a:lnTo>
                    <a:pt x="17783" y="8406"/>
                  </a:lnTo>
                  <a:lnTo>
                    <a:pt x="17835" y="8208"/>
                  </a:lnTo>
                  <a:lnTo>
                    <a:pt x="17770" y="8060"/>
                  </a:lnTo>
                  <a:lnTo>
                    <a:pt x="17770" y="7890"/>
                  </a:lnTo>
                  <a:lnTo>
                    <a:pt x="17823" y="7767"/>
                  </a:lnTo>
                  <a:lnTo>
                    <a:pt x="17830" y="7600"/>
                  </a:lnTo>
                  <a:cubicBezTo>
                    <a:pt x="17813" y="7554"/>
                    <a:pt x="17796" y="7509"/>
                    <a:pt x="17778" y="7463"/>
                  </a:cubicBezTo>
                  <a:cubicBezTo>
                    <a:pt x="17763" y="7423"/>
                    <a:pt x="17747" y="7384"/>
                    <a:pt x="17735" y="7341"/>
                  </a:cubicBezTo>
                  <a:cubicBezTo>
                    <a:pt x="17715" y="7271"/>
                    <a:pt x="17705" y="7195"/>
                    <a:pt x="17707" y="7119"/>
                  </a:cubicBezTo>
                  <a:lnTo>
                    <a:pt x="17634" y="7044"/>
                  </a:lnTo>
                  <a:lnTo>
                    <a:pt x="17580" y="7052"/>
                  </a:lnTo>
                  <a:lnTo>
                    <a:pt x="17503" y="6849"/>
                  </a:lnTo>
                  <a:lnTo>
                    <a:pt x="17459" y="6758"/>
                  </a:lnTo>
                  <a:lnTo>
                    <a:pt x="17435" y="6611"/>
                  </a:lnTo>
                  <a:lnTo>
                    <a:pt x="17373" y="6495"/>
                  </a:lnTo>
                  <a:lnTo>
                    <a:pt x="17240" y="6324"/>
                  </a:lnTo>
                  <a:lnTo>
                    <a:pt x="17132" y="6263"/>
                  </a:lnTo>
                  <a:lnTo>
                    <a:pt x="17059" y="6103"/>
                  </a:lnTo>
                  <a:lnTo>
                    <a:pt x="16962" y="6028"/>
                  </a:lnTo>
                  <a:lnTo>
                    <a:pt x="16881" y="6047"/>
                  </a:lnTo>
                  <a:lnTo>
                    <a:pt x="16783" y="6115"/>
                  </a:lnTo>
                  <a:lnTo>
                    <a:pt x="16687" y="6140"/>
                  </a:lnTo>
                  <a:lnTo>
                    <a:pt x="16607" y="6103"/>
                  </a:lnTo>
                  <a:lnTo>
                    <a:pt x="16460" y="6072"/>
                  </a:lnTo>
                  <a:lnTo>
                    <a:pt x="16403" y="6004"/>
                  </a:lnTo>
                  <a:lnTo>
                    <a:pt x="16326" y="5924"/>
                  </a:lnTo>
                  <a:lnTo>
                    <a:pt x="16206" y="5924"/>
                  </a:lnTo>
                  <a:lnTo>
                    <a:pt x="16146" y="5807"/>
                  </a:lnTo>
                  <a:lnTo>
                    <a:pt x="16226" y="5720"/>
                  </a:lnTo>
                  <a:lnTo>
                    <a:pt x="16275" y="5634"/>
                  </a:lnTo>
                  <a:lnTo>
                    <a:pt x="16349" y="5282"/>
                  </a:lnTo>
                  <a:lnTo>
                    <a:pt x="16330" y="5106"/>
                  </a:lnTo>
                  <a:lnTo>
                    <a:pt x="16362" y="4989"/>
                  </a:lnTo>
                  <a:lnTo>
                    <a:pt x="16434" y="4856"/>
                  </a:lnTo>
                  <a:lnTo>
                    <a:pt x="16537" y="4743"/>
                  </a:lnTo>
                  <a:lnTo>
                    <a:pt x="16606" y="4658"/>
                  </a:lnTo>
                  <a:lnTo>
                    <a:pt x="16694" y="4611"/>
                  </a:lnTo>
                  <a:lnTo>
                    <a:pt x="16817" y="4582"/>
                  </a:lnTo>
                  <a:lnTo>
                    <a:pt x="16917" y="4582"/>
                  </a:lnTo>
                  <a:lnTo>
                    <a:pt x="17020" y="4619"/>
                  </a:lnTo>
                  <a:lnTo>
                    <a:pt x="17129" y="4632"/>
                  </a:lnTo>
                  <a:lnTo>
                    <a:pt x="17261" y="4626"/>
                  </a:lnTo>
                  <a:lnTo>
                    <a:pt x="17398" y="4558"/>
                  </a:lnTo>
                  <a:lnTo>
                    <a:pt x="17471" y="4527"/>
                  </a:lnTo>
                  <a:lnTo>
                    <a:pt x="17580" y="4490"/>
                  </a:lnTo>
                  <a:lnTo>
                    <a:pt x="17633" y="4527"/>
                  </a:lnTo>
                  <a:lnTo>
                    <a:pt x="17686" y="4607"/>
                  </a:lnTo>
                  <a:lnTo>
                    <a:pt x="17787" y="4674"/>
                  </a:lnTo>
                  <a:lnTo>
                    <a:pt x="17836" y="4724"/>
                  </a:lnTo>
                  <a:lnTo>
                    <a:pt x="17952" y="4730"/>
                  </a:lnTo>
                  <a:lnTo>
                    <a:pt x="18081" y="4644"/>
                  </a:lnTo>
                  <a:lnTo>
                    <a:pt x="18189" y="4625"/>
                  </a:lnTo>
                  <a:lnTo>
                    <a:pt x="18143" y="4366"/>
                  </a:lnTo>
                  <a:cubicBezTo>
                    <a:pt x="18105" y="4367"/>
                    <a:pt x="18070" y="4330"/>
                    <a:pt x="18058" y="4274"/>
                  </a:cubicBezTo>
                  <a:cubicBezTo>
                    <a:pt x="18044" y="4208"/>
                    <a:pt x="18064" y="4136"/>
                    <a:pt x="18106" y="4107"/>
                  </a:cubicBezTo>
                  <a:cubicBezTo>
                    <a:pt x="18105" y="4044"/>
                    <a:pt x="18122" y="3983"/>
                    <a:pt x="18153" y="3941"/>
                  </a:cubicBezTo>
                  <a:cubicBezTo>
                    <a:pt x="18184" y="3898"/>
                    <a:pt x="18225" y="3878"/>
                    <a:pt x="18266" y="3886"/>
                  </a:cubicBezTo>
                  <a:lnTo>
                    <a:pt x="18388" y="3912"/>
                  </a:lnTo>
                  <a:lnTo>
                    <a:pt x="18433" y="3986"/>
                  </a:lnTo>
                  <a:lnTo>
                    <a:pt x="18561" y="3941"/>
                  </a:lnTo>
                  <a:lnTo>
                    <a:pt x="18622" y="4058"/>
                  </a:lnTo>
                  <a:lnTo>
                    <a:pt x="18642" y="4156"/>
                  </a:lnTo>
                  <a:lnTo>
                    <a:pt x="18742" y="4173"/>
                  </a:lnTo>
                  <a:lnTo>
                    <a:pt x="18819" y="4105"/>
                  </a:lnTo>
                  <a:lnTo>
                    <a:pt x="18815" y="3967"/>
                  </a:lnTo>
                  <a:lnTo>
                    <a:pt x="18815" y="3844"/>
                  </a:lnTo>
                  <a:lnTo>
                    <a:pt x="18867" y="3773"/>
                  </a:lnTo>
                  <a:lnTo>
                    <a:pt x="18940" y="3726"/>
                  </a:lnTo>
                  <a:lnTo>
                    <a:pt x="19014" y="3739"/>
                  </a:lnTo>
                  <a:lnTo>
                    <a:pt x="19059" y="3881"/>
                  </a:lnTo>
                  <a:lnTo>
                    <a:pt x="19100" y="4056"/>
                  </a:lnTo>
                  <a:lnTo>
                    <a:pt x="19170" y="4183"/>
                  </a:lnTo>
                  <a:lnTo>
                    <a:pt x="19186" y="4282"/>
                  </a:lnTo>
                  <a:lnTo>
                    <a:pt x="19098" y="4430"/>
                  </a:lnTo>
                  <a:lnTo>
                    <a:pt x="19067" y="4607"/>
                  </a:lnTo>
                  <a:lnTo>
                    <a:pt x="19096" y="4814"/>
                  </a:lnTo>
                  <a:lnTo>
                    <a:pt x="19031" y="4991"/>
                  </a:lnTo>
                  <a:lnTo>
                    <a:pt x="18966" y="5108"/>
                  </a:lnTo>
                  <a:cubicBezTo>
                    <a:pt x="18954" y="5143"/>
                    <a:pt x="18950" y="5183"/>
                    <a:pt x="18953" y="5223"/>
                  </a:cubicBezTo>
                  <a:cubicBezTo>
                    <a:pt x="18962" y="5311"/>
                    <a:pt x="19008" y="5380"/>
                    <a:pt x="19066" y="5393"/>
                  </a:cubicBezTo>
                  <a:lnTo>
                    <a:pt x="19082" y="5556"/>
                  </a:lnTo>
                  <a:lnTo>
                    <a:pt x="19157" y="5665"/>
                  </a:lnTo>
                  <a:lnTo>
                    <a:pt x="19206" y="5747"/>
                  </a:lnTo>
                  <a:lnTo>
                    <a:pt x="19243" y="5909"/>
                  </a:lnTo>
                  <a:lnTo>
                    <a:pt x="19298" y="5952"/>
                  </a:lnTo>
                  <a:lnTo>
                    <a:pt x="19402" y="6100"/>
                  </a:lnTo>
                  <a:lnTo>
                    <a:pt x="19470" y="6174"/>
                  </a:lnTo>
                  <a:lnTo>
                    <a:pt x="19527" y="6193"/>
                  </a:lnTo>
                  <a:lnTo>
                    <a:pt x="19531" y="6369"/>
                  </a:lnTo>
                  <a:lnTo>
                    <a:pt x="19624" y="6357"/>
                  </a:lnTo>
                  <a:lnTo>
                    <a:pt x="19673" y="6369"/>
                  </a:lnTo>
                  <a:lnTo>
                    <a:pt x="19721" y="6499"/>
                  </a:lnTo>
                  <a:lnTo>
                    <a:pt x="19782" y="6579"/>
                  </a:lnTo>
                  <a:lnTo>
                    <a:pt x="19822" y="6747"/>
                  </a:lnTo>
                  <a:lnTo>
                    <a:pt x="19922" y="6825"/>
                  </a:lnTo>
                  <a:lnTo>
                    <a:pt x="19989" y="6912"/>
                  </a:lnTo>
                  <a:lnTo>
                    <a:pt x="20047" y="6840"/>
                  </a:lnTo>
                  <a:lnTo>
                    <a:pt x="20095" y="6770"/>
                  </a:lnTo>
                  <a:lnTo>
                    <a:pt x="20141" y="6776"/>
                  </a:lnTo>
                  <a:lnTo>
                    <a:pt x="20122" y="6661"/>
                  </a:lnTo>
                  <a:cubicBezTo>
                    <a:pt x="20096" y="6629"/>
                    <a:pt x="20076" y="6588"/>
                    <a:pt x="20063" y="6541"/>
                  </a:cubicBezTo>
                  <a:cubicBezTo>
                    <a:pt x="20048" y="6486"/>
                    <a:pt x="20044" y="6426"/>
                    <a:pt x="20051" y="6368"/>
                  </a:cubicBezTo>
                  <a:lnTo>
                    <a:pt x="20097" y="6333"/>
                  </a:lnTo>
                  <a:lnTo>
                    <a:pt x="20060" y="6229"/>
                  </a:lnTo>
                  <a:lnTo>
                    <a:pt x="20028" y="6130"/>
                  </a:lnTo>
                  <a:cubicBezTo>
                    <a:pt x="20017" y="6102"/>
                    <a:pt x="20015" y="6068"/>
                    <a:pt x="20024" y="6038"/>
                  </a:cubicBezTo>
                  <a:cubicBezTo>
                    <a:pt x="20032" y="6008"/>
                    <a:pt x="20050" y="5987"/>
                    <a:pt x="20071" y="5981"/>
                  </a:cubicBezTo>
                  <a:lnTo>
                    <a:pt x="20148" y="5952"/>
                  </a:lnTo>
                  <a:lnTo>
                    <a:pt x="20116" y="5824"/>
                  </a:lnTo>
                  <a:lnTo>
                    <a:pt x="20073" y="5726"/>
                  </a:lnTo>
                  <a:lnTo>
                    <a:pt x="20027" y="5675"/>
                  </a:lnTo>
                  <a:lnTo>
                    <a:pt x="19988" y="5459"/>
                  </a:lnTo>
                  <a:lnTo>
                    <a:pt x="19971" y="5357"/>
                  </a:lnTo>
                  <a:lnTo>
                    <a:pt x="19889" y="5276"/>
                  </a:lnTo>
                  <a:cubicBezTo>
                    <a:pt x="19848" y="5275"/>
                    <a:pt x="19809" y="5248"/>
                    <a:pt x="19781" y="5203"/>
                  </a:cubicBezTo>
                  <a:cubicBezTo>
                    <a:pt x="19758" y="5165"/>
                    <a:pt x="19743" y="5118"/>
                    <a:pt x="19740" y="5067"/>
                  </a:cubicBezTo>
                  <a:lnTo>
                    <a:pt x="19649" y="5030"/>
                  </a:lnTo>
                  <a:lnTo>
                    <a:pt x="19552" y="5065"/>
                  </a:lnTo>
                  <a:lnTo>
                    <a:pt x="19499" y="4954"/>
                  </a:lnTo>
                  <a:lnTo>
                    <a:pt x="19530" y="4815"/>
                  </a:lnTo>
                  <a:lnTo>
                    <a:pt x="19474" y="4739"/>
                  </a:lnTo>
                  <a:lnTo>
                    <a:pt x="19445" y="4653"/>
                  </a:lnTo>
                  <a:lnTo>
                    <a:pt x="19429" y="4566"/>
                  </a:lnTo>
                  <a:lnTo>
                    <a:pt x="19532" y="4463"/>
                  </a:lnTo>
                  <a:lnTo>
                    <a:pt x="19674" y="4445"/>
                  </a:lnTo>
                  <a:lnTo>
                    <a:pt x="19757" y="4410"/>
                  </a:lnTo>
                  <a:lnTo>
                    <a:pt x="19810" y="4391"/>
                  </a:lnTo>
                  <a:lnTo>
                    <a:pt x="19862" y="4330"/>
                  </a:lnTo>
                  <a:lnTo>
                    <a:pt x="19913" y="4237"/>
                  </a:lnTo>
                  <a:lnTo>
                    <a:pt x="19960" y="4135"/>
                  </a:lnTo>
                  <a:lnTo>
                    <a:pt x="20017" y="4135"/>
                  </a:lnTo>
                  <a:lnTo>
                    <a:pt x="20052" y="4258"/>
                  </a:lnTo>
                  <a:lnTo>
                    <a:pt x="20103" y="4307"/>
                  </a:lnTo>
                  <a:lnTo>
                    <a:pt x="20167" y="4360"/>
                  </a:lnTo>
                  <a:lnTo>
                    <a:pt x="20240" y="4360"/>
                  </a:lnTo>
                  <a:lnTo>
                    <a:pt x="20330" y="4258"/>
                  </a:lnTo>
                  <a:lnTo>
                    <a:pt x="20441" y="4155"/>
                  </a:lnTo>
                  <a:lnTo>
                    <a:pt x="20460" y="4007"/>
                  </a:lnTo>
                  <a:lnTo>
                    <a:pt x="20532" y="3897"/>
                  </a:lnTo>
                  <a:lnTo>
                    <a:pt x="20647" y="3796"/>
                  </a:lnTo>
                  <a:lnTo>
                    <a:pt x="20690" y="3796"/>
                  </a:lnTo>
                  <a:lnTo>
                    <a:pt x="20798" y="3815"/>
                  </a:lnTo>
                  <a:lnTo>
                    <a:pt x="20974" y="3825"/>
                  </a:lnTo>
                  <a:lnTo>
                    <a:pt x="21043" y="3689"/>
                  </a:lnTo>
                  <a:lnTo>
                    <a:pt x="20828" y="3616"/>
                  </a:lnTo>
                  <a:lnTo>
                    <a:pt x="20699" y="3488"/>
                  </a:lnTo>
                  <a:cubicBezTo>
                    <a:pt x="20651" y="3440"/>
                    <a:pt x="20598" y="3408"/>
                    <a:pt x="20541" y="3395"/>
                  </a:cubicBezTo>
                  <a:cubicBezTo>
                    <a:pt x="20487" y="3382"/>
                    <a:pt x="20431" y="3387"/>
                    <a:pt x="20377" y="3369"/>
                  </a:cubicBezTo>
                  <a:cubicBezTo>
                    <a:pt x="20319" y="3349"/>
                    <a:pt x="20265" y="3304"/>
                    <a:pt x="20223" y="3239"/>
                  </a:cubicBezTo>
                  <a:lnTo>
                    <a:pt x="20154" y="3103"/>
                  </a:lnTo>
                  <a:lnTo>
                    <a:pt x="20236" y="3024"/>
                  </a:lnTo>
                  <a:lnTo>
                    <a:pt x="20355" y="3107"/>
                  </a:lnTo>
                  <a:lnTo>
                    <a:pt x="20443" y="3134"/>
                  </a:lnTo>
                  <a:lnTo>
                    <a:pt x="20540" y="3140"/>
                  </a:lnTo>
                  <a:lnTo>
                    <a:pt x="20552" y="3056"/>
                  </a:lnTo>
                  <a:lnTo>
                    <a:pt x="20456" y="2990"/>
                  </a:lnTo>
                  <a:lnTo>
                    <a:pt x="20365" y="2851"/>
                  </a:lnTo>
                  <a:lnTo>
                    <a:pt x="20463" y="2783"/>
                  </a:lnTo>
                  <a:lnTo>
                    <a:pt x="20569" y="2870"/>
                  </a:lnTo>
                  <a:lnTo>
                    <a:pt x="20686" y="2876"/>
                  </a:lnTo>
                  <a:lnTo>
                    <a:pt x="20806" y="2925"/>
                  </a:lnTo>
                  <a:lnTo>
                    <a:pt x="20940" y="2947"/>
                  </a:lnTo>
                  <a:lnTo>
                    <a:pt x="21026" y="2924"/>
                  </a:lnTo>
                  <a:lnTo>
                    <a:pt x="21094" y="3032"/>
                  </a:lnTo>
                  <a:lnTo>
                    <a:pt x="21270" y="3145"/>
                  </a:lnTo>
                  <a:lnTo>
                    <a:pt x="21423" y="3219"/>
                  </a:lnTo>
                  <a:lnTo>
                    <a:pt x="21566" y="3127"/>
                  </a:lnTo>
                  <a:lnTo>
                    <a:pt x="21600" y="3078"/>
                  </a:lnTo>
                  <a:lnTo>
                    <a:pt x="21527" y="3010"/>
                  </a:lnTo>
                  <a:lnTo>
                    <a:pt x="21426" y="2891"/>
                  </a:lnTo>
                  <a:lnTo>
                    <a:pt x="21301" y="2737"/>
                  </a:lnTo>
                  <a:lnTo>
                    <a:pt x="21190" y="2630"/>
                  </a:lnTo>
                  <a:lnTo>
                    <a:pt x="21119" y="2630"/>
                  </a:lnTo>
                  <a:lnTo>
                    <a:pt x="21030" y="2636"/>
                  </a:lnTo>
                  <a:lnTo>
                    <a:pt x="20974" y="2686"/>
                  </a:lnTo>
                  <a:lnTo>
                    <a:pt x="20878" y="2770"/>
                  </a:lnTo>
                  <a:lnTo>
                    <a:pt x="20770" y="2686"/>
                  </a:lnTo>
                  <a:lnTo>
                    <a:pt x="20722" y="2588"/>
                  </a:lnTo>
                  <a:lnTo>
                    <a:pt x="20543" y="2472"/>
                  </a:lnTo>
                  <a:lnTo>
                    <a:pt x="20456" y="2425"/>
                  </a:lnTo>
                  <a:lnTo>
                    <a:pt x="20307" y="2425"/>
                  </a:lnTo>
                  <a:lnTo>
                    <a:pt x="20202" y="2382"/>
                  </a:lnTo>
                  <a:lnTo>
                    <a:pt x="20089" y="2339"/>
                  </a:lnTo>
                  <a:lnTo>
                    <a:pt x="19926" y="2311"/>
                  </a:lnTo>
                  <a:lnTo>
                    <a:pt x="19800" y="2213"/>
                  </a:lnTo>
                  <a:lnTo>
                    <a:pt x="19643" y="2083"/>
                  </a:lnTo>
                  <a:lnTo>
                    <a:pt x="19551" y="2052"/>
                  </a:lnTo>
                  <a:lnTo>
                    <a:pt x="19315" y="2034"/>
                  </a:lnTo>
                  <a:lnTo>
                    <a:pt x="19215" y="1997"/>
                  </a:lnTo>
                  <a:lnTo>
                    <a:pt x="19122" y="1921"/>
                  </a:lnTo>
                  <a:lnTo>
                    <a:pt x="18920" y="1933"/>
                  </a:lnTo>
                  <a:lnTo>
                    <a:pt x="18735" y="1921"/>
                  </a:lnTo>
                  <a:lnTo>
                    <a:pt x="18590" y="1909"/>
                  </a:lnTo>
                  <a:lnTo>
                    <a:pt x="18496" y="1822"/>
                  </a:lnTo>
                  <a:lnTo>
                    <a:pt x="18364" y="1797"/>
                  </a:lnTo>
                  <a:lnTo>
                    <a:pt x="18239" y="1810"/>
                  </a:lnTo>
                  <a:lnTo>
                    <a:pt x="18137" y="1829"/>
                  </a:lnTo>
                  <a:lnTo>
                    <a:pt x="18157" y="1902"/>
                  </a:lnTo>
                  <a:lnTo>
                    <a:pt x="18248" y="1991"/>
                  </a:lnTo>
                  <a:lnTo>
                    <a:pt x="18296" y="2120"/>
                  </a:lnTo>
                  <a:lnTo>
                    <a:pt x="18233" y="2151"/>
                  </a:lnTo>
                  <a:lnTo>
                    <a:pt x="18148" y="2110"/>
                  </a:lnTo>
                  <a:lnTo>
                    <a:pt x="18025" y="2036"/>
                  </a:lnTo>
                  <a:lnTo>
                    <a:pt x="17903" y="1987"/>
                  </a:lnTo>
                  <a:lnTo>
                    <a:pt x="17710" y="1891"/>
                  </a:lnTo>
                  <a:lnTo>
                    <a:pt x="17551" y="1878"/>
                  </a:lnTo>
                  <a:lnTo>
                    <a:pt x="17370" y="1915"/>
                  </a:lnTo>
                  <a:lnTo>
                    <a:pt x="17038" y="1989"/>
                  </a:lnTo>
                  <a:lnTo>
                    <a:pt x="16827" y="1926"/>
                  </a:lnTo>
                  <a:lnTo>
                    <a:pt x="16722" y="1858"/>
                  </a:lnTo>
                  <a:lnTo>
                    <a:pt x="16565" y="1799"/>
                  </a:lnTo>
                  <a:lnTo>
                    <a:pt x="16503" y="1709"/>
                  </a:lnTo>
                  <a:lnTo>
                    <a:pt x="16417" y="1665"/>
                  </a:lnTo>
                  <a:lnTo>
                    <a:pt x="16350" y="1665"/>
                  </a:lnTo>
                  <a:lnTo>
                    <a:pt x="16180" y="1702"/>
                  </a:lnTo>
                  <a:lnTo>
                    <a:pt x="15880" y="1706"/>
                  </a:lnTo>
                  <a:lnTo>
                    <a:pt x="15742" y="1620"/>
                  </a:lnTo>
                  <a:lnTo>
                    <a:pt x="15543" y="1620"/>
                  </a:lnTo>
                  <a:lnTo>
                    <a:pt x="15307" y="1595"/>
                  </a:lnTo>
                  <a:lnTo>
                    <a:pt x="15157" y="1620"/>
                  </a:lnTo>
                  <a:lnTo>
                    <a:pt x="15047" y="1501"/>
                  </a:lnTo>
                  <a:lnTo>
                    <a:pt x="14881" y="1420"/>
                  </a:lnTo>
                  <a:lnTo>
                    <a:pt x="14763" y="1303"/>
                  </a:lnTo>
                  <a:lnTo>
                    <a:pt x="14679" y="1266"/>
                  </a:lnTo>
                  <a:lnTo>
                    <a:pt x="14635" y="1352"/>
                  </a:lnTo>
                  <a:lnTo>
                    <a:pt x="14550" y="1352"/>
                  </a:lnTo>
                  <a:lnTo>
                    <a:pt x="14462" y="1297"/>
                  </a:lnTo>
                  <a:lnTo>
                    <a:pt x="14166" y="1211"/>
                  </a:lnTo>
                  <a:lnTo>
                    <a:pt x="14073" y="1169"/>
                  </a:lnTo>
                  <a:lnTo>
                    <a:pt x="13945" y="1162"/>
                  </a:lnTo>
                  <a:lnTo>
                    <a:pt x="13813" y="1181"/>
                  </a:lnTo>
                  <a:lnTo>
                    <a:pt x="13627" y="1224"/>
                  </a:lnTo>
                  <a:lnTo>
                    <a:pt x="13667" y="1317"/>
                  </a:lnTo>
                  <a:lnTo>
                    <a:pt x="13749" y="1403"/>
                  </a:lnTo>
                  <a:lnTo>
                    <a:pt x="13692" y="1507"/>
                  </a:lnTo>
                  <a:lnTo>
                    <a:pt x="13597" y="1536"/>
                  </a:lnTo>
                  <a:lnTo>
                    <a:pt x="13538" y="1628"/>
                  </a:lnTo>
                  <a:lnTo>
                    <a:pt x="13428" y="1659"/>
                  </a:lnTo>
                  <a:lnTo>
                    <a:pt x="13358" y="1560"/>
                  </a:lnTo>
                  <a:lnTo>
                    <a:pt x="13216" y="1548"/>
                  </a:lnTo>
                  <a:lnTo>
                    <a:pt x="13131" y="1566"/>
                  </a:lnTo>
                  <a:lnTo>
                    <a:pt x="13104" y="1505"/>
                  </a:lnTo>
                  <a:lnTo>
                    <a:pt x="12982" y="1530"/>
                  </a:lnTo>
                  <a:lnTo>
                    <a:pt x="12917" y="1609"/>
                  </a:lnTo>
                  <a:lnTo>
                    <a:pt x="12808" y="1661"/>
                  </a:lnTo>
                  <a:lnTo>
                    <a:pt x="12730" y="1716"/>
                  </a:lnTo>
                  <a:lnTo>
                    <a:pt x="12648" y="1673"/>
                  </a:lnTo>
                  <a:lnTo>
                    <a:pt x="12554" y="1612"/>
                  </a:lnTo>
                  <a:lnTo>
                    <a:pt x="12432" y="1501"/>
                  </a:lnTo>
                  <a:lnTo>
                    <a:pt x="12362" y="1435"/>
                  </a:lnTo>
                  <a:lnTo>
                    <a:pt x="12252" y="1303"/>
                  </a:lnTo>
                  <a:lnTo>
                    <a:pt x="12198" y="1196"/>
                  </a:lnTo>
                  <a:lnTo>
                    <a:pt x="12065" y="1147"/>
                  </a:lnTo>
                  <a:lnTo>
                    <a:pt x="11907" y="1091"/>
                  </a:lnTo>
                  <a:lnTo>
                    <a:pt x="11807" y="1027"/>
                  </a:lnTo>
                  <a:lnTo>
                    <a:pt x="11650" y="1040"/>
                  </a:lnTo>
                  <a:lnTo>
                    <a:pt x="11476" y="1046"/>
                  </a:lnTo>
                  <a:lnTo>
                    <a:pt x="11319" y="1107"/>
                  </a:lnTo>
                  <a:lnTo>
                    <a:pt x="11161" y="1175"/>
                  </a:lnTo>
                  <a:lnTo>
                    <a:pt x="11102" y="1212"/>
                  </a:lnTo>
                  <a:lnTo>
                    <a:pt x="10997" y="1157"/>
                  </a:lnTo>
                  <a:lnTo>
                    <a:pt x="10925" y="1085"/>
                  </a:lnTo>
                  <a:lnTo>
                    <a:pt x="10818" y="1062"/>
                  </a:lnTo>
                  <a:lnTo>
                    <a:pt x="10706" y="1005"/>
                  </a:lnTo>
                  <a:lnTo>
                    <a:pt x="10635" y="986"/>
                  </a:lnTo>
                  <a:lnTo>
                    <a:pt x="10534" y="1017"/>
                  </a:lnTo>
                  <a:lnTo>
                    <a:pt x="10460" y="1067"/>
                  </a:lnTo>
                  <a:lnTo>
                    <a:pt x="10390" y="1116"/>
                  </a:lnTo>
                  <a:lnTo>
                    <a:pt x="10258" y="1109"/>
                  </a:lnTo>
                  <a:lnTo>
                    <a:pt x="10185" y="1048"/>
                  </a:lnTo>
                  <a:lnTo>
                    <a:pt x="10067" y="999"/>
                  </a:lnTo>
                  <a:lnTo>
                    <a:pt x="10001" y="925"/>
                  </a:lnTo>
                  <a:lnTo>
                    <a:pt x="9915" y="908"/>
                  </a:lnTo>
                  <a:lnTo>
                    <a:pt x="9859" y="933"/>
                  </a:lnTo>
                  <a:lnTo>
                    <a:pt x="9750" y="999"/>
                  </a:lnTo>
                  <a:lnTo>
                    <a:pt x="9570" y="1077"/>
                  </a:lnTo>
                  <a:lnTo>
                    <a:pt x="9446" y="1137"/>
                  </a:lnTo>
                  <a:lnTo>
                    <a:pt x="9279" y="1137"/>
                  </a:lnTo>
                  <a:lnTo>
                    <a:pt x="9295" y="1014"/>
                  </a:lnTo>
                  <a:lnTo>
                    <a:pt x="9310" y="961"/>
                  </a:lnTo>
                  <a:lnTo>
                    <a:pt x="9378" y="871"/>
                  </a:lnTo>
                  <a:lnTo>
                    <a:pt x="9505" y="792"/>
                  </a:lnTo>
                  <a:lnTo>
                    <a:pt x="9585" y="731"/>
                  </a:lnTo>
                  <a:lnTo>
                    <a:pt x="9656" y="672"/>
                  </a:lnTo>
                  <a:lnTo>
                    <a:pt x="9727" y="607"/>
                  </a:lnTo>
                  <a:lnTo>
                    <a:pt x="9742" y="445"/>
                  </a:lnTo>
                  <a:lnTo>
                    <a:pt x="9582" y="412"/>
                  </a:lnTo>
                  <a:cubicBezTo>
                    <a:pt x="9560" y="371"/>
                    <a:pt x="9533" y="339"/>
                    <a:pt x="9502" y="316"/>
                  </a:cubicBezTo>
                  <a:cubicBezTo>
                    <a:pt x="9454" y="281"/>
                    <a:pt x="9400" y="272"/>
                    <a:pt x="9348" y="291"/>
                  </a:cubicBezTo>
                  <a:lnTo>
                    <a:pt x="9271" y="259"/>
                  </a:lnTo>
                  <a:lnTo>
                    <a:pt x="9024" y="240"/>
                  </a:lnTo>
                  <a:lnTo>
                    <a:pt x="8961" y="296"/>
                  </a:lnTo>
                  <a:lnTo>
                    <a:pt x="8878" y="321"/>
                  </a:lnTo>
                  <a:lnTo>
                    <a:pt x="8778" y="327"/>
                  </a:lnTo>
                  <a:lnTo>
                    <a:pt x="8669" y="321"/>
                  </a:lnTo>
                  <a:lnTo>
                    <a:pt x="8552" y="169"/>
                  </a:lnTo>
                  <a:lnTo>
                    <a:pt x="8382" y="61"/>
                  </a:lnTo>
                  <a:lnTo>
                    <a:pt x="8181" y="0"/>
                  </a:lnTo>
                  <a:lnTo>
                    <a:pt x="8118" y="111"/>
                  </a:lnTo>
                  <a:cubicBezTo>
                    <a:pt x="8095" y="146"/>
                    <a:pt x="8072" y="181"/>
                    <a:pt x="8049" y="216"/>
                  </a:cubicBezTo>
                  <a:cubicBezTo>
                    <a:pt x="8019" y="259"/>
                    <a:pt x="7990" y="302"/>
                    <a:pt x="7960" y="345"/>
                  </a:cubicBezTo>
                  <a:lnTo>
                    <a:pt x="7855" y="476"/>
                  </a:lnTo>
                  <a:lnTo>
                    <a:pt x="7722" y="482"/>
                  </a:lnTo>
                  <a:lnTo>
                    <a:pt x="7658" y="400"/>
                  </a:lnTo>
                  <a:lnTo>
                    <a:pt x="7484" y="373"/>
                  </a:lnTo>
                  <a:lnTo>
                    <a:pt x="7361" y="362"/>
                  </a:lnTo>
                  <a:lnTo>
                    <a:pt x="7275" y="430"/>
                  </a:lnTo>
                  <a:lnTo>
                    <a:pt x="7161" y="486"/>
                  </a:lnTo>
                  <a:lnTo>
                    <a:pt x="7012" y="523"/>
                  </a:lnTo>
                  <a:lnTo>
                    <a:pt x="6838" y="560"/>
                  </a:lnTo>
                  <a:lnTo>
                    <a:pt x="6726" y="578"/>
                  </a:lnTo>
                  <a:lnTo>
                    <a:pt x="6715" y="666"/>
                  </a:lnTo>
                  <a:lnTo>
                    <a:pt x="6751" y="734"/>
                  </a:lnTo>
                  <a:lnTo>
                    <a:pt x="6843" y="832"/>
                  </a:lnTo>
                  <a:lnTo>
                    <a:pt x="6786" y="906"/>
                  </a:lnTo>
                  <a:lnTo>
                    <a:pt x="6718" y="930"/>
                  </a:lnTo>
                  <a:lnTo>
                    <a:pt x="6637" y="973"/>
                  </a:lnTo>
                  <a:lnTo>
                    <a:pt x="6556" y="924"/>
                  </a:lnTo>
                  <a:lnTo>
                    <a:pt x="6471" y="887"/>
                  </a:lnTo>
                  <a:lnTo>
                    <a:pt x="6350" y="943"/>
                  </a:lnTo>
                  <a:lnTo>
                    <a:pt x="6279" y="996"/>
                  </a:lnTo>
                  <a:lnTo>
                    <a:pt x="6206" y="1051"/>
                  </a:lnTo>
                  <a:lnTo>
                    <a:pt x="6149" y="1132"/>
                  </a:lnTo>
                  <a:lnTo>
                    <a:pt x="6064" y="1205"/>
                  </a:lnTo>
                  <a:lnTo>
                    <a:pt x="5960" y="1295"/>
                  </a:lnTo>
                  <a:lnTo>
                    <a:pt x="5892" y="1351"/>
                  </a:lnTo>
                  <a:lnTo>
                    <a:pt x="5816" y="1400"/>
                  </a:lnTo>
                  <a:lnTo>
                    <a:pt x="5722" y="1449"/>
                  </a:lnTo>
                  <a:lnTo>
                    <a:pt x="5637" y="1449"/>
                  </a:lnTo>
                  <a:lnTo>
                    <a:pt x="5595" y="1413"/>
                  </a:lnTo>
                  <a:lnTo>
                    <a:pt x="5495" y="1413"/>
                  </a:lnTo>
                  <a:lnTo>
                    <a:pt x="5468" y="1536"/>
                  </a:lnTo>
                  <a:lnTo>
                    <a:pt x="5511" y="1683"/>
                  </a:lnTo>
                  <a:lnTo>
                    <a:pt x="5628" y="1858"/>
                  </a:lnTo>
                  <a:lnTo>
                    <a:pt x="5664" y="1907"/>
                  </a:lnTo>
                  <a:lnTo>
                    <a:pt x="5767" y="1929"/>
                  </a:lnTo>
                  <a:lnTo>
                    <a:pt x="5876" y="2075"/>
                  </a:lnTo>
                  <a:lnTo>
                    <a:pt x="5864" y="2215"/>
                  </a:lnTo>
                  <a:lnTo>
                    <a:pt x="5905" y="2289"/>
                  </a:lnTo>
                  <a:lnTo>
                    <a:pt x="5866" y="2477"/>
                  </a:lnTo>
                  <a:lnTo>
                    <a:pt x="5797" y="2656"/>
                  </a:lnTo>
                  <a:lnTo>
                    <a:pt x="5709" y="2755"/>
                  </a:lnTo>
                  <a:lnTo>
                    <a:pt x="5587" y="2810"/>
                  </a:lnTo>
                  <a:lnTo>
                    <a:pt x="5482" y="2822"/>
                  </a:lnTo>
                  <a:cubicBezTo>
                    <a:pt x="5453" y="2798"/>
                    <a:pt x="5444" y="2741"/>
                    <a:pt x="5463" y="2699"/>
                  </a:cubicBezTo>
                  <a:cubicBezTo>
                    <a:pt x="5481" y="2659"/>
                    <a:pt x="5516" y="2653"/>
                    <a:pt x="5544" y="2631"/>
                  </a:cubicBezTo>
                  <a:cubicBezTo>
                    <a:pt x="5592" y="2593"/>
                    <a:pt x="5617" y="2510"/>
                    <a:pt x="5603" y="2430"/>
                  </a:cubicBezTo>
                  <a:lnTo>
                    <a:pt x="5557" y="2208"/>
                  </a:lnTo>
                  <a:lnTo>
                    <a:pt x="5456" y="2066"/>
                  </a:lnTo>
                  <a:lnTo>
                    <a:pt x="5369" y="1842"/>
                  </a:lnTo>
                  <a:lnTo>
                    <a:pt x="5304" y="1651"/>
                  </a:lnTo>
                  <a:lnTo>
                    <a:pt x="5239" y="1515"/>
                  </a:lnTo>
                  <a:lnTo>
                    <a:pt x="5182" y="1355"/>
                  </a:lnTo>
                  <a:lnTo>
                    <a:pt x="5074" y="1252"/>
                  </a:lnTo>
                  <a:lnTo>
                    <a:pt x="4913" y="1178"/>
                  </a:lnTo>
                  <a:lnTo>
                    <a:pt x="4747" y="1246"/>
                  </a:lnTo>
                  <a:lnTo>
                    <a:pt x="4613" y="1388"/>
                  </a:lnTo>
                  <a:lnTo>
                    <a:pt x="4609" y="1523"/>
                  </a:lnTo>
                  <a:lnTo>
                    <a:pt x="4654" y="1702"/>
                  </a:lnTo>
                  <a:lnTo>
                    <a:pt x="4727" y="1825"/>
                  </a:lnTo>
                  <a:lnTo>
                    <a:pt x="4848" y="1874"/>
                  </a:lnTo>
                  <a:lnTo>
                    <a:pt x="4946" y="1942"/>
                  </a:lnTo>
                  <a:lnTo>
                    <a:pt x="5024" y="2032"/>
                  </a:lnTo>
                  <a:lnTo>
                    <a:pt x="5089" y="2143"/>
                  </a:lnTo>
                  <a:lnTo>
                    <a:pt x="5077" y="2241"/>
                  </a:lnTo>
                  <a:lnTo>
                    <a:pt x="4981" y="2276"/>
                  </a:lnTo>
                  <a:lnTo>
                    <a:pt x="4947" y="2348"/>
                  </a:lnTo>
                  <a:lnTo>
                    <a:pt x="4872" y="2286"/>
                  </a:lnTo>
                  <a:lnTo>
                    <a:pt x="4788" y="2194"/>
                  </a:lnTo>
                  <a:lnTo>
                    <a:pt x="4710" y="2163"/>
                  </a:lnTo>
                  <a:lnTo>
                    <a:pt x="4603" y="2151"/>
                  </a:lnTo>
                  <a:lnTo>
                    <a:pt x="4678" y="2284"/>
                  </a:lnTo>
                  <a:lnTo>
                    <a:pt x="4754" y="2363"/>
                  </a:lnTo>
                  <a:lnTo>
                    <a:pt x="4735" y="2522"/>
                  </a:lnTo>
                  <a:lnTo>
                    <a:pt x="4571" y="2643"/>
                  </a:lnTo>
                  <a:lnTo>
                    <a:pt x="4490" y="2738"/>
                  </a:lnTo>
                  <a:lnTo>
                    <a:pt x="4323" y="2820"/>
                  </a:lnTo>
                  <a:lnTo>
                    <a:pt x="4189" y="2900"/>
                  </a:lnTo>
                  <a:lnTo>
                    <a:pt x="4168" y="3010"/>
                  </a:lnTo>
                  <a:lnTo>
                    <a:pt x="4176" y="3166"/>
                  </a:lnTo>
                  <a:lnTo>
                    <a:pt x="4263" y="3589"/>
                  </a:lnTo>
                  <a:lnTo>
                    <a:pt x="4302" y="3809"/>
                  </a:lnTo>
                  <a:lnTo>
                    <a:pt x="4391" y="3967"/>
                  </a:lnTo>
                  <a:lnTo>
                    <a:pt x="4410" y="4139"/>
                  </a:lnTo>
                  <a:lnTo>
                    <a:pt x="4418" y="4379"/>
                  </a:lnTo>
                  <a:lnTo>
                    <a:pt x="4441" y="4560"/>
                  </a:lnTo>
                  <a:lnTo>
                    <a:pt x="4437" y="4864"/>
                  </a:lnTo>
                  <a:lnTo>
                    <a:pt x="4527" y="4941"/>
                  </a:lnTo>
                  <a:lnTo>
                    <a:pt x="4567" y="5097"/>
                  </a:lnTo>
                  <a:lnTo>
                    <a:pt x="4635" y="5183"/>
                  </a:lnTo>
                  <a:lnTo>
                    <a:pt x="4651" y="5256"/>
                  </a:lnTo>
                  <a:lnTo>
                    <a:pt x="4626" y="5367"/>
                  </a:lnTo>
                  <a:lnTo>
                    <a:pt x="4576" y="5443"/>
                  </a:lnTo>
                  <a:lnTo>
                    <a:pt x="4445" y="5463"/>
                  </a:lnTo>
                  <a:lnTo>
                    <a:pt x="4316" y="5596"/>
                  </a:lnTo>
                  <a:lnTo>
                    <a:pt x="4406" y="5724"/>
                  </a:lnTo>
                  <a:lnTo>
                    <a:pt x="4387" y="5836"/>
                  </a:lnTo>
                  <a:lnTo>
                    <a:pt x="4594" y="6114"/>
                  </a:lnTo>
                  <a:lnTo>
                    <a:pt x="4754" y="6030"/>
                  </a:lnTo>
                  <a:lnTo>
                    <a:pt x="4789" y="5840"/>
                  </a:lnTo>
                  <a:lnTo>
                    <a:pt x="4841" y="5803"/>
                  </a:lnTo>
                  <a:lnTo>
                    <a:pt x="4948" y="5879"/>
                  </a:lnTo>
                  <a:lnTo>
                    <a:pt x="5006" y="6012"/>
                  </a:lnTo>
                  <a:lnTo>
                    <a:pt x="4972" y="6178"/>
                  </a:lnTo>
                  <a:lnTo>
                    <a:pt x="4922" y="6262"/>
                  </a:lnTo>
                  <a:lnTo>
                    <a:pt x="4935" y="6389"/>
                  </a:lnTo>
                  <a:lnTo>
                    <a:pt x="4975" y="6457"/>
                  </a:lnTo>
                  <a:lnTo>
                    <a:pt x="4930" y="6525"/>
                  </a:lnTo>
                  <a:lnTo>
                    <a:pt x="4941" y="6684"/>
                  </a:lnTo>
                  <a:lnTo>
                    <a:pt x="4896" y="6822"/>
                  </a:lnTo>
                  <a:lnTo>
                    <a:pt x="4856" y="6858"/>
                  </a:lnTo>
                  <a:lnTo>
                    <a:pt x="4492" y="6703"/>
                  </a:lnTo>
                  <a:lnTo>
                    <a:pt x="4399" y="6602"/>
                  </a:lnTo>
                  <a:lnTo>
                    <a:pt x="4252" y="6584"/>
                  </a:lnTo>
                  <a:lnTo>
                    <a:pt x="4068" y="6730"/>
                  </a:lnTo>
                  <a:lnTo>
                    <a:pt x="3743" y="6603"/>
                  </a:lnTo>
                  <a:lnTo>
                    <a:pt x="3618" y="6656"/>
                  </a:lnTo>
                  <a:lnTo>
                    <a:pt x="3600" y="6823"/>
                  </a:lnTo>
                  <a:lnTo>
                    <a:pt x="3636" y="7187"/>
                  </a:lnTo>
                  <a:lnTo>
                    <a:pt x="3748" y="7239"/>
                  </a:lnTo>
                  <a:lnTo>
                    <a:pt x="3825" y="7347"/>
                  </a:lnTo>
                  <a:lnTo>
                    <a:pt x="3825" y="7604"/>
                  </a:lnTo>
                  <a:lnTo>
                    <a:pt x="3887" y="7855"/>
                  </a:lnTo>
                  <a:lnTo>
                    <a:pt x="3979" y="8012"/>
                  </a:lnTo>
                  <a:lnTo>
                    <a:pt x="4086" y="8093"/>
                  </a:lnTo>
                  <a:lnTo>
                    <a:pt x="4220" y="8136"/>
                  </a:lnTo>
                  <a:lnTo>
                    <a:pt x="4293" y="8263"/>
                  </a:lnTo>
                  <a:lnTo>
                    <a:pt x="4293" y="8394"/>
                  </a:lnTo>
                  <a:lnTo>
                    <a:pt x="4366" y="8540"/>
                  </a:lnTo>
                  <a:lnTo>
                    <a:pt x="4383" y="8629"/>
                  </a:lnTo>
                  <a:lnTo>
                    <a:pt x="4299" y="8664"/>
                  </a:lnTo>
                  <a:lnTo>
                    <a:pt x="4172" y="8604"/>
                  </a:lnTo>
                  <a:lnTo>
                    <a:pt x="4026" y="8653"/>
                  </a:lnTo>
                  <a:lnTo>
                    <a:pt x="3937" y="8795"/>
                  </a:lnTo>
                  <a:lnTo>
                    <a:pt x="3868" y="9042"/>
                  </a:lnTo>
                  <a:lnTo>
                    <a:pt x="4014" y="9200"/>
                  </a:lnTo>
                  <a:lnTo>
                    <a:pt x="4153" y="9272"/>
                  </a:lnTo>
                  <a:lnTo>
                    <a:pt x="4317" y="9447"/>
                  </a:lnTo>
                  <a:lnTo>
                    <a:pt x="4379" y="9595"/>
                  </a:lnTo>
                  <a:lnTo>
                    <a:pt x="4500" y="9504"/>
                  </a:lnTo>
                  <a:lnTo>
                    <a:pt x="4590" y="9545"/>
                  </a:lnTo>
                  <a:lnTo>
                    <a:pt x="4620" y="9647"/>
                  </a:lnTo>
                  <a:lnTo>
                    <a:pt x="4729" y="9807"/>
                  </a:lnTo>
                  <a:lnTo>
                    <a:pt x="4703" y="9934"/>
                  </a:lnTo>
                  <a:lnTo>
                    <a:pt x="4589" y="10028"/>
                  </a:lnTo>
                  <a:lnTo>
                    <a:pt x="4485" y="9905"/>
                  </a:lnTo>
                  <a:lnTo>
                    <a:pt x="4398" y="9948"/>
                  </a:lnTo>
                  <a:lnTo>
                    <a:pt x="4460" y="10099"/>
                  </a:lnTo>
                  <a:lnTo>
                    <a:pt x="4558" y="10237"/>
                  </a:lnTo>
                  <a:lnTo>
                    <a:pt x="4639" y="10407"/>
                  </a:lnTo>
                  <a:lnTo>
                    <a:pt x="4716" y="10732"/>
                  </a:lnTo>
                  <a:lnTo>
                    <a:pt x="4705" y="10997"/>
                  </a:lnTo>
                  <a:lnTo>
                    <a:pt x="4587" y="11154"/>
                  </a:lnTo>
                  <a:lnTo>
                    <a:pt x="4430" y="11160"/>
                  </a:lnTo>
                  <a:lnTo>
                    <a:pt x="4375" y="11281"/>
                  </a:lnTo>
                  <a:lnTo>
                    <a:pt x="4289" y="11156"/>
                  </a:lnTo>
                  <a:cubicBezTo>
                    <a:pt x="4252" y="11136"/>
                    <a:pt x="4216" y="11114"/>
                    <a:pt x="4180" y="11088"/>
                  </a:cubicBezTo>
                  <a:cubicBezTo>
                    <a:pt x="4134" y="11055"/>
                    <a:pt x="4089" y="11017"/>
                    <a:pt x="4044" y="10979"/>
                  </a:cubicBezTo>
                  <a:cubicBezTo>
                    <a:pt x="3984" y="10930"/>
                    <a:pt x="3923" y="10882"/>
                    <a:pt x="3862" y="10835"/>
                  </a:cubicBezTo>
                  <a:lnTo>
                    <a:pt x="3803" y="10661"/>
                  </a:lnTo>
                  <a:lnTo>
                    <a:pt x="3784" y="10495"/>
                  </a:lnTo>
                  <a:lnTo>
                    <a:pt x="3841" y="10339"/>
                  </a:lnTo>
                  <a:lnTo>
                    <a:pt x="3888" y="1022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89" name="îşľîḓè">
              <a:extLst>
                <a:ext uri="{FF2B5EF4-FFF2-40B4-BE49-F238E27FC236}">
                  <a16:creationId xmlns:a16="http://schemas.microsoft.com/office/drawing/2014/main" id="{7F6DFB87-1172-49E9-A24F-5DED34EC9366}"/>
                </a:ext>
              </a:extLst>
            </p:cNvPr>
            <p:cNvSpPr/>
            <p:nvPr/>
          </p:nvSpPr>
          <p:spPr>
            <a:xfrm>
              <a:off x="7558388" y="1310558"/>
              <a:ext cx="328933" cy="895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778" y="6595"/>
                  </a:moveTo>
                  <a:lnTo>
                    <a:pt x="10446" y="7621"/>
                  </a:lnTo>
                  <a:lnTo>
                    <a:pt x="11913" y="8186"/>
                  </a:lnTo>
                  <a:lnTo>
                    <a:pt x="12620" y="11749"/>
                  </a:lnTo>
                  <a:lnTo>
                    <a:pt x="14481" y="12643"/>
                  </a:lnTo>
                  <a:lnTo>
                    <a:pt x="16772" y="11668"/>
                  </a:lnTo>
                  <a:lnTo>
                    <a:pt x="18486" y="11668"/>
                  </a:lnTo>
                  <a:lnTo>
                    <a:pt x="20801" y="12156"/>
                  </a:lnTo>
                  <a:lnTo>
                    <a:pt x="21600" y="13283"/>
                  </a:lnTo>
                  <a:lnTo>
                    <a:pt x="19933" y="15944"/>
                  </a:lnTo>
                  <a:lnTo>
                    <a:pt x="17089" y="15944"/>
                  </a:lnTo>
                  <a:lnTo>
                    <a:pt x="16332" y="19345"/>
                  </a:lnTo>
                  <a:lnTo>
                    <a:pt x="16001" y="21600"/>
                  </a:lnTo>
                  <a:lnTo>
                    <a:pt x="14718" y="20625"/>
                  </a:lnTo>
                  <a:lnTo>
                    <a:pt x="14985" y="16005"/>
                  </a:lnTo>
                  <a:lnTo>
                    <a:pt x="13115" y="14553"/>
                  </a:lnTo>
                  <a:lnTo>
                    <a:pt x="9998" y="14309"/>
                  </a:lnTo>
                  <a:lnTo>
                    <a:pt x="8554" y="13334"/>
                  </a:lnTo>
                  <a:lnTo>
                    <a:pt x="6375" y="9273"/>
                  </a:lnTo>
                  <a:lnTo>
                    <a:pt x="4455" y="10004"/>
                  </a:lnTo>
                  <a:lnTo>
                    <a:pt x="647" y="10490"/>
                  </a:lnTo>
                  <a:lnTo>
                    <a:pt x="0" y="7648"/>
                  </a:lnTo>
                  <a:lnTo>
                    <a:pt x="1373" y="1494"/>
                  </a:lnTo>
                  <a:lnTo>
                    <a:pt x="2843" y="0"/>
                  </a:lnTo>
                  <a:lnTo>
                    <a:pt x="5108" y="1491"/>
                  </a:lnTo>
                  <a:lnTo>
                    <a:pt x="5617" y="3189"/>
                  </a:lnTo>
                  <a:lnTo>
                    <a:pt x="6572" y="5128"/>
                  </a:lnTo>
                  <a:lnTo>
                    <a:pt x="7778" y="659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90" name="íšľïďé">
              <a:extLst>
                <a:ext uri="{FF2B5EF4-FFF2-40B4-BE49-F238E27FC236}">
                  <a16:creationId xmlns:a16="http://schemas.microsoft.com/office/drawing/2014/main" id="{BBFD61CC-BED9-45AC-9F82-DB7CD5DB5ED2}"/>
                </a:ext>
              </a:extLst>
            </p:cNvPr>
            <p:cNvSpPr/>
            <p:nvPr/>
          </p:nvSpPr>
          <p:spPr>
            <a:xfrm>
              <a:off x="9628653" y="2148074"/>
              <a:ext cx="217835" cy="255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18" y="306"/>
                  </a:moveTo>
                  <a:lnTo>
                    <a:pt x="2649" y="0"/>
                  </a:lnTo>
                  <a:lnTo>
                    <a:pt x="4359" y="1473"/>
                  </a:lnTo>
                  <a:lnTo>
                    <a:pt x="4763" y="2920"/>
                  </a:lnTo>
                  <a:lnTo>
                    <a:pt x="5532" y="4452"/>
                  </a:lnTo>
                  <a:lnTo>
                    <a:pt x="7347" y="6386"/>
                  </a:lnTo>
                  <a:lnTo>
                    <a:pt x="9263" y="7065"/>
                  </a:lnTo>
                  <a:lnTo>
                    <a:pt x="12200" y="8654"/>
                  </a:lnTo>
                  <a:lnTo>
                    <a:pt x="15159" y="10100"/>
                  </a:lnTo>
                  <a:lnTo>
                    <a:pt x="16566" y="11032"/>
                  </a:lnTo>
                  <a:lnTo>
                    <a:pt x="17268" y="12134"/>
                  </a:lnTo>
                  <a:lnTo>
                    <a:pt x="17470" y="13346"/>
                  </a:lnTo>
                  <a:lnTo>
                    <a:pt x="16028" y="13005"/>
                  </a:lnTo>
                  <a:lnTo>
                    <a:pt x="14423" y="13403"/>
                  </a:lnTo>
                  <a:lnTo>
                    <a:pt x="14629" y="14594"/>
                  </a:lnTo>
                  <a:lnTo>
                    <a:pt x="16612" y="15959"/>
                  </a:lnTo>
                  <a:lnTo>
                    <a:pt x="18226" y="17825"/>
                  </a:lnTo>
                  <a:lnTo>
                    <a:pt x="20991" y="20121"/>
                  </a:lnTo>
                  <a:lnTo>
                    <a:pt x="21600" y="21600"/>
                  </a:lnTo>
                  <a:lnTo>
                    <a:pt x="18856" y="21600"/>
                  </a:lnTo>
                  <a:lnTo>
                    <a:pt x="16692" y="20075"/>
                  </a:lnTo>
                  <a:cubicBezTo>
                    <a:pt x="16027" y="19637"/>
                    <a:pt x="15479" y="19086"/>
                    <a:pt x="15082" y="18458"/>
                  </a:cubicBezTo>
                  <a:cubicBezTo>
                    <a:pt x="14796" y="18005"/>
                    <a:pt x="14594" y="17518"/>
                    <a:pt x="14481" y="17014"/>
                  </a:cubicBezTo>
                  <a:lnTo>
                    <a:pt x="13271" y="15138"/>
                  </a:lnTo>
                  <a:lnTo>
                    <a:pt x="12262" y="13005"/>
                  </a:lnTo>
                  <a:lnTo>
                    <a:pt x="10884" y="11071"/>
                  </a:lnTo>
                  <a:lnTo>
                    <a:pt x="9077" y="9201"/>
                  </a:lnTo>
                  <a:lnTo>
                    <a:pt x="7270" y="7413"/>
                  </a:lnTo>
                  <a:lnTo>
                    <a:pt x="5169" y="6059"/>
                  </a:lnTo>
                  <a:lnTo>
                    <a:pt x="4097" y="4751"/>
                  </a:lnTo>
                  <a:lnTo>
                    <a:pt x="2685" y="3332"/>
                  </a:lnTo>
                  <a:lnTo>
                    <a:pt x="0" y="1690"/>
                  </a:lnTo>
                  <a:lnTo>
                    <a:pt x="918" y="30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91" name="îṣľïdê">
              <a:extLst>
                <a:ext uri="{FF2B5EF4-FFF2-40B4-BE49-F238E27FC236}">
                  <a16:creationId xmlns:a16="http://schemas.microsoft.com/office/drawing/2014/main" id="{7DD67A1C-16A9-4BF1-A71E-5F30763C127B}"/>
                </a:ext>
              </a:extLst>
            </p:cNvPr>
            <p:cNvSpPr/>
            <p:nvPr/>
          </p:nvSpPr>
          <p:spPr>
            <a:xfrm>
              <a:off x="9834882" y="2436351"/>
              <a:ext cx="152671" cy="1452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16" y="0"/>
                  </a:moveTo>
                  <a:lnTo>
                    <a:pt x="3327" y="2686"/>
                  </a:lnTo>
                  <a:lnTo>
                    <a:pt x="5129" y="3465"/>
                  </a:lnTo>
                  <a:lnTo>
                    <a:pt x="5987" y="5412"/>
                  </a:lnTo>
                  <a:lnTo>
                    <a:pt x="8960" y="8066"/>
                  </a:lnTo>
                  <a:lnTo>
                    <a:pt x="13176" y="8066"/>
                  </a:lnTo>
                  <a:lnTo>
                    <a:pt x="16240" y="8060"/>
                  </a:lnTo>
                  <a:lnTo>
                    <a:pt x="20071" y="9506"/>
                  </a:lnTo>
                  <a:lnTo>
                    <a:pt x="21600" y="11754"/>
                  </a:lnTo>
                  <a:lnTo>
                    <a:pt x="18242" y="13299"/>
                  </a:lnTo>
                  <a:lnTo>
                    <a:pt x="16138" y="13894"/>
                  </a:lnTo>
                  <a:lnTo>
                    <a:pt x="16857" y="17337"/>
                  </a:lnTo>
                  <a:lnTo>
                    <a:pt x="14039" y="17181"/>
                  </a:lnTo>
                  <a:lnTo>
                    <a:pt x="12762" y="16136"/>
                  </a:lnTo>
                  <a:cubicBezTo>
                    <a:pt x="11828" y="15985"/>
                    <a:pt x="10901" y="15786"/>
                    <a:pt x="9986" y="15541"/>
                  </a:cubicBezTo>
                  <a:cubicBezTo>
                    <a:pt x="9104" y="15304"/>
                    <a:pt x="8234" y="15024"/>
                    <a:pt x="7377" y="14702"/>
                  </a:cubicBezTo>
                  <a:lnTo>
                    <a:pt x="5842" y="15002"/>
                  </a:lnTo>
                  <a:lnTo>
                    <a:pt x="5992" y="19096"/>
                  </a:lnTo>
                  <a:lnTo>
                    <a:pt x="4895" y="21600"/>
                  </a:lnTo>
                  <a:lnTo>
                    <a:pt x="2646" y="18495"/>
                  </a:lnTo>
                  <a:lnTo>
                    <a:pt x="2215" y="16698"/>
                  </a:lnTo>
                  <a:lnTo>
                    <a:pt x="499" y="14902"/>
                  </a:lnTo>
                  <a:lnTo>
                    <a:pt x="34" y="12773"/>
                  </a:lnTo>
                  <a:cubicBezTo>
                    <a:pt x="789" y="12296"/>
                    <a:pt x="1459" y="11687"/>
                    <a:pt x="2015" y="10971"/>
                  </a:cubicBezTo>
                  <a:cubicBezTo>
                    <a:pt x="2581" y="10241"/>
                    <a:pt x="3020" y="9412"/>
                    <a:pt x="3310" y="8523"/>
                  </a:cubicBezTo>
                  <a:lnTo>
                    <a:pt x="1535" y="5374"/>
                  </a:lnTo>
                  <a:lnTo>
                    <a:pt x="0" y="3428"/>
                  </a:lnTo>
                  <a:lnTo>
                    <a:pt x="121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92" name="iṣ1ïḋe">
              <a:extLst>
                <a:ext uri="{FF2B5EF4-FFF2-40B4-BE49-F238E27FC236}">
                  <a16:creationId xmlns:a16="http://schemas.microsoft.com/office/drawing/2014/main" id="{5008A10D-9F21-4363-B984-31E0BE7D26F5}"/>
                </a:ext>
              </a:extLst>
            </p:cNvPr>
            <p:cNvSpPr/>
            <p:nvPr/>
          </p:nvSpPr>
          <p:spPr>
            <a:xfrm>
              <a:off x="9716338" y="2591817"/>
              <a:ext cx="274646" cy="26585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831" y="0"/>
                  </a:moveTo>
                  <a:lnTo>
                    <a:pt x="16152" y="752"/>
                  </a:lnTo>
                  <a:lnTo>
                    <a:pt x="17169" y="1568"/>
                  </a:lnTo>
                  <a:lnTo>
                    <a:pt x="18839" y="1893"/>
                  </a:lnTo>
                  <a:lnTo>
                    <a:pt x="18839" y="3442"/>
                  </a:lnTo>
                  <a:lnTo>
                    <a:pt x="19262" y="4642"/>
                  </a:lnTo>
                  <a:lnTo>
                    <a:pt x="19979" y="5617"/>
                  </a:lnTo>
                  <a:lnTo>
                    <a:pt x="19182" y="6899"/>
                  </a:lnTo>
                  <a:lnTo>
                    <a:pt x="19182" y="8099"/>
                  </a:lnTo>
                  <a:lnTo>
                    <a:pt x="19662" y="9375"/>
                  </a:lnTo>
                  <a:lnTo>
                    <a:pt x="20216" y="10435"/>
                  </a:lnTo>
                  <a:lnTo>
                    <a:pt x="20594" y="11892"/>
                  </a:lnTo>
                  <a:lnTo>
                    <a:pt x="21520" y="13554"/>
                  </a:lnTo>
                  <a:lnTo>
                    <a:pt x="21600" y="15848"/>
                  </a:lnTo>
                  <a:lnTo>
                    <a:pt x="20167" y="17076"/>
                  </a:lnTo>
                  <a:lnTo>
                    <a:pt x="18837" y="17726"/>
                  </a:lnTo>
                  <a:lnTo>
                    <a:pt x="16684" y="18109"/>
                  </a:lnTo>
                  <a:lnTo>
                    <a:pt x="15274" y="18188"/>
                  </a:lnTo>
                  <a:lnTo>
                    <a:pt x="13867" y="18430"/>
                  </a:lnTo>
                  <a:lnTo>
                    <a:pt x="13462" y="19798"/>
                  </a:lnTo>
                  <a:lnTo>
                    <a:pt x="13164" y="20810"/>
                  </a:lnTo>
                  <a:lnTo>
                    <a:pt x="12474" y="21600"/>
                  </a:lnTo>
                  <a:lnTo>
                    <a:pt x="11162" y="19907"/>
                  </a:lnTo>
                  <a:lnTo>
                    <a:pt x="10416" y="19251"/>
                  </a:lnTo>
                  <a:lnTo>
                    <a:pt x="7383" y="19114"/>
                  </a:lnTo>
                  <a:lnTo>
                    <a:pt x="4329" y="19388"/>
                  </a:lnTo>
                  <a:lnTo>
                    <a:pt x="1907" y="20174"/>
                  </a:lnTo>
                  <a:lnTo>
                    <a:pt x="0" y="18923"/>
                  </a:lnTo>
                  <a:lnTo>
                    <a:pt x="1177" y="17804"/>
                  </a:lnTo>
                  <a:lnTo>
                    <a:pt x="2674" y="17668"/>
                  </a:lnTo>
                  <a:lnTo>
                    <a:pt x="3680" y="16334"/>
                  </a:lnTo>
                  <a:lnTo>
                    <a:pt x="4960" y="15541"/>
                  </a:lnTo>
                  <a:lnTo>
                    <a:pt x="6637" y="16033"/>
                  </a:lnTo>
                  <a:lnTo>
                    <a:pt x="8203" y="16279"/>
                  </a:lnTo>
                  <a:lnTo>
                    <a:pt x="9693" y="15161"/>
                  </a:lnTo>
                  <a:lnTo>
                    <a:pt x="10727" y="14180"/>
                  </a:lnTo>
                  <a:lnTo>
                    <a:pt x="13446" y="12244"/>
                  </a:lnTo>
                  <a:lnTo>
                    <a:pt x="14243" y="11348"/>
                  </a:lnTo>
                  <a:lnTo>
                    <a:pt x="16242" y="10719"/>
                  </a:lnTo>
                  <a:lnTo>
                    <a:pt x="16482" y="9003"/>
                  </a:lnTo>
                  <a:lnTo>
                    <a:pt x="16482" y="7470"/>
                  </a:lnTo>
                  <a:lnTo>
                    <a:pt x="14963" y="5446"/>
                  </a:lnTo>
                  <a:lnTo>
                    <a:pt x="14030" y="3313"/>
                  </a:lnTo>
                  <a:lnTo>
                    <a:pt x="13976" y="2082"/>
                  </a:lnTo>
                  <a:lnTo>
                    <a:pt x="13500" y="1100"/>
                  </a:lnTo>
                  <a:lnTo>
                    <a:pt x="14831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93" name="îṣļiḑè">
              <a:extLst>
                <a:ext uri="{FF2B5EF4-FFF2-40B4-BE49-F238E27FC236}">
                  <a16:creationId xmlns:a16="http://schemas.microsoft.com/office/drawing/2014/main" id="{688D2AAF-9E6D-418F-9D77-C68AAF5B47FC}"/>
                </a:ext>
              </a:extLst>
            </p:cNvPr>
            <p:cNvSpPr/>
            <p:nvPr/>
          </p:nvSpPr>
          <p:spPr>
            <a:xfrm>
              <a:off x="9773896" y="2850018"/>
              <a:ext cx="47636" cy="425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130" y="2820"/>
                  </a:moveTo>
                  <a:lnTo>
                    <a:pt x="3175" y="0"/>
                  </a:lnTo>
                  <a:lnTo>
                    <a:pt x="0" y="4621"/>
                  </a:lnTo>
                  <a:lnTo>
                    <a:pt x="4230" y="10217"/>
                  </a:lnTo>
                  <a:lnTo>
                    <a:pt x="4401" y="19722"/>
                  </a:lnTo>
                  <a:lnTo>
                    <a:pt x="14203" y="21600"/>
                  </a:lnTo>
                  <a:lnTo>
                    <a:pt x="18813" y="14767"/>
                  </a:lnTo>
                  <a:lnTo>
                    <a:pt x="21600" y="929"/>
                  </a:lnTo>
                  <a:lnTo>
                    <a:pt x="15130" y="282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94" name="îS1iḓè">
              <a:extLst>
                <a:ext uri="{FF2B5EF4-FFF2-40B4-BE49-F238E27FC236}">
                  <a16:creationId xmlns:a16="http://schemas.microsoft.com/office/drawing/2014/main" id="{E94A571D-1AF7-436D-93A0-39F83D398788}"/>
                </a:ext>
              </a:extLst>
            </p:cNvPr>
            <p:cNvSpPr/>
            <p:nvPr/>
          </p:nvSpPr>
          <p:spPr>
            <a:xfrm>
              <a:off x="9703522" y="2858648"/>
              <a:ext cx="58652" cy="830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179" y="0"/>
                  </a:moveTo>
                  <a:lnTo>
                    <a:pt x="10237" y="2528"/>
                  </a:lnTo>
                  <a:lnTo>
                    <a:pt x="16136" y="4696"/>
                  </a:lnTo>
                  <a:lnTo>
                    <a:pt x="19977" y="6514"/>
                  </a:lnTo>
                  <a:lnTo>
                    <a:pt x="19602" y="11221"/>
                  </a:lnTo>
                  <a:lnTo>
                    <a:pt x="20976" y="14878"/>
                  </a:lnTo>
                  <a:lnTo>
                    <a:pt x="21600" y="19246"/>
                  </a:lnTo>
                  <a:lnTo>
                    <a:pt x="18618" y="21600"/>
                  </a:lnTo>
                  <a:lnTo>
                    <a:pt x="11299" y="20100"/>
                  </a:lnTo>
                  <a:lnTo>
                    <a:pt x="11672" y="15196"/>
                  </a:lnTo>
                  <a:lnTo>
                    <a:pt x="4821" y="10992"/>
                  </a:lnTo>
                  <a:lnTo>
                    <a:pt x="1366" y="8562"/>
                  </a:lnTo>
                  <a:lnTo>
                    <a:pt x="0" y="4533"/>
                  </a:lnTo>
                  <a:lnTo>
                    <a:pt x="517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95" name="iŝļídê">
              <a:extLst>
                <a:ext uri="{FF2B5EF4-FFF2-40B4-BE49-F238E27FC236}">
                  <a16:creationId xmlns:a16="http://schemas.microsoft.com/office/drawing/2014/main" id="{6DE82246-29F9-4542-8537-A7DACBA9CA74}"/>
                </a:ext>
              </a:extLst>
            </p:cNvPr>
            <p:cNvSpPr/>
            <p:nvPr/>
          </p:nvSpPr>
          <p:spPr>
            <a:xfrm>
              <a:off x="9478424" y="3163043"/>
              <a:ext cx="55804" cy="10755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0" h="21600" extrusionOk="0">
                  <a:moveTo>
                    <a:pt x="10688" y="0"/>
                  </a:moveTo>
                  <a:lnTo>
                    <a:pt x="7165" y="3027"/>
                  </a:lnTo>
                  <a:lnTo>
                    <a:pt x="5618" y="8797"/>
                  </a:lnTo>
                  <a:lnTo>
                    <a:pt x="0" y="12556"/>
                  </a:lnTo>
                  <a:lnTo>
                    <a:pt x="2313" y="15996"/>
                  </a:lnTo>
                  <a:lnTo>
                    <a:pt x="6119" y="18152"/>
                  </a:lnTo>
                  <a:lnTo>
                    <a:pt x="12017" y="21600"/>
                  </a:lnTo>
                  <a:lnTo>
                    <a:pt x="18421" y="20856"/>
                  </a:lnTo>
                  <a:lnTo>
                    <a:pt x="19994" y="15920"/>
                  </a:lnTo>
                  <a:lnTo>
                    <a:pt x="19601" y="12480"/>
                  </a:lnTo>
                  <a:cubicBezTo>
                    <a:pt x="20082" y="11316"/>
                    <a:pt x="20475" y="10143"/>
                    <a:pt x="20780" y="8963"/>
                  </a:cubicBezTo>
                  <a:cubicBezTo>
                    <a:pt x="21337" y="6812"/>
                    <a:pt x="21600" y="4643"/>
                    <a:pt x="21567" y="2472"/>
                  </a:cubicBezTo>
                  <a:lnTo>
                    <a:pt x="1068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96" name="išļíďè">
              <a:extLst>
                <a:ext uri="{FF2B5EF4-FFF2-40B4-BE49-F238E27FC236}">
                  <a16:creationId xmlns:a16="http://schemas.microsoft.com/office/drawing/2014/main" id="{71AF3824-589E-431F-B417-67B3F0527A88}"/>
                </a:ext>
              </a:extLst>
            </p:cNvPr>
            <p:cNvSpPr/>
            <p:nvPr/>
          </p:nvSpPr>
          <p:spPr>
            <a:xfrm>
              <a:off x="9135285" y="3359667"/>
              <a:ext cx="61216" cy="641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37" y="806"/>
                  </a:moveTo>
                  <a:lnTo>
                    <a:pt x="13014" y="0"/>
                  </a:lnTo>
                  <a:lnTo>
                    <a:pt x="4311" y="2387"/>
                  </a:lnTo>
                  <a:lnTo>
                    <a:pt x="1595" y="5661"/>
                  </a:lnTo>
                  <a:lnTo>
                    <a:pt x="0" y="10054"/>
                  </a:lnTo>
                  <a:lnTo>
                    <a:pt x="1800" y="15494"/>
                  </a:lnTo>
                  <a:lnTo>
                    <a:pt x="5016" y="21600"/>
                  </a:lnTo>
                  <a:lnTo>
                    <a:pt x="11327" y="20806"/>
                  </a:lnTo>
                  <a:lnTo>
                    <a:pt x="13480" y="14360"/>
                  </a:lnTo>
                  <a:lnTo>
                    <a:pt x="21600" y="6554"/>
                  </a:lnTo>
                  <a:lnTo>
                    <a:pt x="20237" y="80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97" name="ïśḷîḓe">
              <a:extLst>
                <a:ext uri="{FF2B5EF4-FFF2-40B4-BE49-F238E27FC236}">
                  <a16:creationId xmlns:a16="http://schemas.microsoft.com/office/drawing/2014/main" id="{6A42BB70-863D-4876-8668-23D99333068E}"/>
                </a:ext>
              </a:extLst>
            </p:cNvPr>
            <p:cNvSpPr/>
            <p:nvPr/>
          </p:nvSpPr>
          <p:spPr>
            <a:xfrm>
              <a:off x="9517257" y="3403769"/>
              <a:ext cx="158867" cy="2078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205" y="214"/>
                  </a:moveTo>
                  <a:lnTo>
                    <a:pt x="2995" y="0"/>
                  </a:lnTo>
                  <a:lnTo>
                    <a:pt x="2584" y="2552"/>
                  </a:lnTo>
                  <a:lnTo>
                    <a:pt x="3044" y="4581"/>
                  </a:lnTo>
                  <a:lnTo>
                    <a:pt x="2030" y="7340"/>
                  </a:lnTo>
                  <a:lnTo>
                    <a:pt x="0" y="9509"/>
                  </a:lnTo>
                  <a:cubicBezTo>
                    <a:pt x="160" y="10395"/>
                    <a:pt x="581" y="11243"/>
                    <a:pt x="1232" y="11988"/>
                  </a:cubicBezTo>
                  <a:cubicBezTo>
                    <a:pt x="2023" y="12895"/>
                    <a:pt x="3124" y="13621"/>
                    <a:pt x="4418" y="14087"/>
                  </a:cubicBezTo>
                  <a:lnTo>
                    <a:pt x="5236" y="15133"/>
                  </a:lnTo>
                  <a:lnTo>
                    <a:pt x="7310" y="17966"/>
                  </a:lnTo>
                  <a:lnTo>
                    <a:pt x="8555" y="18981"/>
                  </a:lnTo>
                  <a:lnTo>
                    <a:pt x="11367" y="20065"/>
                  </a:lnTo>
                  <a:lnTo>
                    <a:pt x="14409" y="20170"/>
                  </a:lnTo>
                  <a:lnTo>
                    <a:pt x="16201" y="20275"/>
                  </a:lnTo>
                  <a:lnTo>
                    <a:pt x="18690" y="21010"/>
                  </a:lnTo>
                  <a:lnTo>
                    <a:pt x="21410" y="21600"/>
                  </a:lnTo>
                  <a:lnTo>
                    <a:pt x="21600" y="19654"/>
                  </a:lnTo>
                  <a:lnTo>
                    <a:pt x="20730" y="18749"/>
                  </a:lnTo>
                  <a:lnTo>
                    <a:pt x="19543" y="17743"/>
                  </a:lnTo>
                  <a:lnTo>
                    <a:pt x="15953" y="18233"/>
                  </a:lnTo>
                  <a:cubicBezTo>
                    <a:pt x="15448" y="18445"/>
                    <a:pt x="14862" y="18519"/>
                    <a:pt x="14294" y="18443"/>
                  </a:cubicBezTo>
                  <a:cubicBezTo>
                    <a:pt x="13070" y="18278"/>
                    <a:pt x="12157" y="17495"/>
                    <a:pt x="12093" y="16553"/>
                  </a:cubicBezTo>
                  <a:lnTo>
                    <a:pt x="9471" y="15298"/>
                  </a:lnTo>
                  <a:lnTo>
                    <a:pt x="8693" y="14218"/>
                  </a:lnTo>
                  <a:lnTo>
                    <a:pt x="8601" y="12924"/>
                  </a:lnTo>
                  <a:cubicBezTo>
                    <a:pt x="9108" y="12238"/>
                    <a:pt x="9615" y="11551"/>
                    <a:pt x="10122" y="10864"/>
                  </a:cubicBezTo>
                  <a:cubicBezTo>
                    <a:pt x="10531" y="10309"/>
                    <a:pt x="10940" y="9754"/>
                    <a:pt x="11349" y="9198"/>
                  </a:cubicBezTo>
                  <a:lnTo>
                    <a:pt x="11759" y="7593"/>
                  </a:lnTo>
                  <a:lnTo>
                    <a:pt x="9915" y="5459"/>
                  </a:lnTo>
                  <a:lnTo>
                    <a:pt x="8117" y="3260"/>
                  </a:lnTo>
                  <a:lnTo>
                    <a:pt x="6205" y="214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98" name="íṧḷíḓe">
              <a:extLst>
                <a:ext uri="{FF2B5EF4-FFF2-40B4-BE49-F238E27FC236}">
                  <a16:creationId xmlns:a16="http://schemas.microsoft.com/office/drawing/2014/main" id="{613276A2-609B-4C05-8E86-63F6FA7483CF}"/>
                </a:ext>
              </a:extLst>
            </p:cNvPr>
            <p:cNvSpPr/>
            <p:nvPr/>
          </p:nvSpPr>
          <p:spPr>
            <a:xfrm>
              <a:off x="9453604" y="3685864"/>
              <a:ext cx="89307" cy="969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05" h="19908" extrusionOk="0">
                  <a:moveTo>
                    <a:pt x="17580" y="0"/>
                  </a:moveTo>
                  <a:lnTo>
                    <a:pt x="14738" y="1728"/>
                  </a:lnTo>
                  <a:lnTo>
                    <a:pt x="10679" y="5098"/>
                  </a:lnTo>
                  <a:lnTo>
                    <a:pt x="8216" y="7569"/>
                  </a:lnTo>
                  <a:lnTo>
                    <a:pt x="8222" y="12060"/>
                  </a:lnTo>
                  <a:lnTo>
                    <a:pt x="5046" y="14125"/>
                  </a:lnTo>
                  <a:cubicBezTo>
                    <a:pt x="3326" y="12967"/>
                    <a:pt x="832" y="13677"/>
                    <a:pt x="191" y="15507"/>
                  </a:cubicBezTo>
                  <a:cubicBezTo>
                    <a:pt x="-1095" y="19179"/>
                    <a:pt x="4427" y="21600"/>
                    <a:pt x="6929" y="18462"/>
                  </a:cubicBezTo>
                  <a:lnTo>
                    <a:pt x="10638" y="16258"/>
                  </a:lnTo>
                  <a:lnTo>
                    <a:pt x="12739" y="13426"/>
                  </a:lnTo>
                  <a:lnTo>
                    <a:pt x="14530" y="11490"/>
                  </a:lnTo>
                  <a:lnTo>
                    <a:pt x="18733" y="6592"/>
                  </a:lnTo>
                  <a:lnTo>
                    <a:pt x="20505" y="1980"/>
                  </a:lnTo>
                  <a:lnTo>
                    <a:pt x="1758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99" name="î$liḍê">
              <a:extLst>
                <a:ext uri="{FF2B5EF4-FFF2-40B4-BE49-F238E27FC236}">
                  <a16:creationId xmlns:a16="http://schemas.microsoft.com/office/drawing/2014/main" id="{4E26E3C6-73E5-4F2F-8355-FB655F912F4C}"/>
                </a:ext>
              </a:extLst>
            </p:cNvPr>
            <p:cNvSpPr/>
            <p:nvPr/>
          </p:nvSpPr>
          <p:spPr>
            <a:xfrm>
              <a:off x="9553899" y="3604386"/>
              <a:ext cx="41967" cy="41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824" y="0"/>
                  </a:moveTo>
                  <a:lnTo>
                    <a:pt x="0" y="3997"/>
                  </a:lnTo>
                  <a:lnTo>
                    <a:pt x="7260" y="15507"/>
                  </a:lnTo>
                  <a:lnTo>
                    <a:pt x="11327" y="21600"/>
                  </a:lnTo>
                  <a:lnTo>
                    <a:pt x="21600" y="21076"/>
                  </a:lnTo>
                  <a:lnTo>
                    <a:pt x="15668" y="7101"/>
                  </a:lnTo>
                  <a:lnTo>
                    <a:pt x="582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00" name="íṡḻïḑè">
              <a:extLst>
                <a:ext uri="{FF2B5EF4-FFF2-40B4-BE49-F238E27FC236}">
                  <a16:creationId xmlns:a16="http://schemas.microsoft.com/office/drawing/2014/main" id="{0F3E55E9-599D-458F-A9FA-DAD4419BAD9A}"/>
                </a:ext>
              </a:extLst>
            </p:cNvPr>
            <p:cNvSpPr/>
            <p:nvPr/>
          </p:nvSpPr>
          <p:spPr>
            <a:xfrm>
              <a:off x="9690104" y="3635830"/>
              <a:ext cx="70568" cy="490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112" y="90"/>
                  </a:moveTo>
                  <a:lnTo>
                    <a:pt x="0" y="1424"/>
                  </a:lnTo>
                  <a:lnTo>
                    <a:pt x="3236" y="8466"/>
                  </a:lnTo>
                  <a:lnTo>
                    <a:pt x="8121" y="17785"/>
                  </a:lnTo>
                  <a:lnTo>
                    <a:pt x="13518" y="21155"/>
                  </a:lnTo>
                  <a:lnTo>
                    <a:pt x="21600" y="21600"/>
                  </a:lnTo>
                  <a:lnTo>
                    <a:pt x="17669" y="11727"/>
                  </a:lnTo>
                  <a:lnTo>
                    <a:pt x="14063" y="7299"/>
                  </a:lnTo>
                  <a:lnTo>
                    <a:pt x="10768" y="6411"/>
                  </a:lnTo>
                  <a:lnTo>
                    <a:pt x="7589" y="0"/>
                  </a:lnTo>
                  <a:lnTo>
                    <a:pt x="3112" y="9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01" name="íŝļíḓè">
              <a:extLst>
                <a:ext uri="{FF2B5EF4-FFF2-40B4-BE49-F238E27FC236}">
                  <a16:creationId xmlns:a16="http://schemas.microsoft.com/office/drawing/2014/main" id="{B63435B8-66A8-4765-B47B-EEC36802A16A}"/>
                </a:ext>
              </a:extLst>
            </p:cNvPr>
            <p:cNvSpPr/>
            <p:nvPr/>
          </p:nvSpPr>
          <p:spPr>
            <a:xfrm>
              <a:off x="9646111" y="3565738"/>
              <a:ext cx="19467" cy="253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04" y="4234"/>
                  </a:moveTo>
                  <a:lnTo>
                    <a:pt x="5083" y="0"/>
                  </a:lnTo>
                  <a:lnTo>
                    <a:pt x="0" y="11342"/>
                  </a:lnTo>
                  <a:lnTo>
                    <a:pt x="21600" y="21600"/>
                  </a:lnTo>
                  <a:lnTo>
                    <a:pt x="20404" y="4234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02" name="îśļiḍè">
              <a:extLst>
                <a:ext uri="{FF2B5EF4-FFF2-40B4-BE49-F238E27FC236}">
                  <a16:creationId xmlns:a16="http://schemas.microsoft.com/office/drawing/2014/main" id="{DE1869AC-D0C5-4EDA-8C9A-E79E31610A44}"/>
                </a:ext>
              </a:extLst>
            </p:cNvPr>
            <p:cNvSpPr/>
            <p:nvPr/>
          </p:nvSpPr>
          <p:spPr>
            <a:xfrm>
              <a:off x="9594891" y="3654803"/>
              <a:ext cx="47691" cy="489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99" y="3302"/>
                  </a:moveTo>
                  <a:cubicBezTo>
                    <a:pt x="9224" y="3989"/>
                    <a:pt x="8549" y="4676"/>
                    <a:pt x="7875" y="5363"/>
                  </a:cubicBezTo>
                  <a:cubicBezTo>
                    <a:pt x="7200" y="6049"/>
                    <a:pt x="6525" y="6736"/>
                    <a:pt x="5850" y="7423"/>
                  </a:cubicBezTo>
                  <a:lnTo>
                    <a:pt x="0" y="13749"/>
                  </a:lnTo>
                  <a:lnTo>
                    <a:pt x="5955" y="20264"/>
                  </a:lnTo>
                  <a:lnTo>
                    <a:pt x="13153" y="21600"/>
                  </a:lnTo>
                  <a:lnTo>
                    <a:pt x="16685" y="18073"/>
                  </a:lnTo>
                  <a:lnTo>
                    <a:pt x="16244" y="11856"/>
                  </a:lnTo>
                  <a:lnTo>
                    <a:pt x="21600" y="2243"/>
                  </a:lnTo>
                  <a:lnTo>
                    <a:pt x="15783" y="0"/>
                  </a:lnTo>
                  <a:lnTo>
                    <a:pt x="9899" y="330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03" name="îSľïḓê">
              <a:extLst>
                <a:ext uri="{FF2B5EF4-FFF2-40B4-BE49-F238E27FC236}">
                  <a16:creationId xmlns:a16="http://schemas.microsoft.com/office/drawing/2014/main" id="{56592121-A892-4E47-AD25-25A1CE7BBE70}"/>
                </a:ext>
              </a:extLst>
            </p:cNvPr>
            <p:cNvSpPr/>
            <p:nvPr/>
          </p:nvSpPr>
          <p:spPr>
            <a:xfrm>
              <a:off x="9632393" y="3706816"/>
              <a:ext cx="37284" cy="549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580" y="0"/>
                  </a:moveTo>
                  <a:lnTo>
                    <a:pt x="5492" y="4637"/>
                  </a:lnTo>
                  <a:lnTo>
                    <a:pt x="0" y="9562"/>
                  </a:lnTo>
                  <a:lnTo>
                    <a:pt x="532" y="14978"/>
                  </a:lnTo>
                  <a:lnTo>
                    <a:pt x="5198" y="17362"/>
                  </a:lnTo>
                  <a:lnTo>
                    <a:pt x="8142" y="21600"/>
                  </a:lnTo>
                  <a:lnTo>
                    <a:pt x="17499" y="19994"/>
                  </a:lnTo>
                  <a:lnTo>
                    <a:pt x="17499" y="13520"/>
                  </a:lnTo>
                  <a:lnTo>
                    <a:pt x="21600" y="9579"/>
                  </a:lnTo>
                  <a:lnTo>
                    <a:pt x="19856" y="4413"/>
                  </a:lnTo>
                  <a:lnTo>
                    <a:pt x="14429" y="2161"/>
                  </a:lnTo>
                  <a:lnTo>
                    <a:pt x="758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04" name="îṧḻíḑê">
              <a:extLst>
                <a:ext uri="{FF2B5EF4-FFF2-40B4-BE49-F238E27FC236}">
                  <a16:creationId xmlns:a16="http://schemas.microsoft.com/office/drawing/2014/main" id="{869FBF0B-B8B1-4BEE-B83F-D236F758F0C5}"/>
                </a:ext>
              </a:extLst>
            </p:cNvPr>
            <p:cNvSpPr/>
            <p:nvPr/>
          </p:nvSpPr>
          <p:spPr>
            <a:xfrm>
              <a:off x="9681665" y="3678031"/>
              <a:ext cx="29941" cy="510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374" y="2282"/>
                  </a:moveTo>
                  <a:lnTo>
                    <a:pt x="2301" y="0"/>
                  </a:lnTo>
                  <a:lnTo>
                    <a:pt x="0" y="4114"/>
                  </a:lnTo>
                  <a:lnTo>
                    <a:pt x="8942" y="8249"/>
                  </a:lnTo>
                  <a:lnTo>
                    <a:pt x="10410" y="16662"/>
                  </a:lnTo>
                  <a:lnTo>
                    <a:pt x="13285" y="21600"/>
                  </a:lnTo>
                  <a:lnTo>
                    <a:pt x="21600" y="19354"/>
                  </a:lnTo>
                  <a:lnTo>
                    <a:pt x="20132" y="10993"/>
                  </a:lnTo>
                  <a:lnTo>
                    <a:pt x="10374" y="228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05" name="íşľîďé">
              <a:extLst>
                <a:ext uri="{FF2B5EF4-FFF2-40B4-BE49-F238E27FC236}">
                  <a16:creationId xmlns:a16="http://schemas.microsoft.com/office/drawing/2014/main" id="{5FE11FEF-1753-4BC5-8133-FD7A509C8EF2}"/>
                </a:ext>
              </a:extLst>
            </p:cNvPr>
            <p:cNvSpPr/>
            <p:nvPr/>
          </p:nvSpPr>
          <p:spPr>
            <a:xfrm>
              <a:off x="9628583" y="3726518"/>
              <a:ext cx="162677" cy="1587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46" h="21600" extrusionOk="0">
                  <a:moveTo>
                    <a:pt x="15618" y="0"/>
                  </a:moveTo>
                  <a:lnTo>
                    <a:pt x="14068" y="137"/>
                  </a:lnTo>
                  <a:lnTo>
                    <a:pt x="13901" y="3471"/>
                  </a:lnTo>
                  <a:lnTo>
                    <a:pt x="11653" y="5499"/>
                  </a:lnTo>
                  <a:lnTo>
                    <a:pt x="9433" y="7154"/>
                  </a:lnTo>
                  <a:lnTo>
                    <a:pt x="8019" y="8935"/>
                  </a:lnTo>
                  <a:lnTo>
                    <a:pt x="6129" y="8803"/>
                  </a:lnTo>
                  <a:lnTo>
                    <a:pt x="4020" y="7291"/>
                  </a:lnTo>
                  <a:lnTo>
                    <a:pt x="1658" y="8253"/>
                  </a:lnTo>
                  <a:lnTo>
                    <a:pt x="1029" y="10864"/>
                  </a:lnTo>
                  <a:lnTo>
                    <a:pt x="0" y="12771"/>
                  </a:lnTo>
                  <a:lnTo>
                    <a:pt x="3621" y="12908"/>
                  </a:lnTo>
                  <a:lnTo>
                    <a:pt x="5425" y="10801"/>
                  </a:lnTo>
                  <a:lnTo>
                    <a:pt x="6970" y="11345"/>
                  </a:lnTo>
                  <a:lnTo>
                    <a:pt x="8696" y="13544"/>
                  </a:lnTo>
                  <a:lnTo>
                    <a:pt x="8696" y="16286"/>
                  </a:lnTo>
                  <a:lnTo>
                    <a:pt x="10584" y="19825"/>
                  </a:lnTo>
                  <a:lnTo>
                    <a:pt x="11691" y="21600"/>
                  </a:lnTo>
                  <a:lnTo>
                    <a:pt x="13329" y="20592"/>
                  </a:lnTo>
                  <a:lnTo>
                    <a:pt x="14785" y="19539"/>
                  </a:lnTo>
                  <a:lnTo>
                    <a:pt x="16955" y="20226"/>
                  </a:lnTo>
                  <a:lnTo>
                    <a:pt x="17088" y="18955"/>
                  </a:lnTo>
                  <a:lnTo>
                    <a:pt x="14658" y="17037"/>
                  </a:lnTo>
                  <a:lnTo>
                    <a:pt x="14525" y="14747"/>
                  </a:lnTo>
                  <a:lnTo>
                    <a:pt x="15986" y="13831"/>
                  </a:lnTo>
                  <a:lnTo>
                    <a:pt x="18372" y="14380"/>
                  </a:lnTo>
                  <a:lnTo>
                    <a:pt x="18632" y="17071"/>
                  </a:lnTo>
                  <a:cubicBezTo>
                    <a:pt x="19138" y="17458"/>
                    <a:pt x="19818" y="17494"/>
                    <a:pt x="20359" y="17163"/>
                  </a:cubicBezTo>
                  <a:cubicBezTo>
                    <a:pt x="21600" y="16403"/>
                    <a:pt x="21524" y="14520"/>
                    <a:pt x="20226" y="13871"/>
                  </a:cubicBezTo>
                  <a:cubicBezTo>
                    <a:pt x="19707" y="12622"/>
                    <a:pt x="19161" y="11385"/>
                    <a:pt x="18588" y="10161"/>
                  </a:cubicBezTo>
                  <a:cubicBezTo>
                    <a:pt x="18105" y="9128"/>
                    <a:pt x="17603" y="8105"/>
                    <a:pt x="17082" y="7092"/>
                  </a:cubicBezTo>
                  <a:lnTo>
                    <a:pt x="16551" y="3382"/>
                  </a:lnTo>
                  <a:lnTo>
                    <a:pt x="1561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06" name="îşļíḋê">
              <a:extLst>
                <a:ext uri="{FF2B5EF4-FFF2-40B4-BE49-F238E27FC236}">
                  <a16:creationId xmlns:a16="http://schemas.microsoft.com/office/drawing/2014/main" id="{04A4CAB9-B7F1-46A3-9C10-A8C224A15052}"/>
                </a:ext>
              </a:extLst>
            </p:cNvPr>
            <p:cNvSpPr/>
            <p:nvPr/>
          </p:nvSpPr>
          <p:spPr>
            <a:xfrm>
              <a:off x="9187751" y="3843193"/>
              <a:ext cx="329761" cy="3812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93" y="182"/>
                  </a:moveTo>
                  <a:lnTo>
                    <a:pt x="19070" y="0"/>
                  </a:lnTo>
                  <a:lnTo>
                    <a:pt x="20340" y="1335"/>
                  </a:lnTo>
                  <a:lnTo>
                    <a:pt x="21003" y="2362"/>
                  </a:lnTo>
                  <a:lnTo>
                    <a:pt x="21600" y="2990"/>
                  </a:lnTo>
                  <a:lnTo>
                    <a:pt x="21001" y="3848"/>
                  </a:lnTo>
                  <a:lnTo>
                    <a:pt x="20512" y="4459"/>
                  </a:lnTo>
                  <a:lnTo>
                    <a:pt x="19915" y="5222"/>
                  </a:lnTo>
                  <a:lnTo>
                    <a:pt x="19382" y="6290"/>
                  </a:lnTo>
                  <a:lnTo>
                    <a:pt x="19382" y="7432"/>
                  </a:lnTo>
                  <a:lnTo>
                    <a:pt x="19626" y="8233"/>
                  </a:lnTo>
                  <a:lnTo>
                    <a:pt x="20490" y="9318"/>
                  </a:lnTo>
                  <a:lnTo>
                    <a:pt x="21464" y="10423"/>
                  </a:lnTo>
                  <a:lnTo>
                    <a:pt x="21531" y="12044"/>
                  </a:lnTo>
                  <a:lnTo>
                    <a:pt x="19671" y="12598"/>
                  </a:lnTo>
                  <a:lnTo>
                    <a:pt x="19271" y="13509"/>
                  </a:lnTo>
                  <a:lnTo>
                    <a:pt x="19427" y="14768"/>
                  </a:lnTo>
                  <a:lnTo>
                    <a:pt x="18783" y="15910"/>
                  </a:lnTo>
                  <a:lnTo>
                    <a:pt x="18030" y="16900"/>
                  </a:lnTo>
                  <a:lnTo>
                    <a:pt x="16831" y="17925"/>
                  </a:lnTo>
                  <a:lnTo>
                    <a:pt x="16378" y="19125"/>
                  </a:lnTo>
                  <a:lnTo>
                    <a:pt x="15584" y="20935"/>
                  </a:lnTo>
                  <a:lnTo>
                    <a:pt x="14482" y="21600"/>
                  </a:lnTo>
                  <a:lnTo>
                    <a:pt x="13585" y="21028"/>
                  </a:lnTo>
                  <a:lnTo>
                    <a:pt x="12212" y="20589"/>
                  </a:lnTo>
                  <a:lnTo>
                    <a:pt x="11498" y="20436"/>
                  </a:lnTo>
                  <a:lnTo>
                    <a:pt x="10252" y="20665"/>
                  </a:lnTo>
                  <a:lnTo>
                    <a:pt x="9540" y="20665"/>
                  </a:lnTo>
                  <a:lnTo>
                    <a:pt x="7603" y="20436"/>
                  </a:lnTo>
                  <a:lnTo>
                    <a:pt x="6274" y="20172"/>
                  </a:lnTo>
                  <a:lnTo>
                    <a:pt x="4280" y="19885"/>
                  </a:lnTo>
                  <a:lnTo>
                    <a:pt x="3374" y="19375"/>
                  </a:lnTo>
                  <a:lnTo>
                    <a:pt x="2783" y="17734"/>
                  </a:lnTo>
                  <a:lnTo>
                    <a:pt x="1530" y="16227"/>
                  </a:lnTo>
                  <a:cubicBezTo>
                    <a:pt x="1300" y="15735"/>
                    <a:pt x="1078" y="15241"/>
                    <a:pt x="863" y="14744"/>
                  </a:cubicBezTo>
                  <a:cubicBezTo>
                    <a:pt x="560" y="14044"/>
                    <a:pt x="273" y="13340"/>
                    <a:pt x="0" y="12631"/>
                  </a:cubicBezTo>
                  <a:lnTo>
                    <a:pt x="197" y="11603"/>
                  </a:lnTo>
                  <a:lnTo>
                    <a:pt x="1259" y="10406"/>
                  </a:lnTo>
                  <a:lnTo>
                    <a:pt x="2436" y="9948"/>
                  </a:lnTo>
                  <a:lnTo>
                    <a:pt x="2902" y="10864"/>
                  </a:lnTo>
                  <a:lnTo>
                    <a:pt x="3946" y="11529"/>
                  </a:lnTo>
                  <a:lnTo>
                    <a:pt x="4323" y="10976"/>
                  </a:lnTo>
                  <a:lnTo>
                    <a:pt x="4723" y="9946"/>
                  </a:lnTo>
                  <a:lnTo>
                    <a:pt x="5431" y="9223"/>
                  </a:lnTo>
                  <a:lnTo>
                    <a:pt x="6230" y="8765"/>
                  </a:lnTo>
                  <a:lnTo>
                    <a:pt x="7338" y="8307"/>
                  </a:lnTo>
                  <a:lnTo>
                    <a:pt x="8604" y="7735"/>
                  </a:lnTo>
                  <a:lnTo>
                    <a:pt x="9378" y="7184"/>
                  </a:lnTo>
                  <a:lnTo>
                    <a:pt x="10242" y="5586"/>
                  </a:lnTo>
                  <a:lnTo>
                    <a:pt x="10927" y="5033"/>
                  </a:lnTo>
                  <a:lnTo>
                    <a:pt x="11838" y="4480"/>
                  </a:lnTo>
                  <a:lnTo>
                    <a:pt x="12570" y="4251"/>
                  </a:lnTo>
                  <a:lnTo>
                    <a:pt x="13392" y="4041"/>
                  </a:lnTo>
                  <a:lnTo>
                    <a:pt x="14386" y="3302"/>
                  </a:lnTo>
                  <a:lnTo>
                    <a:pt x="15319" y="2405"/>
                  </a:lnTo>
                  <a:lnTo>
                    <a:pt x="16229" y="1451"/>
                  </a:lnTo>
                  <a:lnTo>
                    <a:pt x="17693" y="18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07" name="îs1íḓé">
              <a:extLst>
                <a:ext uri="{FF2B5EF4-FFF2-40B4-BE49-F238E27FC236}">
                  <a16:creationId xmlns:a16="http://schemas.microsoft.com/office/drawing/2014/main" id="{5E045923-70EE-401F-B874-0CBECA74BEFA}"/>
                </a:ext>
              </a:extLst>
            </p:cNvPr>
            <p:cNvSpPr/>
            <p:nvPr/>
          </p:nvSpPr>
          <p:spPr>
            <a:xfrm>
              <a:off x="9518950" y="4026819"/>
              <a:ext cx="221080" cy="2644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"/>
                  </a:moveTo>
                  <a:lnTo>
                    <a:pt x="19302" y="0"/>
                  </a:lnTo>
                  <a:lnTo>
                    <a:pt x="18507" y="1508"/>
                  </a:lnTo>
                  <a:lnTo>
                    <a:pt x="16888" y="2495"/>
                  </a:lnTo>
                  <a:lnTo>
                    <a:pt x="15588" y="2660"/>
                  </a:lnTo>
                  <a:lnTo>
                    <a:pt x="14223" y="1866"/>
                  </a:lnTo>
                  <a:lnTo>
                    <a:pt x="11000" y="1783"/>
                  </a:lnTo>
                  <a:lnTo>
                    <a:pt x="9523" y="1673"/>
                  </a:lnTo>
                  <a:lnTo>
                    <a:pt x="7078" y="1838"/>
                  </a:lnTo>
                  <a:lnTo>
                    <a:pt x="3910" y="2828"/>
                  </a:lnTo>
                  <a:lnTo>
                    <a:pt x="3328" y="4063"/>
                  </a:lnTo>
                  <a:lnTo>
                    <a:pt x="3249" y="6070"/>
                  </a:lnTo>
                  <a:lnTo>
                    <a:pt x="3252" y="8298"/>
                  </a:lnTo>
                  <a:lnTo>
                    <a:pt x="3450" y="9618"/>
                  </a:lnTo>
                  <a:lnTo>
                    <a:pt x="3152" y="10719"/>
                  </a:lnTo>
                  <a:lnTo>
                    <a:pt x="1267" y="12420"/>
                  </a:lnTo>
                  <a:lnTo>
                    <a:pt x="0" y="14236"/>
                  </a:lnTo>
                  <a:lnTo>
                    <a:pt x="998" y="16436"/>
                  </a:lnTo>
                  <a:lnTo>
                    <a:pt x="1891" y="17340"/>
                  </a:lnTo>
                  <a:lnTo>
                    <a:pt x="2289" y="18739"/>
                  </a:lnTo>
                  <a:lnTo>
                    <a:pt x="1593" y="20390"/>
                  </a:lnTo>
                  <a:lnTo>
                    <a:pt x="2388" y="21600"/>
                  </a:lnTo>
                  <a:lnTo>
                    <a:pt x="4442" y="21352"/>
                  </a:lnTo>
                  <a:lnTo>
                    <a:pt x="5237" y="19733"/>
                  </a:lnTo>
                  <a:lnTo>
                    <a:pt x="4342" y="17643"/>
                  </a:lnTo>
                  <a:lnTo>
                    <a:pt x="3945" y="16161"/>
                  </a:lnTo>
                  <a:cubicBezTo>
                    <a:pt x="4074" y="15650"/>
                    <a:pt x="4347" y="15172"/>
                    <a:pt x="4740" y="14765"/>
                  </a:cubicBezTo>
                  <a:cubicBezTo>
                    <a:pt x="5266" y="14220"/>
                    <a:pt x="5984" y="13826"/>
                    <a:pt x="6793" y="13637"/>
                  </a:cubicBezTo>
                  <a:lnTo>
                    <a:pt x="8040" y="13310"/>
                  </a:lnTo>
                  <a:lnTo>
                    <a:pt x="8802" y="14576"/>
                  </a:lnTo>
                  <a:lnTo>
                    <a:pt x="8802" y="16635"/>
                  </a:lnTo>
                  <a:cubicBezTo>
                    <a:pt x="9210" y="17046"/>
                    <a:pt x="9677" y="17415"/>
                    <a:pt x="10193" y="17732"/>
                  </a:cubicBezTo>
                  <a:cubicBezTo>
                    <a:pt x="10742" y="18070"/>
                    <a:pt x="11342" y="18347"/>
                    <a:pt x="11978" y="18557"/>
                  </a:cubicBezTo>
                  <a:cubicBezTo>
                    <a:pt x="12325" y="18437"/>
                    <a:pt x="12624" y="18237"/>
                    <a:pt x="12839" y="17979"/>
                  </a:cubicBezTo>
                  <a:cubicBezTo>
                    <a:pt x="13328" y="17393"/>
                    <a:pt x="13328" y="16616"/>
                    <a:pt x="12839" y="16030"/>
                  </a:cubicBezTo>
                  <a:lnTo>
                    <a:pt x="12209" y="14548"/>
                  </a:lnTo>
                  <a:cubicBezTo>
                    <a:pt x="11711" y="14198"/>
                    <a:pt x="11335" y="13743"/>
                    <a:pt x="11120" y="13231"/>
                  </a:cubicBezTo>
                  <a:cubicBezTo>
                    <a:pt x="10817" y="12506"/>
                    <a:pt x="10852" y="11712"/>
                    <a:pt x="11220" y="11007"/>
                  </a:cubicBezTo>
                  <a:lnTo>
                    <a:pt x="12512" y="9934"/>
                  </a:lnTo>
                  <a:lnTo>
                    <a:pt x="14201" y="9109"/>
                  </a:lnTo>
                  <a:lnTo>
                    <a:pt x="15352" y="8700"/>
                  </a:lnTo>
                  <a:lnTo>
                    <a:pt x="14756" y="7572"/>
                  </a:lnTo>
                  <a:lnTo>
                    <a:pt x="12081" y="7903"/>
                  </a:lnTo>
                  <a:lnTo>
                    <a:pt x="8450" y="9109"/>
                  </a:lnTo>
                  <a:cubicBezTo>
                    <a:pt x="7962" y="9001"/>
                    <a:pt x="7496" y="8834"/>
                    <a:pt x="7067" y="8614"/>
                  </a:cubicBezTo>
                  <a:cubicBezTo>
                    <a:pt x="6290" y="8217"/>
                    <a:pt x="5653" y="7659"/>
                    <a:pt x="5216" y="6995"/>
                  </a:cubicBezTo>
                  <a:cubicBezTo>
                    <a:pt x="5085" y="6422"/>
                    <a:pt x="5085" y="5835"/>
                    <a:pt x="5216" y="5262"/>
                  </a:cubicBezTo>
                  <a:cubicBezTo>
                    <a:pt x="5343" y="4707"/>
                    <a:pt x="5600" y="4165"/>
                    <a:pt x="6106" y="3787"/>
                  </a:cubicBezTo>
                  <a:cubicBezTo>
                    <a:pt x="6720" y="3329"/>
                    <a:pt x="7565" y="3206"/>
                    <a:pt x="8388" y="3154"/>
                  </a:cubicBezTo>
                  <a:cubicBezTo>
                    <a:pt x="9337" y="3095"/>
                    <a:pt x="10291" y="3113"/>
                    <a:pt x="11236" y="3209"/>
                  </a:cubicBezTo>
                  <a:lnTo>
                    <a:pt x="12594" y="3347"/>
                  </a:lnTo>
                  <a:lnTo>
                    <a:pt x="13886" y="3787"/>
                  </a:lnTo>
                  <a:lnTo>
                    <a:pt x="15045" y="4475"/>
                  </a:lnTo>
                  <a:lnTo>
                    <a:pt x="16900" y="4695"/>
                  </a:lnTo>
                  <a:cubicBezTo>
                    <a:pt x="17689" y="4733"/>
                    <a:pt x="18466" y="4527"/>
                    <a:pt x="19083" y="4117"/>
                  </a:cubicBezTo>
                  <a:cubicBezTo>
                    <a:pt x="19535" y="3816"/>
                    <a:pt x="19878" y="3418"/>
                    <a:pt x="20076" y="2965"/>
                  </a:cubicBezTo>
                  <a:lnTo>
                    <a:pt x="21434" y="1511"/>
                  </a:lnTo>
                  <a:lnTo>
                    <a:pt x="21600" y="1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08" name="íṥḷiḍè">
              <a:extLst>
                <a:ext uri="{FF2B5EF4-FFF2-40B4-BE49-F238E27FC236}">
                  <a16:creationId xmlns:a16="http://schemas.microsoft.com/office/drawing/2014/main" id="{BB0F19F6-9A39-40C1-8DA6-0166C379F39E}"/>
                </a:ext>
              </a:extLst>
            </p:cNvPr>
            <p:cNvSpPr/>
            <p:nvPr/>
          </p:nvSpPr>
          <p:spPr>
            <a:xfrm>
              <a:off x="9816350" y="3993819"/>
              <a:ext cx="41001" cy="1037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255" y="0"/>
                  </a:moveTo>
                  <a:lnTo>
                    <a:pt x="9754" y="981"/>
                  </a:lnTo>
                  <a:lnTo>
                    <a:pt x="6086" y="3566"/>
                  </a:lnTo>
                  <a:lnTo>
                    <a:pt x="1417" y="5861"/>
                  </a:lnTo>
                  <a:lnTo>
                    <a:pt x="4076" y="9434"/>
                  </a:lnTo>
                  <a:lnTo>
                    <a:pt x="6254" y="12097"/>
                  </a:lnTo>
                  <a:lnTo>
                    <a:pt x="3575" y="14050"/>
                  </a:lnTo>
                  <a:lnTo>
                    <a:pt x="383" y="15872"/>
                  </a:lnTo>
                  <a:lnTo>
                    <a:pt x="0" y="19016"/>
                  </a:lnTo>
                  <a:lnTo>
                    <a:pt x="9298" y="21600"/>
                  </a:lnTo>
                  <a:lnTo>
                    <a:pt x="16777" y="20549"/>
                  </a:lnTo>
                  <a:lnTo>
                    <a:pt x="17849" y="16774"/>
                  </a:lnTo>
                  <a:lnTo>
                    <a:pt x="17849" y="12999"/>
                  </a:lnTo>
                  <a:lnTo>
                    <a:pt x="14300" y="9426"/>
                  </a:lnTo>
                  <a:lnTo>
                    <a:pt x="11643" y="6290"/>
                  </a:lnTo>
                  <a:lnTo>
                    <a:pt x="13250" y="4118"/>
                  </a:lnTo>
                  <a:lnTo>
                    <a:pt x="21600" y="2454"/>
                  </a:lnTo>
                  <a:lnTo>
                    <a:pt x="1725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09" name="íṥļïḋê">
              <a:extLst>
                <a:ext uri="{FF2B5EF4-FFF2-40B4-BE49-F238E27FC236}">
                  <a16:creationId xmlns:a16="http://schemas.microsoft.com/office/drawing/2014/main" id="{C8CD6823-B7BE-4C19-A085-C159095C04DE}"/>
                </a:ext>
              </a:extLst>
            </p:cNvPr>
            <p:cNvSpPr/>
            <p:nvPr/>
          </p:nvSpPr>
          <p:spPr>
            <a:xfrm>
              <a:off x="9834437" y="4184237"/>
              <a:ext cx="82580" cy="3755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00" h="19363" extrusionOk="0">
                  <a:moveTo>
                    <a:pt x="5683" y="318"/>
                  </a:moveTo>
                  <a:lnTo>
                    <a:pt x="1027" y="1360"/>
                  </a:lnTo>
                  <a:lnTo>
                    <a:pt x="0" y="7059"/>
                  </a:lnTo>
                  <a:lnTo>
                    <a:pt x="2914" y="13850"/>
                  </a:lnTo>
                  <a:lnTo>
                    <a:pt x="8729" y="12808"/>
                  </a:lnTo>
                  <a:lnTo>
                    <a:pt x="9876" y="18864"/>
                  </a:lnTo>
                  <a:lnTo>
                    <a:pt x="14356" y="19363"/>
                  </a:lnTo>
                  <a:cubicBezTo>
                    <a:pt x="15680" y="17818"/>
                    <a:pt x="17000" y="16262"/>
                    <a:pt x="18317" y="14697"/>
                  </a:cubicBezTo>
                  <a:cubicBezTo>
                    <a:pt x="19936" y="12772"/>
                    <a:pt x="21600" y="10321"/>
                    <a:pt x="21495" y="6712"/>
                  </a:cubicBezTo>
                  <a:cubicBezTo>
                    <a:pt x="21234" y="-2237"/>
                    <a:pt x="14529" y="-2237"/>
                    <a:pt x="14268" y="6712"/>
                  </a:cubicBezTo>
                  <a:lnTo>
                    <a:pt x="10052" y="5498"/>
                  </a:lnTo>
                  <a:lnTo>
                    <a:pt x="5683" y="31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10" name="íṧ1îďê">
              <a:extLst>
                <a:ext uri="{FF2B5EF4-FFF2-40B4-BE49-F238E27FC236}">
                  <a16:creationId xmlns:a16="http://schemas.microsoft.com/office/drawing/2014/main" id="{53E21E8B-3FBE-42F5-B2AA-9B88041D8155}"/>
                </a:ext>
              </a:extLst>
            </p:cNvPr>
            <p:cNvSpPr/>
            <p:nvPr/>
          </p:nvSpPr>
          <p:spPr>
            <a:xfrm>
              <a:off x="9664278" y="4387494"/>
              <a:ext cx="133525" cy="809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152" y="0"/>
                  </a:moveTo>
                  <a:lnTo>
                    <a:pt x="10628" y="460"/>
                  </a:lnTo>
                  <a:lnTo>
                    <a:pt x="7726" y="4319"/>
                  </a:lnTo>
                  <a:lnTo>
                    <a:pt x="5627" y="8451"/>
                  </a:lnTo>
                  <a:lnTo>
                    <a:pt x="4174" y="14357"/>
                  </a:lnTo>
                  <a:lnTo>
                    <a:pt x="1935" y="16154"/>
                  </a:lnTo>
                  <a:lnTo>
                    <a:pt x="0" y="18468"/>
                  </a:lnTo>
                  <a:lnTo>
                    <a:pt x="1106" y="21600"/>
                  </a:lnTo>
                  <a:lnTo>
                    <a:pt x="6381" y="17839"/>
                  </a:lnTo>
                  <a:lnTo>
                    <a:pt x="8410" y="9597"/>
                  </a:lnTo>
                  <a:lnTo>
                    <a:pt x="11042" y="7530"/>
                  </a:lnTo>
                  <a:lnTo>
                    <a:pt x="13668" y="8597"/>
                  </a:lnTo>
                  <a:lnTo>
                    <a:pt x="17384" y="8597"/>
                  </a:lnTo>
                  <a:lnTo>
                    <a:pt x="21600" y="6531"/>
                  </a:lnTo>
                  <a:lnTo>
                    <a:pt x="19790" y="883"/>
                  </a:lnTo>
                  <a:lnTo>
                    <a:pt x="16677" y="3399"/>
                  </a:lnTo>
                  <a:lnTo>
                    <a:pt x="1415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11" name="ïšliḑè">
              <a:extLst>
                <a:ext uri="{FF2B5EF4-FFF2-40B4-BE49-F238E27FC236}">
                  <a16:creationId xmlns:a16="http://schemas.microsoft.com/office/drawing/2014/main" id="{857E4AC2-6A88-4F8F-A89D-78A8CE07B2C4}"/>
                </a:ext>
              </a:extLst>
            </p:cNvPr>
            <p:cNvSpPr/>
            <p:nvPr/>
          </p:nvSpPr>
          <p:spPr>
            <a:xfrm>
              <a:off x="9557284" y="4379124"/>
              <a:ext cx="90437" cy="433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27" h="20202" extrusionOk="0">
                  <a:moveTo>
                    <a:pt x="8120" y="1413"/>
                  </a:moveTo>
                  <a:lnTo>
                    <a:pt x="2989" y="0"/>
                  </a:lnTo>
                  <a:lnTo>
                    <a:pt x="0" y="4386"/>
                  </a:lnTo>
                  <a:lnTo>
                    <a:pt x="2074" y="13178"/>
                  </a:lnTo>
                  <a:lnTo>
                    <a:pt x="6156" y="20202"/>
                  </a:lnTo>
                  <a:lnTo>
                    <a:pt x="9392" y="20202"/>
                  </a:lnTo>
                  <a:cubicBezTo>
                    <a:pt x="9507" y="17730"/>
                    <a:pt x="10179" y="15518"/>
                    <a:pt x="11202" y="14238"/>
                  </a:cubicBezTo>
                  <a:cubicBezTo>
                    <a:pt x="12897" y="12117"/>
                    <a:pt x="14975" y="13081"/>
                    <a:pt x="16937" y="12982"/>
                  </a:cubicBezTo>
                  <a:cubicBezTo>
                    <a:pt x="17858" y="12935"/>
                    <a:pt x="18816" y="12577"/>
                    <a:pt x="19418" y="11137"/>
                  </a:cubicBezTo>
                  <a:cubicBezTo>
                    <a:pt x="21600" y="5910"/>
                    <a:pt x="18293" y="-1398"/>
                    <a:pt x="15654" y="2817"/>
                  </a:cubicBezTo>
                  <a:lnTo>
                    <a:pt x="11513" y="7369"/>
                  </a:lnTo>
                  <a:lnTo>
                    <a:pt x="8120" y="141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12" name="îsḷíḋé">
              <a:extLst>
                <a:ext uri="{FF2B5EF4-FFF2-40B4-BE49-F238E27FC236}">
                  <a16:creationId xmlns:a16="http://schemas.microsoft.com/office/drawing/2014/main" id="{CD23C000-86C4-4B7E-AC59-0D6882C8BA6F}"/>
                </a:ext>
              </a:extLst>
            </p:cNvPr>
            <p:cNvSpPr/>
            <p:nvPr/>
          </p:nvSpPr>
          <p:spPr>
            <a:xfrm>
              <a:off x="9429485" y="4387992"/>
              <a:ext cx="74217" cy="350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859" y="1149"/>
                  </a:moveTo>
                  <a:lnTo>
                    <a:pt x="16794" y="1980"/>
                  </a:lnTo>
                  <a:lnTo>
                    <a:pt x="20811" y="5943"/>
                  </a:lnTo>
                  <a:lnTo>
                    <a:pt x="21600" y="15447"/>
                  </a:lnTo>
                  <a:lnTo>
                    <a:pt x="15100" y="14824"/>
                  </a:lnTo>
                  <a:lnTo>
                    <a:pt x="10412" y="21600"/>
                  </a:lnTo>
                  <a:lnTo>
                    <a:pt x="4161" y="15786"/>
                  </a:lnTo>
                  <a:lnTo>
                    <a:pt x="0" y="8515"/>
                  </a:lnTo>
                  <a:lnTo>
                    <a:pt x="3564" y="3114"/>
                  </a:lnTo>
                  <a:lnTo>
                    <a:pt x="8770" y="0"/>
                  </a:lnTo>
                  <a:lnTo>
                    <a:pt x="11859" y="1149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13" name="ïṡḻíde">
              <a:extLst>
                <a:ext uri="{FF2B5EF4-FFF2-40B4-BE49-F238E27FC236}">
                  <a16:creationId xmlns:a16="http://schemas.microsoft.com/office/drawing/2014/main" id="{7F39289E-7943-4447-B9C6-1777F08A415E}"/>
                </a:ext>
              </a:extLst>
            </p:cNvPr>
            <p:cNvSpPr/>
            <p:nvPr/>
          </p:nvSpPr>
          <p:spPr>
            <a:xfrm>
              <a:off x="9520068" y="4428015"/>
              <a:ext cx="55095" cy="3131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893" y="1028"/>
                  </a:moveTo>
                  <a:lnTo>
                    <a:pt x="16832" y="971"/>
                  </a:lnTo>
                  <a:lnTo>
                    <a:pt x="20420" y="11208"/>
                  </a:lnTo>
                  <a:lnTo>
                    <a:pt x="21600" y="21600"/>
                  </a:lnTo>
                  <a:lnTo>
                    <a:pt x="16982" y="18870"/>
                  </a:lnTo>
                  <a:lnTo>
                    <a:pt x="11664" y="14489"/>
                  </a:lnTo>
                  <a:lnTo>
                    <a:pt x="5019" y="13095"/>
                  </a:lnTo>
                  <a:lnTo>
                    <a:pt x="0" y="8275"/>
                  </a:lnTo>
                  <a:lnTo>
                    <a:pt x="451" y="0"/>
                  </a:lnTo>
                  <a:lnTo>
                    <a:pt x="7893" y="102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14" name="iṡļiḋè">
              <a:extLst>
                <a:ext uri="{FF2B5EF4-FFF2-40B4-BE49-F238E27FC236}">
                  <a16:creationId xmlns:a16="http://schemas.microsoft.com/office/drawing/2014/main" id="{A2BB5A96-8295-4256-9387-67B786202305}"/>
                </a:ext>
              </a:extLst>
            </p:cNvPr>
            <p:cNvSpPr/>
            <p:nvPr/>
          </p:nvSpPr>
          <p:spPr>
            <a:xfrm>
              <a:off x="9067733" y="4304888"/>
              <a:ext cx="331335" cy="9455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62" y="0"/>
                  </a:moveTo>
                  <a:lnTo>
                    <a:pt x="5763" y="1193"/>
                  </a:lnTo>
                  <a:lnTo>
                    <a:pt x="7140" y="6505"/>
                  </a:lnTo>
                  <a:lnTo>
                    <a:pt x="8532" y="9504"/>
                  </a:lnTo>
                  <a:lnTo>
                    <a:pt x="10248" y="8812"/>
                  </a:lnTo>
                  <a:lnTo>
                    <a:pt x="11883" y="6582"/>
                  </a:lnTo>
                  <a:lnTo>
                    <a:pt x="13403" y="5274"/>
                  </a:lnTo>
                  <a:lnTo>
                    <a:pt x="14790" y="7803"/>
                  </a:lnTo>
                  <a:lnTo>
                    <a:pt x="15917" y="11562"/>
                  </a:lnTo>
                  <a:lnTo>
                    <a:pt x="17221" y="12706"/>
                  </a:lnTo>
                  <a:lnTo>
                    <a:pt x="18945" y="12706"/>
                  </a:lnTo>
                  <a:lnTo>
                    <a:pt x="21465" y="16859"/>
                  </a:lnTo>
                  <a:lnTo>
                    <a:pt x="21600" y="19533"/>
                  </a:lnTo>
                  <a:lnTo>
                    <a:pt x="21006" y="21369"/>
                  </a:lnTo>
                  <a:lnTo>
                    <a:pt x="19970" y="21600"/>
                  </a:lnTo>
                  <a:lnTo>
                    <a:pt x="18003" y="19138"/>
                  </a:lnTo>
                  <a:lnTo>
                    <a:pt x="15022" y="18215"/>
                  </a:lnTo>
                  <a:lnTo>
                    <a:pt x="11204" y="18215"/>
                  </a:lnTo>
                  <a:lnTo>
                    <a:pt x="9900" y="15985"/>
                  </a:lnTo>
                  <a:lnTo>
                    <a:pt x="8817" y="13601"/>
                  </a:lnTo>
                  <a:lnTo>
                    <a:pt x="7759" y="13380"/>
                  </a:lnTo>
                  <a:lnTo>
                    <a:pt x="6457" y="15686"/>
                  </a:lnTo>
                  <a:cubicBezTo>
                    <a:pt x="6016" y="15792"/>
                    <a:pt x="5574" y="15767"/>
                    <a:pt x="5134" y="15610"/>
                  </a:cubicBezTo>
                  <a:cubicBezTo>
                    <a:pt x="4240" y="15293"/>
                    <a:pt x="3369" y="14440"/>
                    <a:pt x="2559" y="13091"/>
                  </a:cubicBezTo>
                  <a:cubicBezTo>
                    <a:pt x="2427" y="12283"/>
                    <a:pt x="2248" y="11576"/>
                    <a:pt x="2036" y="11014"/>
                  </a:cubicBezTo>
                  <a:cubicBezTo>
                    <a:pt x="1623" y="9923"/>
                    <a:pt x="1105" y="9427"/>
                    <a:pt x="590" y="9629"/>
                  </a:cubicBezTo>
                  <a:lnTo>
                    <a:pt x="0" y="6938"/>
                  </a:lnTo>
                  <a:lnTo>
                    <a:pt x="743" y="3332"/>
                  </a:lnTo>
                  <a:lnTo>
                    <a:pt x="1495" y="2410"/>
                  </a:lnTo>
                  <a:lnTo>
                    <a:pt x="346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15" name="ïṥḷïdé">
              <a:extLst>
                <a:ext uri="{FF2B5EF4-FFF2-40B4-BE49-F238E27FC236}">
                  <a16:creationId xmlns:a16="http://schemas.microsoft.com/office/drawing/2014/main" id="{CEB3CC25-1B27-4FCA-BABA-80D8EA1F1E33}"/>
                </a:ext>
              </a:extLst>
            </p:cNvPr>
            <p:cNvSpPr/>
            <p:nvPr/>
          </p:nvSpPr>
          <p:spPr>
            <a:xfrm>
              <a:off x="8739813" y="3881623"/>
              <a:ext cx="352969" cy="4143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4"/>
                  </a:moveTo>
                  <a:lnTo>
                    <a:pt x="993" y="0"/>
                  </a:lnTo>
                  <a:lnTo>
                    <a:pt x="1986" y="598"/>
                  </a:lnTo>
                  <a:lnTo>
                    <a:pt x="2816" y="1157"/>
                  </a:lnTo>
                  <a:lnTo>
                    <a:pt x="4289" y="1420"/>
                  </a:lnTo>
                  <a:lnTo>
                    <a:pt x="5451" y="2210"/>
                  </a:lnTo>
                  <a:lnTo>
                    <a:pt x="5555" y="3015"/>
                  </a:lnTo>
                  <a:lnTo>
                    <a:pt x="6776" y="3171"/>
                  </a:lnTo>
                  <a:lnTo>
                    <a:pt x="7274" y="4172"/>
                  </a:lnTo>
                  <a:lnTo>
                    <a:pt x="7521" y="5067"/>
                  </a:lnTo>
                  <a:lnTo>
                    <a:pt x="8703" y="5646"/>
                  </a:lnTo>
                  <a:lnTo>
                    <a:pt x="10010" y="6313"/>
                  </a:lnTo>
                  <a:lnTo>
                    <a:pt x="11379" y="7204"/>
                  </a:lnTo>
                  <a:lnTo>
                    <a:pt x="13037" y="8026"/>
                  </a:lnTo>
                  <a:lnTo>
                    <a:pt x="14033" y="8799"/>
                  </a:lnTo>
                  <a:lnTo>
                    <a:pt x="14551" y="9185"/>
                  </a:lnTo>
                  <a:lnTo>
                    <a:pt x="15132" y="9746"/>
                  </a:lnTo>
                  <a:lnTo>
                    <a:pt x="15630" y="10424"/>
                  </a:lnTo>
                  <a:lnTo>
                    <a:pt x="15570" y="11405"/>
                  </a:lnTo>
                  <a:lnTo>
                    <a:pt x="15570" y="12087"/>
                  </a:lnTo>
                  <a:lnTo>
                    <a:pt x="16649" y="12471"/>
                  </a:lnTo>
                  <a:lnTo>
                    <a:pt x="17617" y="13079"/>
                  </a:lnTo>
                  <a:lnTo>
                    <a:pt x="17866" y="14746"/>
                  </a:lnTo>
                  <a:lnTo>
                    <a:pt x="19276" y="15306"/>
                  </a:lnTo>
                  <a:lnTo>
                    <a:pt x="20065" y="16197"/>
                  </a:lnTo>
                  <a:lnTo>
                    <a:pt x="20874" y="16512"/>
                  </a:lnTo>
                  <a:lnTo>
                    <a:pt x="21247" y="17881"/>
                  </a:lnTo>
                  <a:lnTo>
                    <a:pt x="21600" y="18880"/>
                  </a:lnTo>
                  <a:lnTo>
                    <a:pt x="20980" y="20073"/>
                  </a:lnTo>
                  <a:lnTo>
                    <a:pt x="19738" y="21284"/>
                  </a:lnTo>
                  <a:lnTo>
                    <a:pt x="18825" y="21600"/>
                  </a:lnTo>
                  <a:lnTo>
                    <a:pt x="17920" y="20918"/>
                  </a:lnTo>
                  <a:lnTo>
                    <a:pt x="16761" y="20657"/>
                  </a:lnTo>
                  <a:lnTo>
                    <a:pt x="16221" y="20130"/>
                  </a:lnTo>
                  <a:lnTo>
                    <a:pt x="15871" y="19375"/>
                  </a:lnTo>
                  <a:lnTo>
                    <a:pt x="14730" y="18518"/>
                  </a:lnTo>
                  <a:lnTo>
                    <a:pt x="12845" y="16958"/>
                  </a:lnTo>
                  <a:cubicBezTo>
                    <a:pt x="12017" y="16567"/>
                    <a:pt x="11468" y="15860"/>
                    <a:pt x="11372" y="15062"/>
                  </a:cubicBezTo>
                  <a:cubicBezTo>
                    <a:pt x="11299" y="14464"/>
                    <a:pt x="11495" y="13846"/>
                    <a:pt x="11270" y="13272"/>
                  </a:cubicBezTo>
                  <a:cubicBezTo>
                    <a:pt x="11040" y="12683"/>
                    <a:pt x="10437" y="12286"/>
                    <a:pt x="9880" y="11886"/>
                  </a:cubicBezTo>
                  <a:cubicBezTo>
                    <a:pt x="9302" y="11470"/>
                    <a:pt x="8755" y="11024"/>
                    <a:pt x="8241" y="10552"/>
                  </a:cubicBezTo>
                  <a:lnTo>
                    <a:pt x="7806" y="8674"/>
                  </a:lnTo>
                  <a:lnTo>
                    <a:pt x="6997" y="7096"/>
                  </a:lnTo>
                  <a:lnTo>
                    <a:pt x="5321" y="5752"/>
                  </a:lnTo>
                  <a:lnTo>
                    <a:pt x="3277" y="4023"/>
                  </a:lnTo>
                  <a:lnTo>
                    <a:pt x="2077" y="3410"/>
                  </a:lnTo>
                  <a:lnTo>
                    <a:pt x="505" y="1818"/>
                  </a:lnTo>
                  <a:lnTo>
                    <a:pt x="256" y="1168"/>
                  </a:lnTo>
                  <a:lnTo>
                    <a:pt x="0" y="184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3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16" name="ïslíḍê">
              <a:extLst>
                <a:ext uri="{FF2B5EF4-FFF2-40B4-BE49-F238E27FC236}">
                  <a16:creationId xmlns:a16="http://schemas.microsoft.com/office/drawing/2014/main" id="{27B90E6C-EDE6-45A4-A348-5DB44E4237A7}"/>
                </a:ext>
              </a:extLst>
            </p:cNvPr>
            <p:cNvSpPr/>
            <p:nvPr/>
          </p:nvSpPr>
          <p:spPr>
            <a:xfrm>
              <a:off x="8199229" y="3742697"/>
              <a:ext cx="76119" cy="1146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600" y="0"/>
                  </a:moveTo>
                  <a:lnTo>
                    <a:pt x="8713" y="182"/>
                  </a:lnTo>
                  <a:lnTo>
                    <a:pt x="10921" y="4429"/>
                  </a:lnTo>
                  <a:lnTo>
                    <a:pt x="14685" y="8044"/>
                  </a:lnTo>
                  <a:lnTo>
                    <a:pt x="18425" y="9946"/>
                  </a:lnTo>
                  <a:lnTo>
                    <a:pt x="21600" y="14767"/>
                  </a:lnTo>
                  <a:lnTo>
                    <a:pt x="19964" y="17676"/>
                  </a:lnTo>
                  <a:lnTo>
                    <a:pt x="13230" y="21600"/>
                  </a:lnTo>
                  <a:lnTo>
                    <a:pt x="5665" y="20649"/>
                  </a:lnTo>
                  <a:lnTo>
                    <a:pt x="3657" y="18389"/>
                  </a:lnTo>
                  <a:lnTo>
                    <a:pt x="2585" y="13196"/>
                  </a:lnTo>
                  <a:lnTo>
                    <a:pt x="0" y="7869"/>
                  </a:lnTo>
                  <a:lnTo>
                    <a:pt x="285" y="4698"/>
                  </a:lnTo>
                  <a:lnTo>
                    <a:pt x="46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17" name="iśḻíḍè">
              <a:extLst>
                <a:ext uri="{FF2B5EF4-FFF2-40B4-BE49-F238E27FC236}">
                  <a16:creationId xmlns:a16="http://schemas.microsoft.com/office/drawing/2014/main" id="{E34A83C5-8E51-4E99-8E83-C46251BC765A}"/>
                </a:ext>
              </a:extLst>
            </p:cNvPr>
            <p:cNvSpPr/>
            <p:nvPr/>
          </p:nvSpPr>
          <p:spPr>
            <a:xfrm>
              <a:off x="7957224" y="3867942"/>
              <a:ext cx="20203" cy="248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606" y="3000"/>
                  </a:moveTo>
                  <a:lnTo>
                    <a:pt x="21600" y="0"/>
                  </a:lnTo>
                  <a:lnTo>
                    <a:pt x="18445" y="10511"/>
                  </a:lnTo>
                  <a:lnTo>
                    <a:pt x="15227" y="21600"/>
                  </a:lnTo>
                  <a:lnTo>
                    <a:pt x="0" y="20686"/>
                  </a:lnTo>
                  <a:lnTo>
                    <a:pt x="8606" y="300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18" name="îSľïdê">
              <a:extLst>
                <a:ext uri="{FF2B5EF4-FFF2-40B4-BE49-F238E27FC236}">
                  <a16:creationId xmlns:a16="http://schemas.microsoft.com/office/drawing/2014/main" id="{7B43BAA6-7148-413C-AD9B-2D16451AAB4E}"/>
                </a:ext>
              </a:extLst>
            </p:cNvPr>
            <p:cNvSpPr/>
            <p:nvPr/>
          </p:nvSpPr>
          <p:spPr>
            <a:xfrm>
              <a:off x="7953865" y="3917350"/>
              <a:ext cx="21543" cy="201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494" y="0"/>
                  </a:moveTo>
                  <a:lnTo>
                    <a:pt x="0" y="8708"/>
                  </a:lnTo>
                  <a:lnTo>
                    <a:pt x="11400" y="21600"/>
                  </a:lnTo>
                  <a:lnTo>
                    <a:pt x="21600" y="9737"/>
                  </a:lnTo>
                  <a:lnTo>
                    <a:pt x="1049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19" name="ïSḷiḍé">
              <a:extLst>
                <a:ext uri="{FF2B5EF4-FFF2-40B4-BE49-F238E27FC236}">
                  <a16:creationId xmlns:a16="http://schemas.microsoft.com/office/drawing/2014/main" id="{57A8751E-FE0F-4BFA-AF92-AE6006557810}"/>
                </a:ext>
              </a:extLst>
            </p:cNvPr>
            <p:cNvSpPr/>
            <p:nvPr/>
          </p:nvSpPr>
          <p:spPr>
            <a:xfrm>
              <a:off x="7931635" y="3837005"/>
              <a:ext cx="18834" cy="203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886" y="0"/>
                  </a:moveTo>
                  <a:lnTo>
                    <a:pt x="0" y="12052"/>
                  </a:lnTo>
                  <a:lnTo>
                    <a:pt x="10759" y="21600"/>
                  </a:lnTo>
                  <a:lnTo>
                    <a:pt x="21600" y="9540"/>
                  </a:lnTo>
                  <a:lnTo>
                    <a:pt x="1188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20" name="íṧḷïḋe">
              <a:extLst>
                <a:ext uri="{FF2B5EF4-FFF2-40B4-BE49-F238E27FC236}">
                  <a16:creationId xmlns:a16="http://schemas.microsoft.com/office/drawing/2014/main" id="{E819E500-7190-4C0E-9AD1-1AB4C20E0571}"/>
                </a:ext>
              </a:extLst>
            </p:cNvPr>
            <p:cNvSpPr/>
            <p:nvPr/>
          </p:nvSpPr>
          <p:spPr>
            <a:xfrm>
              <a:off x="7171214" y="3107084"/>
              <a:ext cx="22347" cy="311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226" y="0"/>
                  </a:moveTo>
                  <a:lnTo>
                    <a:pt x="0" y="6738"/>
                  </a:lnTo>
                  <a:lnTo>
                    <a:pt x="6059" y="21600"/>
                  </a:lnTo>
                  <a:lnTo>
                    <a:pt x="21600" y="18596"/>
                  </a:lnTo>
                  <a:lnTo>
                    <a:pt x="1822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21" name="îš1iḑe">
              <a:extLst>
                <a:ext uri="{FF2B5EF4-FFF2-40B4-BE49-F238E27FC236}">
                  <a16:creationId xmlns:a16="http://schemas.microsoft.com/office/drawing/2014/main" id="{8DE606D8-3285-4F49-8A3A-640959CAEAD1}"/>
                </a:ext>
              </a:extLst>
            </p:cNvPr>
            <p:cNvSpPr/>
            <p:nvPr/>
          </p:nvSpPr>
          <p:spPr>
            <a:xfrm>
              <a:off x="6561284" y="2785626"/>
              <a:ext cx="67222" cy="444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119" y="0"/>
                  </a:moveTo>
                  <a:lnTo>
                    <a:pt x="12851" y="4376"/>
                  </a:lnTo>
                  <a:lnTo>
                    <a:pt x="8517" y="6430"/>
                  </a:lnTo>
                  <a:lnTo>
                    <a:pt x="671" y="5939"/>
                  </a:lnTo>
                  <a:lnTo>
                    <a:pt x="0" y="12809"/>
                  </a:lnTo>
                  <a:lnTo>
                    <a:pt x="3338" y="16202"/>
                  </a:lnTo>
                  <a:lnTo>
                    <a:pt x="10189" y="21600"/>
                  </a:lnTo>
                  <a:lnTo>
                    <a:pt x="13007" y="15425"/>
                  </a:lnTo>
                  <a:lnTo>
                    <a:pt x="16167" y="10356"/>
                  </a:lnTo>
                  <a:lnTo>
                    <a:pt x="19327" y="7105"/>
                  </a:lnTo>
                  <a:lnTo>
                    <a:pt x="21600" y="1381"/>
                  </a:lnTo>
                  <a:lnTo>
                    <a:pt x="1611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22" name="îṥḻidé">
              <a:extLst>
                <a:ext uri="{FF2B5EF4-FFF2-40B4-BE49-F238E27FC236}">
                  <a16:creationId xmlns:a16="http://schemas.microsoft.com/office/drawing/2014/main" id="{C0A5B3B2-BF82-4C7D-9E1E-E2B102256D4E}"/>
                </a:ext>
              </a:extLst>
            </p:cNvPr>
            <p:cNvSpPr/>
            <p:nvPr/>
          </p:nvSpPr>
          <p:spPr>
            <a:xfrm>
              <a:off x="5255087" y="1585911"/>
              <a:ext cx="2042366" cy="1189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807" y="1150"/>
                  </a:moveTo>
                  <a:lnTo>
                    <a:pt x="20140" y="892"/>
                  </a:lnTo>
                  <a:lnTo>
                    <a:pt x="19827" y="747"/>
                  </a:lnTo>
                  <a:lnTo>
                    <a:pt x="19506" y="542"/>
                  </a:lnTo>
                  <a:lnTo>
                    <a:pt x="19194" y="459"/>
                  </a:lnTo>
                  <a:lnTo>
                    <a:pt x="18976" y="267"/>
                  </a:lnTo>
                  <a:lnTo>
                    <a:pt x="18803" y="212"/>
                  </a:lnTo>
                  <a:lnTo>
                    <a:pt x="18690" y="293"/>
                  </a:lnTo>
                  <a:lnTo>
                    <a:pt x="18482" y="457"/>
                  </a:lnTo>
                  <a:lnTo>
                    <a:pt x="18589" y="626"/>
                  </a:lnTo>
                  <a:lnTo>
                    <a:pt x="18799" y="626"/>
                  </a:lnTo>
                  <a:lnTo>
                    <a:pt x="18944" y="749"/>
                  </a:lnTo>
                  <a:lnTo>
                    <a:pt x="19057" y="799"/>
                  </a:lnTo>
                  <a:lnTo>
                    <a:pt x="19162" y="663"/>
                  </a:lnTo>
                  <a:lnTo>
                    <a:pt x="19282" y="649"/>
                  </a:lnTo>
                  <a:lnTo>
                    <a:pt x="19425" y="814"/>
                  </a:lnTo>
                  <a:lnTo>
                    <a:pt x="19336" y="1164"/>
                  </a:lnTo>
                  <a:lnTo>
                    <a:pt x="19232" y="1314"/>
                  </a:lnTo>
                  <a:lnTo>
                    <a:pt x="19042" y="1149"/>
                  </a:lnTo>
                  <a:lnTo>
                    <a:pt x="18875" y="1149"/>
                  </a:lnTo>
                  <a:lnTo>
                    <a:pt x="18733" y="1250"/>
                  </a:lnTo>
                  <a:lnTo>
                    <a:pt x="18426" y="1346"/>
                  </a:lnTo>
                  <a:lnTo>
                    <a:pt x="18234" y="1428"/>
                  </a:lnTo>
                  <a:lnTo>
                    <a:pt x="18001" y="1483"/>
                  </a:lnTo>
                  <a:lnTo>
                    <a:pt x="17885" y="1455"/>
                  </a:lnTo>
                  <a:lnTo>
                    <a:pt x="17764" y="1282"/>
                  </a:lnTo>
                  <a:lnTo>
                    <a:pt x="17591" y="1204"/>
                  </a:lnTo>
                  <a:lnTo>
                    <a:pt x="17472" y="1218"/>
                  </a:lnTo>
                  <a:lnTo>
                    <a:pt x="17205" y="1314"/>
                  </a:lnTo>
                  <a:lnTo>
                    <a:pt x="16942" y="1479"/>
                  </a:lnTo>
                  <a:lnTo>
                    <a:pt x="16671" y="1671"/>
                  </a:lnTo>
                  <a:lnTo>
                    <a:pt x="16451" y="1882"/>
                  </a:lnTo>
                  <a:lnTo>
                    <a:pt x="16191" y="2147"/>
                  </a:lnTo>
                  <a:lnTo>
                    <a:pt x="16038" y="2203"/>
                  </a:lnTo>
                  <a:lnTo>
                    <a:pt x="15932" y="2029"/>
                  </a:lnTo>
                  <a:lnTo>
                    <a:pt x="15829" y="1988"/>
                  </a:lnTo>
                  <a:lnTo>
                    <a:pt x="15732" y="1892"/>
                  </a:lnTo>
                  <a:lnTo>
                    <a:pt x="15762" y="1710"/>
                  </a:lnTo>
                  <a:lnTo>
                    <a:pt x="15657" y="1417"/>
                  </a:lnTo>
                  <a:lnTo>
                    <a:pt x="15517" y="1390"/>
                  </a:lnTo>
                  <a:lnTo>
                    <a:pt x="15378" y="1390"/>
                  </a:lnTo>
                  <a:lnTo>
                    <a:pt x="15253" y="1481"/>
                  </a:lnTo>
                  <a:lnTo>
                    <a:pt x="15278" y="1641"/>
                  </a:lnTo>
                  <a:lnTo>
                    <a:pt x="15392" y="1819"/>
                  </a:lnTo>
                  <a:lnTo>
                    <a:pt x="15384" y="1998"/>
                  </a:lnTo>
                  <a:lnTo>
                    <a:pt x="15457" y="2135"/>
                  </a:lnTo>
                  <a:lnTo>
                    <a:pt x="15449" y="2313"/>
                  </a:lnTo>
                  <a:lnTo>
                    <a:pt x="15372" y="2418"/>
                  </a:lnTo>
                  <a:lnTo>
                    <a:pt x="15165" y="2528"/>
                  </a:lnTo>
                  <a:lnTo>
                    <a:pt x="14864" y="2652"/>
                  </a:lnTo>
                  <a:lnTo>
                    <a:pt x="14558" y="2802"/>
                  </a:lnTo>
                  <a:lnTo>
                    <a:pt x="14501" y="2964"/>
                  </a:lnTo>
                  <a:lnTo>
                    <a:pt x="14580" y="3129"/>
                  </a:lnTo>
                  <a:lnTo>
                    <a:pt x="14535" y="3260"/>
                  </a:lnTo>
                  <a:lnTo>
                    <a:pt x="14301" y="3357"/>
                  </a:lnTo>
                  <a:lnTo>
                    <a:pt x="14167" y="3571"/>
                  </a:lnTo>
                  <a:lnTo>
                    <a:pt x="14002" y="3383"/>
                  </a:lnTo>
                  <a:lnTo>
                    <a:pt x="13882" y="3233"/>
                  </a:lnTo>
                  <a:lnTo>
                    <a:pt x="13736" y="3151"/>
                  </a:lnTo>
                  <a:lnTo>
                    <a:pt x="13601" y="3165"/>
                  </a:lnTo>
                  <a:lnTo>
                    <a:pt x="13544" y="3303"/>
                  </a:lnTo>
                  <a:lnTo>
                    <a:pt x="13684" y="3412"/>
                  </a:lnTo>
                  <a:lnTo>
                    <a:pt x="13810" y="3412"/>
                  </a:lnTo>
                  <a:lnTo>
                    <a:pt x="13898" y="3509"/>
                  </a:lnTo>
                  <a:lnTo>
                    <a:pt x="13968" y="3600"/>
                  </a:lnTo>
                  <a:lnTo>
                    <a:pt x="14044" y="3723"/>
                  </a:lnTo>
                  <a:lnTo>
                    <a:pt x="13921" y="3938"/>
                  </a:lnTo>
                  <a:lnTo>
                    <a:pt x="13743" y="3952"/>
                  </a:lnTo>
                  <a:lnTo>
                    <a:pt x="13682" y="4102"/>
                  </a:lnTo>
                  <a:lnTo>
                    <a:pt x="13545" y="4125"/>
                  </a:lnTo>
                  <a:lnTo>
                    <a:pt x="13425" y="3918"/>
                  </a:lnTo>
                  <a:lnTo>
                    <a:pt x="13296" y="3768"/>
                  </a:lnTo>
                  <a:lnTo>
                    <a:pt x="13175" y="3714"/>
                  </a:lnTo>
                  <a:lnTo>
                    <a:pt x="13055" y="3663"/>
                  </a:lnTo>
                  <a:lnTo>
                    <a:pt x="12975" y="3430"/>
                  </a:lnTo>
                  <a:lnTo>
                    <a:pt x="12892" y="3238"/>
                  </a:lnTo>
                  <a:lnTo>
                    <a:pt x="12851" y="3047"/>
                  </a:lnTo>
                  <a:lnTo>
                    <a:pt x="12766" y="2877"/>
                  </a:lnTo>
                  <a:lnTo>
                    <a:pt x="12599" y="2739"/>
                  </a:lnTo>
                  <a:lnTo>
                    <a:pt x="12494" y="2631"/>
                  </a:lnTo>
                  <a:lnTo>
                    <a:pt x="12368" y="2420"/>
                  </a:lnTo>
                  <a:lnTo>
                    <a:pt x="12304" y="2245"/>
                  </a:lnTo>
                  <a:lnTo>
                    <a:pt x="12377" y="2017"/>
                  </a:lnTo>
                  <a:lnTo>
                    <a:pt x="12699" y="2003"/>
                  </a:lnTo>
                  <a:cubicBezTo>
                    <a:pt x="12738" y="2035"/>
                    <a:pt x="12777" y="2063"/>
                    <a:pt x="12817" y="2090"/>
                  </a:cubicBezTo>
                  <a:cubicBezTo>
                    <a:pt x="12952" y="2178"/>
                    <a:pt x="13094" y="2236"/>
                    <a:pt x="13239" y="2259"/>
                  </a:cubicBezTo>
                  <a:lnTo>
                    <a:pt x="13399" y="2479"/>
                  </a:lnTo>
                  <a:lnTo>
                    <a:pt x="13603" y="2506"/>
                  </a:lnTo>
                  <a:lnTo>
                    <a:pt x="13797" y="2506"/>
                  </a:lnTo>
                  <a:cubicBezTo>
                    <a:pt x="13873" y="2506"/>
                    <a:pt x="13949" y="2506"/>
                    <a:pt x="14025" y="2506"/>
                  </a:cubicBezTo>
                  <a:cubicBezTo>
                    <a:pt x="14058" y="2506"/>
                    <a:pt x="14090" y="2506"/>
                    <a:pt x="14122" y="2506"/>
                  </a:cubicBezTo>
                  <a:lnTo>
                    <a:pt x="14251" y="2356"/>
                  </a:lnTo>
                  <a:lnTo>
                    <a:pt x="14347" y="2302"/>
                  </a:lnTo>
                  <a:lnTo>
                    <a:pt x="14484" y="2237"/>
                  </a:lnTo>
                  <a:lnTo>
                    <a:pt x="14616" y="2210"/>
                  </a:lnTo>
                  <a:lnTo>
                    <a:pt x="14613" y="2040"/>
                  </a:lnTo>
                  <a:lnTo>
                    <a:pt x="14460" y="1889"/>
                  </a:lnTo>
                  <a:lnTo>
                    <a:pt x="14355" y="1605"/>
                  </a:lnTo>
                  <a:cubicBezTo>
                    <a:pt x="14271" y="1573"/>
                    <a:pt x="14188" y="1533"/>
                    <a:pt x="14107" y="1486"/>
                  </a:cubicBezTo>
                  <a:cubicBezTo>
                    <a:pt x="14008" y="1428"/>
                    <a:pt x="13911" y="1359"/>
                    <a:pt x="13817" y="1279"/>
                  </a:cubicBezTo>
                  <a:lnTo>
                    <a:pt x="13451" y="1078"/>
                  </a:lnTo>
                  <a:lnTo>
                    <a:pt x="13212" y="945"/>
                  </a:lnTo>
                  <a:lnTo>
                    <a:pt x="12842" y="766"/>
                  </a:lnTo>
                  <a:lnTo>
                    <a:pt x="12603" y="849"/>
                  </a:lnTo>
                  <a:lnTo>
                    <a:pt x="12436" y="968"/>
                  </a:lnTo>
                  <a:lnTo>
                    <a:pt x="12291" y="899"/>
                  </a:lnTo>
                  <a:lnTo>
                    <a:pt x="12112" y="639"/>
                  </a:lnTo>
                  <a:lnTo>
                    <a:pt x="11879" y="402"/>
                  </a:lnTo>
                  <a:lnTo>
                    <a:pt x="11669" y="320"/>
                  </a:lnTo>
                  <a:lnTo>
                    <a:pt x="11486" y="252"/>
                  </a:lnTo>
                  <a:lnTo>
                    <a:pt x="11279" y="156"/>
                  </a:lnTo>
                  <a:lnTo>
                    <a:pt x="11086" y="73"/>
                  </a:lnTo>
                  <a:lnTo>
                    <a:pt x="10931" y="18"/>
                  </a:lnTo>
                  <a:lnTo>
                    <a:pt x="10715" y="114"/>
                  </a:lnTo>
                  <a:lnTo>
                    <a:pt x="10556" y="192"/>
                  </a:lnTo>
                  <a:lnTo>
                    <a:pt x="10395" y="137"/>
                  </a:lnTo>
                  <a:lnTo>
                    <a:pt x="10285" y="82"/>
                  </a:lnTo>
                  <a:lnTo>
                    <a:pt x="10146" y="27"/>
                  </a:lnTo>
                  <a:lnTo>
                    <a:pt x="10010" y="0"/>
                  </a:lnTo>
                  <a:lnTo>
                    <a:pt x="9706" y="83"/>
                  </a:lnTo>
                  <a:lnTo>
                    <a:pt x="9387" y="184"/>
                  </a:lnTo>
                  <a:lnTo>
                    <a:pt x="8981" y="564"/>
                  </a:lnTo>
                  <a:lnTo>
                    <a:pt x="8797" y="728"/>
                  </a:lnTo>
                  <a:lnTo>
                    <a:pt x="8584" y="783"/>
                  </a:lnTo>
                  <a:lnTo>
                    <a:pt x="8320" y="915"/>
                  </a:lnTo>
                  <a:lnTo>
                    <a:pt x="8160" y="996"/>
                  </a:lnTo>
                  <a:lnTo>
                    <a:pt x="7967" y="1147"/>
                  </a:lnTo>
                  <a:lnTo>
                    <a:pt x="7886" y="1297"/>
                  </a:lnTo>
                  <a:lnTo>
                    <a:pt x="7888" y="1470"/>
                  </a:lnTo>
                  <a:lnTo>
                    <a:pt x="7855" y="1675"/>
                  </a:lnTo>
                  <a:lnTo>
                    <a:pt x="7776" y="1784"/>
                  </a:lnTo>
                  <a:lnTo>
                    <a:pt x="7655" y="1839"/>
                  </a:lnTo>
                  <a:lnTo>
                    <a:pt x="7530" y="1894"/>
                  </a:lnTo>
                  <a:lnTo>
                    <a:pt x="7376" y="2183"/>
                  </a:lnTo>
                  <a:lnTo>
                    <a:pt x="7276" y="2430"/>
                  </a:lnTo>
                  <a:lnTo>
                    <a:pt x="7123" y="2673"/>
                  </a:lnTo>
                  <a:lnTo>
                    <a:pt x="7099" y="2824"/>
                  </a:lnTo>
                  <a:lnTo>
                    <a:pt x="7051" y="3056"/>
                  </a:lnTo>
                  <a:lnTo>
                    <a:pt x="6924" y="3316"/>
                  </a:lnTo>
                  <a:lnTo>
                    <a:pt x="6795" y="3550"/>
                  </a:lnTo>
                  <a:lnTo>
                    <a:pt x="6610" y="3688"/>
                  </a:lnTo>
                  <a:lnTo>
                    <a:pt x="6375" y="3930"/>
                  </a:lnTo>
                  <a:lnTo>
                    <a:pt x="6295" y="4053"/>
                  </a:lnTo>
                  <a:lnTo>
                    <a:pt x="6207" y="4241"/>
                  </a:lnTo>
                  <a:lnTo>
                    <a:pt x="6072" y="4323"/>
                  </a:lnTo>
                  <a:lnTo>
                    <a:pt x="5796" y="4429"/>
                  </a:lnTo>
                  <a:lnTo>
                    <a:pt x="5615" y="4524"/>
                  </a:lnTo>
                  <a:lnTo>
                    <a:pt x="5511" y="4647"/>
                  </a:lnTo>
                  <a:lnTo>
                    <a:pt x="5386" y="4780"/>
                  </a:lnTo>
                  <a:lnTo>
                    <a:pt x="5249" y="4999"/>
                  </a:lnTo>
                  <a:lnTo>
                    <a:pt x="5158" y="5155"/>
                  </a:lnTo>
                  <a:lnTo>
                    <a:pt x="5088" y="5329"/>
                  </a:lnTo>
                  <a:lnTo>
                    <a:pt x="5065" y="5480"/>
                  </a:lnTo>
                  <a:lnTo>
                    <a:pt x="5065" y="5754"/>
                  </a:lnTo>
                  <a:lnTo>
                    <a:pt x="5089" y="5900"/>
                  </a:lnTo>
                  <a:lnTo>
                    <a:pt x="5118" y="6123"/>
                  </a:lnTo>
                  <a:lnTo>
                    <a:pt x="5094" y="6315"/>
                  </a:lnTo>
                  <a:lnTo>
                    <a:pt x="5118" y="6590"/>
                  </a:lnTo>
                  <a:lnTo>
                    <a:pt x="5312" y="6948"/>
                  </a:lnTo>
                  <a:lnTo>
                    <a:pt x="5497" y="7278"/>
                  </a:lnTo>
                  <a:lnTo>
                    <a:pt x="5698" y="7360"/>
                  </a:lnTo>
                  <a:lnTo>
                    <a:pt x="6010" y="7347"/>
                  </a:lnTo>
                  <a:lnTo>
                    <a:pt x="6179" y="7123"/>
                  </a:lnTo>
                  <a:lnTo>
                    <a:pt x="6421" y="6806"/>
                  </a:lnTo>
                  <a:lnTo>
                    <a:pt x="6673" y="6770"/>
                  </a:lnTo>
                  <a:lnTo>
                    <a:pt x="6722" y="7029"/>
                  </a:lnTo>
                  <a:lnTo>
                    <a:pt x="6859" y="7341"/>
                  </a:lnTo>
                  <a:lnTo>
                    <a:pt x="6923" y="7657"/>
                  </a:lnTo>
                  <a:lnTo>
                    <a:pt x="7026" y="7817"/>
                  </a:lnTo>
                  <a:lnTo>
                    <a:pt x="7026" y="8065"/>
                  </a:lnTo>
                  <a:lnTo>
                    <a:pt x="7034" y="8312"/>
                  </a:lnTo>
                  <a:lnTo>
                    <a:pt x="7120" y="8458"/>
                  </a:lnTo>
                  <a:lnTo>
                    <a:pt x="7192" y="8650"/>
                  </a:lnTo>
                  <a:lnTo>
                    <a:pt x="7493" y="8925"/>
                  </a:lnTo>
                  <a:lnTo>
                    <a:pt x="7581" y="8833"/>
                  </a:lnTo>
                  <a:lnTo>
                    <a:pt x="7850" y="8512"/>
                  </a:lnTo>
                  <a:lnTo>
                    <a:pt x="7962" y="8471"/>
                  </a:lnTo>
                  <a:lnTo>
                    <a:pt x="8086" y="8224"/>
                  </a:lnTo>
                  <a:lnTo>
                    <a:pt x="8142" y="7954"/>
                  </a:lnTo>
                  <a:lnTo>
                    <a:pt x="8118" y="7546"/>
                  </a:lnTo>
                  <a:lnTo>
                    <a:pt x="8183" y="7331"/>
                  </a:lnTo>
                  <a:lnTo>
                    <a:pt x="8408" y="7069"/>
                  </a:lnTo>
                  <a:lnTo>
                    <a:pt x="8596" y="6868"/>
                  </a:lnTo>
                  <a:lnTo>
                    <a:pt x="8782" y="6652"/>
                  </a:lnTo>
                  <a:lnTo>
                    <a:pt x="8870" y="6378"/>
                  </a:lnTo>
                  <a:lnTo>
                    <a:pt x="8870" y="6199"/>
                  </a:lnTo>
                  <a:lnTo>
                    <a:pt x="8675" y="6099"/>
                  </a:lnTo>
                  <a:lnTo>
                    <a:pt x="8400" y="5782"/>
                  </a:lnTo>
                  <a:cubicBezTo>
                    <a:pt x="8345" y="5725"/>
                    <a:pt x="8303" y="5638"/>
                    <a:pt x="8280" y="5535"/>
                  </a:cubicBezTo>
                  <a:cubicBezTo>
                    <a:pt x="8253" y="5415"/>
                    <a:pt x="8255" y="5284"/>
                    <a:pt x="8280" y="5163"/>
                  </a:cubicBezTo>
                  <a:cubicBezTo>
                    <a:pt x="8308" y="5024"/>
                    <a:pt x="8366" y="4907"/>
                    <a:pt x="8441" y="4834"/>
                  </a:cubicBezTo>
                  <a:cubicBezTo>
                    <a:pt x="8456" y="4723"/>
                    <a:pt x="8474" y="4613"/>
                    <a:pt x="8494" y="4505"/>
                  </a:cubicBezTo>
                  <a:cubicBezTo>
                    <a:pt x="8510" y="4424"/>
                    <a:pt x="8527" y="4342"/>
                    <a:pt x="8558" y="4276"/>
                  </a:cubicBezTo>
                  <a:cubicBezTo>
                    <a:pt x="8643" y="4100"/>
                    <a:pt x="8795" y="4075"/>
                    <a:pt x="8897" y="4221"/>
                  </a:cubicBezTo>
                  <a:cubicBezTo>
                    <a:pt x="8958" y="4155"/>
                    <a:pt x="9013" y="4077"/>
                    <a:pt x="9061" y="3987"/>
                  </a:cubicBezTo>
                  <a:cubicBezTo>
                    <a:pt x="9136" y="3848"/>
                    <a:pt x="9193" y="3684"/>
                    <a:pt x="9260" y="3534"/>
                  </a:cubicBezTo>
                  <a:cubicBezTo>
                    <a:pt x="9306" y="3430"/>
                    <a:pt x="9356" y="3332"/>
                    <a:pt x="9405" y="3232"/>
                  </a:cubicBezTo>
                  <a:cubicBezTo>
                    <a:pt x="9452" y="3137"/>
                    <a:pt x="9497" y="3041"/>
                    <a:pt x="9542" y="2943"/>
                  </a:cubicBezTo>
                  <a:lnTo>
                    <a:pt x="9832" y="2723"/>
                  </a:lnTo>
                  <a:lnTo>
                    <a:pt x="9993" y="2545"/>
                  </a:lnTo>
                  <a:lnTo>
                    <a:pt x="10111" y="2705"/>
                  </a:lnTo>
                  <a:lnTo>
                    <a:pt x="10183" y="2884"/>
                  </a:lnTo>
                  <a:lnTo>
                    <a:pt x="10183" y="3144"/>
                  </a:lnTo>
                  <a:lnTo>
                    <a:pt x="10098" y="3332"/>
                  </a:lnTo>
                  <a:lnTo>
                    <a:pt x="10098" y="3689"/>
                  </a:lnTo>
                  <a:lnTo>
                    <a:pt x="10082" y="3859"/>
                  </a:lnTo>
                  <a:lnTo>
                    <a:pt x="9930" y="3957"/>
                  </a:lnTo>
                  <a:lnTo>
                    <a:pt x="9906" y="4204"/>
                  </a:lnTo>
                  <a:lnTo>
                    <a:pt x="9849" y="4492"/>
                  </a:lnTo>
                  <a:lnTo>
                    <a:pt x="9683" y="4633"/>
                  </a:lnTo>
                  <a:lnTo>
                    <a:pt x="9586" y="4780"/>
                  </a:lnTo>
                  <a:lnTo>
                    <a:pt x="9482" y="5082"/>
                  </a:lnTo>
                  <a:lnTo>
                    <a:pt x="9514" y="5403"/>
                  </a:lnTo>
                  <a:lnTo>
                    <a:pt x="9716" y="5586"/>
                  </a:lnTo>
                  <a:cubicBezTo>
                    <a:pt x="9796" y="5549"/>
                    <a:pt x="9881" y="5586"/>
                    <a:pt x="9941" y="5682"/>
                  </a:cubicBezTo>
                  <a:cubicBezTo>
                    <a:pt x="9990" y="5760"/>
                    <a:pt x="10017" y="5871"/>
                    <a:pt x="10065" y="5951"/>
                  </a:cubicBezTo>
                  <a:cubicBezTo>
                    <a:pt x="10132" y="6062"/>
                    <a:pt x="10229" y="6103"/>
                    <a:pt x="10318" y="6056"/>
                  </a:cubicBezTo>
                  <a:lnTo>
                    <a:pt x="10508" y="6070"/>
                  </a:lnTo>
                  <a:lnTo>
                    <a:pt x="10731" y="6002"/>
                  </a:lnTo>
                  <a:lnTo>
                    <a:pt x="10946" y="5851"/>
                  </a:lnTo>
                  <a:lnTo>
                    <a:pt x="11105" y="5786"/>
                  </a:lnTo>
                  <a:lnTo>
                    <a:pt x="11391" y="5848"/>
                  </a:lnTo>
                  <a:lnTo>
                    <a:pt x="11503" y="6039"/>
                  </a:lnTo>
                  <a:lnTo>
                    <a:pt x="11785" y="6094"/>
                  </a:lnTo>
                  <a:lnTo>
                    <a:pt x="11854" y="6226"/>
                  </a:lnTo>
                  <a:lnTo>
                    <a:pt x="11801" y="6390"/>
                  </a:lnTo>
                  <a:lnTo>
                    <a:pt x="11600" y="6542"/>
                  </a:lnTo>
                  <a:lnTo>
                    <a:pt x="11427" y="6730"/>
                  </a:lnTo>
                  <a:lnTo>
                    <a:pt x="11242" y="6739"/>
                  </a:lnTo>
                  <a:lnTo>
                    <a:pt x="11084" y="6698"/>
                  </a:lnTo>
                  <a:lnTo>
                    <a:pt x="10942" y="6629"/>
                  </a:lnTo>
                  <a:lnTo>
                    <a:pt x="10752" y="6588"/>
                  </a:lnTo>
                  <a:lnTo>
                    <a:pt x="10578" y="6629"/>
                  </a:lnTo>
                  <a:lnTo>
                    <a:pt x="10435" y="6670"/>
                  </a:lnTo>
                  <a:lnTo>
                    <a:pt x="10291" y="6748"/>
                  </a:lnTo>
                  <a:lnTo>
                    <a:pt x="10218" y="6936"/>
                  </a:lnTo>
                  <a:lnTo>
                    <a:pt x="10315" y="7045"/>
                  </a:lnTo>
                  <a:lnTo>
                    <a:pt x="10580" y="7535"/>
                  </a:lnTo>
                  <a:lnTo>
                    <a:pt x="10580" y="7737"/>
                  </a:lnTo>
                  <a:lnTo>
                    <a:pt x="10500" y="7925"/>
                  </a:lnTo>
                  <a:lnTo>
                    <a:pt x="10333" y="8021"/>
                  </a:lnTo>
                  <a:lnTo>
                    <a:pt x="10285" y="8145"/>
                  </a:lnTo>
                  <a:lnTo>
                    <a:pt x="10181" y="8076"/>
                  </a:lnTo>
                  <a:lnTo>
                    <a:pt x="10133" y="7815"/>
                  </a:lnTo>
                  <a:lnTo>
                    <a:pt x="10012" y="7706"/>
                  </a:lnTo>
                  <a:lnTo>
                    <a:pt x="9771" y="7733"/>
                  </a:lnTo>
                  <a:lnTo>
                    <a:pt x="9701" y="7811"/>
                  </a:lnTo>
                  <a:lnTo>
                    <a:pt x="9701" y="8017"/>
                  </a:lnTo>
                  <a:lnTo>
                    <a:pt x="9581" y="8163"/>
                  </a:lnTo>
                  <a:lnTo>
                    <a:pt x="9597" y="8488"/>
                  </a:lnTo>
                  <a:lnTo>
                    <a:pt x="9637" y="8686"/>
                  </a:lnTo>
                  <a:lnTo>
                    <a:pt x="9693" y="8944"/>
                  </a:lnTo>
                  <a:lnTo>
                    <a:pt x="9588" y="9131"/>
                  </a:lnTo>
                  <a:lnTo>
                    <a:pt x="9435" y="9310"/>
                  </a:lnTo>
                  <a:lnTo>
                    <a:pt x="9298" y="9530"/>
                  </a:lnTo>
                  <a:lnTo>
                    <a:pt x="9180" y="9627"/>
                  </a:lnTo>
                  <a:lnTo>
                    <a:pt x="9092" y="9735"/>
                  </a:lnTo>
                  <a:lnTo>
                    <a:pt x="8983" y="9736"/>
                  </a:lnTo>
                  <a:cubicBezTo>
                    <a:pt x="8962" y="9703"/>
                    <a:pt x="8942" y="9671"/>
                    <a:pt x="8921" y="9640"/>
                  </a:cubicBezTo>
                  <a:cubicBezTo>
                    <a:pt x="8891" y="9595"/>
                    <a:pt x="8861" y="9551"/>
                    <a:pt x="8830" y="9508"/>
                  </a:cubicBezTo>
                  <a:lnTo>
                    <a:pt x="8564" y="9467"/>
                  </a:lnTo>
                  <a:lnTo>
                    <a:pt x="8300" y="9659"/>
                  </a:lnTo>
                  <a:lnTo>
                    <a:pt x="7986" y="9865"/>
                  </a:lnTo>
                  <a:lnTo>
                    <a:pt x="7905" y="9974"/>
                  </a:lnTo>
                  <a:lnTo>
                    <a:pt x="7739" y="10070"/>
                  </a:lnTo>
                  <a:lnTo>
                    <a:pt x="7634" y="10001"/>
                  </a:lnTo>
                  <a:lnTo>
                    <a:pt x="7465" y="9864"/>
                  </a:lnTo>
                  <a:lnTo>
                    <a:pt x="7314" y="9781"/>
                  </a:lnTo>
                  <a:lnTo>
                    <a:pt x="7226" y="9644"/>
                  </a:lnTo>
                  <a:lnTo>
                    <a:pt x="7149" y="9740"/>
                  </a:lnTo>
                  <a:lnTo>
                    <a:pt x="6975" y="9746"/>
                  </a:lnTo>
                  <a:lnTo>
                    <a:pt x="6769" y="9966"/>
                  </a:lnTo>
                  <a:lnTo>
                    <a:pt x="6586" y="9828"/>
                  </a:lnTo>
                  <a:lnTo>
                    <a:pt x="6498" y="9655"/>
                  </a:lnTo>
                  <a:lnTo>
                    <a:pt x="6359" y="9499"/>
                  </a:lnTo>
                  <a:lnTo>
                    <a:pt x="6246" y="9210"/>
                  </a:lnTo>
                  <a:lnTo>
                    <a:pt x="6332" y="9059"/>
                  </a:lnTo>
                  <a:lnTo>
                    <a:pt x="6468" y="9059"/>
                  </a:lnTo>
                  <a:lnTo>
                    <a:pt x="6436" y="9269"/>
                  </a:lnTo>
                  <a:lnTo>
                    <a:pt x="6594" y="9356"/>
                  </a:lnTo>
                  <a:lnTo>
                    <a:pt x="6642" y="9122"/>
                  </a:lnTo>
                  <a:lnTo>
                    <a:pt x="6779" y="9264"/>
                  </a:lnTo>
                  <a:lnTo>
                    <a:pt x="6939" y="9386"/>
                  </a:lnTo>
                  <a:lnTo>
                    <a:pt x="7020" y="9181"/>
                  </a:lnTo>
                  <a:lnTo>
                    <a:pt x="7095" y="8939"/>
                  </a:lnTo>
                  <a:lnTo>
                    <a:pt x="7009" y="8646"/>
                  </a:lnTo>
                  <a:lnTo>
                    <a:pt x="6883" y="8491"/>
                  </a:lnTo>
                  <a:lnTo>
                    <a:pt x="6741" y="8555"/>
                  </a:lnTo>
                  <a:lnTo>
                    <a:pt x="6645" y="8802"/>
                  </a:lnTo>
                  <a:lnTo>
                    <a:pt x="6668" y="8966"/>
                  </a:lnTo>
                  <a:lnTo>
                    <a:pt x="6572" y="8980"/>
                  </a:lnTo>
                  <a:lnTo>
                    <a:pt x="6524" y="8733"/>
                  </a:lnTo>
                  <a:lnTo>
                    <a:pt x="6425" y="8870"/>
                  </a:lnTo>
                  <a:lnTo>
                    <a:pt x="6282" y="8896"/>
                  </a:lnTo>
                  <a:lnTo>
                    <a:pt x="6298" y="8622"/>
                  </a:lnTo>
                  <a:lnTo>
                    <a:pt x="6338" y="8473"/>
                  </a:lnTo>
                  <a:lnTo>
                    <a:pt x="6394" y="8309"/>
                  </a:lnTo>
                  <a:lnTo>
                    <a:pt x="6394" y="7953"/>
                  </a:lnTo>
                  <a:lnTo>
                    <a:pt x="6380" y="7651"/>
                  </a:lnTo>
                  <a:lnTo>
                    <a:pt x="6254" y="7719"/>
                  </a:lnTo>
                  <a:lnTo>
                    <a:pt x="6189" y="7989"/>
                  </a:lnTo>
                  <a:lnTo>
                    <a:pt x="6096" y="8126"/>
                  </a:lnTo>
                  <a:lnTo>
                    <a:pt x="5932" y="8300"/>
                  </a:lnTo>
                  <a:lnTo>
                    <a:pt x="5836" y="8520"/>
                  </a:lnTo>
                  <a:lnTo>
                    <a:pt x="5819" y="8717"/>
                  </a:lnTo>
                  <a:lnTo>
                    <a:pt x="5921" y="8917"/>
                  </a:lnTo>
                  <a:lnTo>
                    <a:pt x="5974" y="9081"/>
                  </a:lnTo>
                  <a:lnTo>
                    <a:pt x="5934" y="9324"/>
                  </a:lnTo>
                  <a:lnTo>
                    <a:pt x="6004" y="9512"/>
                  </a:lnTo>
                  <a:lnTo>
                    <a:pt x="6235" y="9416"/>
                  </a:lnTo>
                  <a:lnTo>
                    <a:pt x="6253" y="9581"/>
                  </a:lnTo>
                  <a:lnTo>
                    <a:pt x="6088" y="9704"/>
                  </a:lnTo>
                  <a:lnTo>
                    <a:pt x="6016" y="9787"/>
                  </a:lnTo>
                  <a:lnTo>
                    <a:pt x="5983" y="10057"/>
                  </a:lnTo>
                  <a:lnTo>
                    <a:pt x="5865" y="10144"/>
                  </a:lnTo>
                  <a:lnTo>
                    <a:pt x="5664" y="10172"/>
                  </a:lnTo>
                  <a:lnTo>
                    <a:pt x="5506" y="10172"/>
                  </a:lnTo>
                  <a:lnTo>
                    <a:pt x="5370" y="10240"/>
                  </a:lnTo>
                  <a:lnTo>
                    <a:pt x="5273" y="10337"/>
                  </a:lnTo>
                  <a:lnTo>
                    <a:pt x="5101" y="10364"/>
                  </a:lnTo>
                  <a:lnTo>
                    <a:pt x="5002" y="10364"/>
                  </a:lnTo>
                  <a:lnTo>
                    <a:pt x="4982" y="10538"/>
                  </a:lnTo>
                  <a:lnTo>
                    <a:pt x="4867" y="10739"/>
                  </a:lnTo>
                  <a:lnTo>
                    <a:pt x="4738" y="10945"/>
                  </a:lnTo>
                  <a:lnTo>
                    <a:pt x="4563" y="11169"/>
                  </a:lnTo>
                  <a:lnTo>
                    <a:pt x="4385" y="11316"/>
                  </a:lnTo>
                  <a:lnTo>
                    <a:pt x="4328" y="11463"/>
                  </a:lnTo>
                  <a:lnTo>
                    <a:pt x="4152" y="11706"/>
                  </a:lnTo>
                  <a:lnTo>
                    <a:pt x="4065" y="11719"/>
                  </a:lnTo>
                  <a:lnTo>
                    <a:pt x="3934" y="11751"/>
                  </a:lnTo>
                  <a:lnTo>
                    <a:pt x="3849" y="11911"/>
                  </a:lnTo>
                  <a:lnTo>
                    <a:pt x="3781" y="12158"/>
                  </a:lnTo>
                  <a:lnTo>
                    <a:pt x="3725" y="12255"/>
                  </a:lnTo>
                  <a:lnTo>
                    <a:pt x="3603" y="12585"/>
                  </a:lnTo>
                  <a:lnTo>
                    <a:pt x="3316" y="12676"/>
                  </a:lnTo>
                  <a:lnTo>
                    <a:pt x="3265" y="12951"/>
                  </a:lnTo>
                  <a:lnTo>
                    <a:pt x="3134" y="12987"/>
                  </a:lnTo>
                  <a:lnTo>
                    <a:pt x="3035" y="12919"/>
                  </a:lnTo>
                  <a:lnTo>
                    <a:pt x="2939" y="12754"/>
                  </a:lnTo>
                  <a:cubicBezTo>
                    <a:pt x="2886" y="12812"/>
                    <a:pt x="2837" y="12876"/>
                    <a:pt x="2790" y="12947"/>
                  </a:cubicBezTo>
                  <a:cubicBezTo>
                    <a:pt x="2744" y="13015"/>
                    <a:pt x="2702" y="13088"/>
                    <a:pt x="2663" y="13166"/>
                  </a:cubicBezTo>
                  <a:lnTo>
                    <a:pt x="2511" y="13235"/>
                  </a:lnTo>
                  <a:lnTo>
                    <a:pt x="2334" y="13327"/>
                  </a:lnTo>
                  <a:lnTo>
                    <a:pt x="2256" y="13258"/>
                  </a:lnTo>
                  <a:lnTo>
                    <a:pt x="2079" y="13176"/>
                  </a:lnTo>
                  <a:lnTo>
                    <a:pt x="1886" y="13313"/>
                  </a:lnTo>
                  <a:lnTo>
                    <a:pt x="1701" y="13451"/>
                  </a:lnTo>
                  <a:lnTo>
                    <a:pt x="1776" y="13589"/>
                  </a:lnTo>
                  <a:lnTo>
                    <a:pt x="1890" y="13693"/>
                  </a:lnTo>
                  <a:lnTo>
                    <a:pt x="2105" y="13776"/>
                  </a:lnTo>
                  <a:lnTo>
                    <a:pt x="2379" y="13955"/>
                  </a:lnTo>
                  <a:lnTo>
                    <a:pt x="2554" y="14129"/>
                  </a:lnTo>
                  <a:lnTo>
                    <a:pt x="2659" y="14413"/>
                  </a:lnTo>
                  <a:lnTo>
                    <a:pt x="2704" y="14587"/>
                  </a:lnTo>
                  <a:lnTo>
                    <a:pt x="2768" y="14861"/>
                  </a:lnTo>
                  <a:lnTo>
                    <a:pt x="2792" y="15475"/>
                  </a:lnTo>
                  <a:lnTo>
                    <a:pt x="2771" y="15814"/>
                  </a:lnTo>
                  <a:cubicBezTo>
                    <a:pt x="2745" y="15996"/>
                    <a:pt x="2708" y="16172"/>
                    <a:pt x="2661" y="16341"/>
                  </a:cubicBezTo>
                  <a:cubicBezTo>
                    <a:pt x="2629" y="16460"/>
                    <a:pt x="2591" y="16574"/>
                    <a:pt x="2549" y="16684"/>
                  </a:cubicBezTo>
                  <a:lnTo>
                    <a:pt x="2342" y="16817"/>
                  </a:lnTo>
                  <a:lnTo>
                    <a:pt x="2030" y="16830"/>
                  </a:lnTo>
                  <a:lnTo>
                    <a:pt x="1856" y="16830"/>
                  </a:lnTo>
                  <a:lnTo>
                    <a:pt x="1549" y="16804"/>
                  </a:lnTo>
                  <a:lnTo>
                    <a:pt x="1329" y="16707"/>
                  </a:lnTo>
                  <a:lnTo>
                    <a:pt x="970" y="16537"/>
                  </a:lnTo>
                  <a:lnTo>
                    <a:pt x="739" y="16469"/>
                  </a:lnTo>
                  <a:lnTo>
                    <a:pt x="478" y="16547"/>
                  </a:lnTo>
                  <a:lnTo>
                    <a:pt x="293" y="16647"/>
                  </a:lnTo>
                  <a:lnTo>
                    <a:pt x="164" y="17042"/>
                  </a:lnTo>
                  <a:lnTo>
                    <a:pt x="199" y="17371"/>
                  </a:lnTo>
                  <a:lnTo>
                    <a:pt x="231" y="17765"/>
                  </a:lnTo>
                  <a:lnTo>
                    <a:pt x="199" y="18217"/>
                  </a:lnTo>
                  <a:lnTo>
                    <a:pt x="86" y="18602"/>
                  </a:lnTo>
                  <a:lnTo>
                    <a:pt x="24" y="19028"/>
                  </a:lnTo>
                  <a:lnTo>
                    <a:pt x="0" y="19390"/>
                  </a:lnTo>
                  <a:lnTo>
                    <a:pt x="32" y="19623"/>
                  </a:lnTo>
                  <a:lnTo>
                    <a:pt x="105" y="19880"/>
                  </a:lnTo>
                  <a:lnTo>
                    <a:pt x="97" y="20137"/>
                  </a:lnTo>
                  <a:lnTo>
                    <a:pt x="40" y="20343"/>
                  </a:lnTo>
                  <a:lnTo>
                    <a:pt x="81" y="20612"/>
                  </a:lnTo>
                  <a:lnTo>
                    <a:pt x="245" y="20708"/>
                  </a:lnTo>
                  <a:lnTo>
                    <a:pt x="417" y="20644"/>
                  </a:lnTo>
                  <a:lnTo>
                    <a:pt x="624" y="20794"/>
                  </a:lnTo>
                  <a:lnTo>
                    <a:pt x="693" y="20881"/>
                  </a:lnTo>
                  <a:lnTo>
                    <a:pt x="1007" y="21211"/>
                  </a:lnTo>
                  <a:lnTo>
                    <a:pt x="1064" y="21408"/>
                  </a:lnTo>
                  <a:lnTo>
                    <a:pt x="1160" y="21436"/>
                  </a:lnTo>
                  <a:lnTo>
                    <a:pt x="1241" y="21600"/>
                  </a:lnTo>
                  <a:lnTo>
                    <a:pt x="1286" y="21437"/>
                  </a:lnTo>
                  <a:lnTo>
                    <a:pt x="1286" y="21236"/>
                  </a:lnTo>
                  <a:lnTo>
                    <a:pt x="1358" y="21119"/>
                  </a:lnTo>
                  <a:lnTo>
                    <a:pt x="1562" y="21092"/>
                  </a:lnTo>
                  <a:lnTo>
                    <a:pt x="1667" y="21105"/>
                  </a:lnTo>
                  <a:cubicBezTo>
                    <a:pt x="1731" y="21119"/>
                    <a:pt x="1796" y="21128"/>
                    <a:pt x="1860" y="21133"/>
                  </a:cubicBezTo>
                  <a:cubicBezTo>
                    <a:pt x="1936" y="21139"/>
                    <a:pt x="2011" y="21139"/>
                    <a:pt x="2086" y="21133"/>
                  </a:cubicBezTo>
                  <a:lnTo>
                    <a:pt x="2247" y="21051"/>
                  </a:lnTo>
                  <a:lnTo>
                    <a:pt x="2333" y="20941"/>
                  </a:lnTo>
                  <a:lnTo>
                    <a:pt x="2422" y="20693"/>
                  </a:lnTo>
                  <a:lnTo>
                    <a:pt x="2519" y="20556"/>
                  </a:lnTo>
                  <a:lnTo>
                    <a:pt x="2655" y="20387"/>
                  </a:lnTo>
                  <a:lnTo>
                    <a:pt x="2784" y="20214"/>
                  </a:lnTo>
                  <a:lnTo>
                    <a:pt x="2897" y="20063"/>
                  </a:lnTo>
                  <a:lnTo>
                    <a:pt x="2921" y="19885"/>
                  </a:lnTo>
                  <a:lnTo>
                    <a:pt x="2921" y="19541"/>
                  </a:lnTo>
                  <a:lnTo>
                    <a:pt x="2969" y="19349"/>
                  </a:lnTo>
                  <a:lnTo>
                    <a:pt x="3039" y="19161"/>
                  </a:lnTo>
                  <a:lnTo>
                    <a:pt x="3241" y="18748"/>
                  </a:lnTo>
                  <a:lnTo>
                    <a:pt x="3257" y="18515"/>
                  </a:lnTo>
                  <a:cubicBezTo>
                    <a:pt x="3267" y="18464"/>
                    <a:pt x="3283" y="18417"/>
                    <a:pt x="3305" y="18379"/>
                  </a:cubicBezTo>
                  <a:cubicBezTo>
                    <a:pt x="3367" y="18269"/>
                    <a:pt x="3459" y="18240"/>
                    <a:pt x="3541" y="18187"/>
                  </a:cubicBezTo>
                  <a:cubicBezTo>
                    <a:pt x="3616" y="18139"/>
                    <a:pt x="3685" y="18071"/>
                    <a:pt x="3745" y="17985"/>
                  </a:cubicBezTo>
                  <a:lnTo>
                    <a:pt x="3923" y="17728"/>
                  </a:lnTo>
                  <a:lnTo>
                    <a:pt x="4081" y="17581"/>
                  </a:lnTo>
                  <a:lnTo>
                    <a:pt x="4167" y="17554"/>
                  </a:lnTo>
                  <a:lnTo>
                    <a:pt x="4059" y="17247"/>
                  </a:lnTo>
                  <a:lnTo>
                    <a:pt x="3955" y="17261"/>
                  </a:lnTo>
                  <a:lnTo>
                    <a:pt x="3938" y="16973"/>
                  </a:lnTo>
                  <a:lnTo>
                    <a:pt x="4118" y="16859"/>
                  </a:lnTo>
                  <a:lnTo>
                    <a:pt x="4354" y="16726"/>
                  </a:lnTo>
                  <a:lnTo>
                    <a:pt x="4432" y="16658"/>
                  </a:lnTo>
                  <a:lnTo>
                    <a:pt x="4620" y="16554"/>
                  </a:lnTo>
                  <a:lnTo>
                    <a:pt x="4738" y="16663"/>
                  </a:lnTo>
                  <a:lnTo>
                    <a:pt x="4945" y="16842"/>
                  </a:lnTo>
                  <a:lnTo>
                    <a:pt x="5057" y="16801"/>
                  </a:lnTo>
                  <a:lnTo>
                    <a:pt x="5270" y="16614"/>
                  </a:lnTo>
                  <a:cubicBezTo>
                    <a:pt x="5348" y="16588"/>
                    <a:pt x="5424" y="16547"/>
                    <a:pt x="5495" y="16490"/>
                  </a:cubicBezTo>
                  <a:cubicBezTo>
                    <a:pt x="5582" y="16422"/>
                    <a:pt x="5661" y="16332"/>
                    <a:pt x="5732" y="16224"/>
                  </a:cubicBezTo>
                  <a:lnTo>
                    <a:pt x="5896" y="16096"/>
                  </a:lnTo>
                  <a:lnTo>
                    <a:pt x="6009" y="16027"/>
                  </a:lnTo>
                  <a:lnTo>
                    <a:pt x="6185" y="15959"/>
                  </a:lnTo>
                  <a:lnTo>
                    <a:pt x="6336" y="16187"/>
                  </a:lnTo>
                  <a:lnTo>
                    <a:pt x="6513" y="16558"/>
                  </a:lnTo>
                  <a:lnTo>
                    <a:pt x="6478" y="16957"/>
                  </a:lnTo>
                  <a:lnTo>
                    <a:pt x="6566" y="17191"/>
                  </a:lnTo>
                  <a:cubicBezTo>
                    <a:pt x="6627" y="17266"/>
                    <a:pt x="6693" y="17327"/>
                    <a:pt x="6762" y="17374"/>
                  </a:cubicBezTo>
                  <a:cubicBezTo>
                    <a:pt x="6828" y="17418"/>
                    <a:pt x="6896" y="17449"/>
                    <a:pt x="6961" y="17493"/>
                  </a:cubicBezTo>
                  <a:cubicBezTo>
                    <a:pt x="7076" y="17571"/>
                    <a:pt x="7181" y="17688"/>
                    <a:pt x="7268" y="17837"/>
                  </a:cubicBezTo>
                  <a:lnTo>
                    <a:pt x="7381" y="17960"/>
                  </a:lnTo>
                  <a:lnTo>
                    <a:pt x="7502" y="18097"/>
                  </a:lnTo>
                  <a:lnTo>
                    <a:pt x="7652" y="18230"/>
                  </a:lnTo>
                  <a:lnTo>
                    <a:pt x="7765" y="18312"/>
                  </a:lnTo>
                  <a:lnTo>
                    <a:pt x="7950" y="18500"/>
                  </a:lnTo>
                  <a:lnTo>
                    <a:pt x="8004" y="18619"/>
                  </a:lnTo>
                  <a:lnTo>
                    <a:pt x="8122" y="18894"/>
                  </a:lnTo>
                  <a:lnTo>
                    <a:pt x="8273" y="19251"/>
                  </a:lnTo>
                  <a:lnTo>
                    <a:pt x="8399" y="19535"/>
                  </a:lnTo>
                  <a:lnTo>
                    <a:pt x="8203" y="19705"/>
                  </a:lnTo>
                  <a:lnTo>
                    <a:pt x="8232" y="19896"/>
                  </a:lnTo>
                  <a:lnTo>
                    <a:pt x="8184" y="20192"/>
                  </a:lnTo>
                  <a:lnTo>
                    <a:pt x="8313" y="20256"/>
                  </a:lnTo>
                  <a:lnTo>
                    <a:pt x="8369" y="20092"/>
                  </a:lnTo>
                  <a:lnTo>
                    <a:pt x="8471" y="19927"/>
                  </a:lnTo>
                  <a:lnTo>
                    <a:pt x="8584" y="19703"/>
                  </a:lnTo>
                  <a:lnTo>
                    <a:pt x="8621" y="19542"/>
                  </a:lnTo>
                  <a:lnTo>
                    <a:pt x="8570" y="19314"/>
                  </a:lnTo>
                  <a:lnTo>
                    <a:pt x="8522" y="19090"/>
                  </a:lnTo>
                  <a:lnTo>
                    <a:pt x="8493" y="18927"/>
                  </a:lnTo>
                  <a:lnTo>
                    <a:pt x="8573" y="18716"/>
                  </a:lnTo>
                  <a:lnTo>
                    <a:pt x="8735" y="18702"/>
                  </a:lnTo>
                  <a:lnTo>
                    <a:pt x="8831" y="18752"/>
                  </a:lnTo>
                  <a:lnTo>
                    <a:pt x="8888" y="18876"/>
                  </a:lnTo>
                  <a:lnTo>
                    <a:pt x="9070" y="18944"/>
                  </a:lnTo>
                  <a:lnTo>
                    <a:pt x="9159" y="18880"/>
                  </a:lnTo>
                  <a:lnTo>
                    <a:pt x="9054" y="18697"/>
                  </a:lnTo>
                  <a:lnTo>
                    <a:pt x="8898" y="18523"/>
                  </a:lnTo>
                  <a:lnTo>
                    <a:pt x="8594" y="18261"/>
                  </a:lnTo>
                  <a:lnTo>
                    <a:pt x="8368" y="18041"/>
                  </a:lnTo>
                  <a:lnTo>
                    <a:pt x="8097" y="17835"/>
                  </a:lnTo>
                  <a:lnTo>
                    <a:pt x="7917" y="17422"/>
                  </a:lnTo>
                  <a:lnTo>
                    <a:pt x="7716" y="17353"/>
                  </a:lnTo>
                  <a:lnTo>
                    <a:pt x="7485" y="16964"/>
                  </a:lnTo>
                  <a:lnTo>
                    <a:pt x="7541" y="16565"/>
                  </a:lnTo>
                  <a:lnTo>
                    <a:pt x="7398" y="16378"/>
                  </a:lnTo>
                  <a:lnTo>
                    <a:pt x="7222" y="16240"/>
                  </a:lnTo>
                  <a:lnTo>
                    <a:pt x="6975" y="15938"/>
                  </a:lnTo>
                  <a:lnTo>
                    <a:pt x="6974" y="15498"/>
                  </a:lnTo>
                  <a:lnTo>
                    <a:pt x="7213" y="15265"/>
                  </a:lnTo>
                  <a:lnTo>
                    <a:pt x="7388" y="15320"/>
                  </a:lnTo>
                  <a:lnTo>
                    <a:pt x="7527" y="15712"/>
                  </a:lnTo>
                  <a:lnTo>
                    <a:pt x="7790" y="15919"/>
                  </a:lnTo>
                  <a:cubicBezTo>
                    <a:pt x="7896" y="15936"/>
                    <a:pt x="7997" y="15992"/>
                    <a:pt x="8089" y="16084"/>
                  </a:cubicBezTo>
                  <a:cubicBezTo>
                    <a:pt x="8148" y="16143"/>
                    <a:pt x="8203" y="16217"/>
                    <a:pt x="8250" y="16304"/>
                  </a:cubicBezTo>
                  <a:lnTo>
                    <a:pt x="8390" y="16623"/>
                  </a:lnTo>
                  <a:lnTo>
                    <a:pt x="8497" y="16783"/>
                  </a:lnTo>
                  <a:lnTo>
                    <a:pt x="8659" y="16893"/>
                  </a:lnTo>
                  <a:cubicBezTo>
                    <a:pt x="8718" y="16911"/>
                    <a:pt x="8777" y="16939"/>
                    <a:pt x="8833" y="16975"/>
                  </a:cubicBezTo>
                  <a:cubicBezTo>
                    <a:pt x="8886" y="17009"/>
                    <a:pt x="8937" y="17050"/>
                    <a:pt x="8986" y="17098"/>
                  </a:cubicBezTo>
                  <a:lnTo>
                    <a:pt x="9201" y="17368"/>
                  </a:lnTo>
                  <a:lnTo>
                    <a:pt x="9367" y="17642"/>
                  </a:lnTo>
                  <a:lnTo>
                    <a:pt x="9448" y="18069"/>
                  </a:lnTo>
                  <a:lnTo>
                    <a:pt x="9472" y="18476"/>
                  </a:lnTo>
                  <a:lnTo>
                    <a:pt x="9480" y="18860"/>
                  </a:lnTo>
                  <a:lnTo>
                    <a:pt x="9606" y="19231"/>
                  </a:lnTo>
                  <a:lnTo>
                    <a:pt x="9708" y="19433"/>
                  </a:lnTo>
                  <a:lnTo>
                    <a:pt x="9931" y="19550"/>
                  </a:lnTo>
                  <a:lnTo>
                    <a:pt x="10097" y="19631"/>
                  </a:lnTo>
                  <a:lnTo>
                    <a:pt x="10223" y="19645"/>
                  </a:lnTo>
                  <a:lnTo>
                    <a:pt x="10379" y="19791"/>
                  </a:lnTo>
                  <a:lnTo>
                    <a:pt x="10473" y="19924"/>
                  </a:lnTo>
                  <a:lnTo>
                    <a:pt x="10384" y="20183"/>
                  </a:lnTo>
                  <a:lnTo>
                    <a:pt x="10159" y="20128"/>
                  </a:lnTo>
                  <a:lnTo>
                    <a:pt x="10073" y="20243"/>
                  </a:lnTo>
                  <a:lnTo>
                    <a:pt x="10193" y="20472"/>
                  </a:lnTo>
                  <a:lnTo>
                    <a:pt x="10266" y="20815"/>
                  </a:lnTo>
                  <a:cubicBezTo>
                    <a:pt x="10273" y="20912"/>
                    <a:pt x="10304" y="20999"/>
                    <a:pt x="10352" y="21053"/>
                  </a:cubicBezTo>
                  <a:cubicBezTo>
                    <a:pt x="10384" y="21090"/>
                    <a:pt x="10423" y="21109"/>
                    <a:pt x="10462" y="21108"/>
                  </a:cubicBezTo>
                  <a:lnTo>
                    <a:pt x="10696" y="20998"/>
                  </a:lnTo>
                  <a:lnTo>
                    <a:pt x="10712" y="20701"/>
                  </a:lnTo>
                  <a:cubicBezTo>
                    <a:pt x="10707" y="20596"/>
                    <a:pt x="10707" y="20491"/>
                    <a:pt x="10712" y="20387"/>
                  </a:cubicBezTo>
                  <a:cubicBezTo>
                    <a:pt x="10716" y="20296"/>
                    <a:pt x="10724" y="20206"/>
                    <a:pt x="10736" y="20117"/>
                  </a:cubicBezTo>
                  <a:cubicBezTo>
                    <a:pt x="10735" y="20034"/>
                    <a:pt x="10727" y="19953"/>
                    <a:pt x="10712" y="19874"/>
                  </a:cubicBezTo>
                  <a:cubicBezTo>
                    <a:pt x="10684" y="19724"/>
                    <a:pt x="10633" y="19589"/>
                    <a:pt x="10564" y="19484"/>
                  </a:cubicBezTo>
                  <a:lnTo>
                    <a:pt x="10443" y="19117"/>
                  </a:lnTo>
                  <a:cubicBezTo>
                    <a:pt x="10405" y="19035"/>
                    <a:pt x="10398" y="18922"/>
                    <a:pt x="10427" y="18829"/>
                  </a:cubicBezTo>
                  <a:cubicBezTo>
                    <a:pt x="10451" y="18751"/>
                    <a:pt x="10497" y="18700"/>
                    <a:pt x="10548" y="18692"/>
                  </a:cubicBezTo>
                  <a:lnTo>
                    <a:pt x="10680" y="18705"/>
                  </a:lnTo>
                  <a:lnTo>
                    <a:pt x="10811" y="18765"/>
                  </a:lnTo>
                  <a:lnTo>
                    <a:pt x="10929" y="18911"/>
                  </a:lnTo>
                  <a:lnTo>
                    <a:pt x="10953" y="18597"/>
                  </a:lnTo>
                  <a:lnTo>
                    <a:pt x="11025" y="18391"/>
                  </a:lnTo>
                  <a:lnTo>
                    <a:pt x="11310" y="18336"/>
                  </a:lnTo>
                  <a:lnTo>
                    <a:pt x="11533" y="18336"/>
                  </a:lnTo>
                  <a:lnTo>
                    <a:pt x="11766" y="18570"/>
                  </a:lnTo>
                  <a:lnTo>
                    <a:pt x="11991" y="18469"/>
                  </a:lnTo>
                  <a:lnTo>
                    <a:pt x="12104" y="18400"/>
                  </a:lnTo>
                  <a:lnTo>
                    <a:pt x="12392" y="18317"/>
                  </a:lnTo>
                  <a:lnTo>
                    <a:pt x="12469" y="18171"/>
                  </a:lnTo>
                  <a:cubicBezTo>
                    <a:pt x="12441" y="18118"/>
                    <a:pt x="12413" y="18066"/>
                    <a:pt x="12383" y="18015"/>
                  </a:cubicBezTo>
                  <a:cubicBezTo>
                    <a:pt x="12320" y="17907"/>
                    <a:pt x="12252" y="17806"/>
                    <a:pt x="12181" y="17713"/>
                  </a:cubicBezTo>
                  <a:cubicBezTo>
                    <a:pt x="12169" y="17590"/>
                    <a:pt x="12166" y="17465"/>
                    <a:pt x="12173" y="17342"/>
                  </a:cubicBezTo>
                  <a:cubicBezTo>
                    <a:pt x="12182" y="17201"/>
                    <a:pt x="12204" y="17063"/>
                    <a:pt x="12238" y="16934"/>
                  </a:cubicBezTo>
                  <a:lnTo>
                    <a:pt x="12262" y="16700"/>
                  </a:lnTo>
                  <a:lnTo>
                    <a:pt x="12383" y="16233"/>
                  </a:lnTo>
                  <a:lnTo>
                    <a:pt x="12447" y="15904"/>
                  </a:lnTo>
                  <a:lnTo>
                    <a:pt x="12552" y="15455"/>
                  </a:lnTo>
                  <a:lnTo>
                    <a:pt x="12671" y="15194"/>
                  </a:lnTo>
                  <a:lnTo>
                    <a:pt x="12888" y="14822"/>
                  </a:lnTo>
                  <a:lnTo>
                    <a:pt x="13179" y="14607"/>
                  </a:lnTo>
                  <a:lnTo>
                    <a:pt x="13407" y="14414"/>
                  </a:lnTo>
                  <a:lnTo>
                    <a:pt x="13485" y="14588"/>
                  </a:lnTo>
                  <a:lnTo>
                    <a:pt x="13485" y="14898"/>
                  </a:lnTo>
                  <a:lnTo>
                    <a:pt x="13692" y="14926"/>
                  </a:lnTo>
                  <a:lnTo>
                    <a:pt x="13794" y="15008"/>
                  </a:lnTo>
                  <a:lnTo>
                    <a:pt x="13842" y="15254"/>
                  </a:lnTo>
                  <a:lnTo>
                    <a:pt x="13659" y="15264"/>
                  </a:lnTo>
                  <a:lnTo>
                    <a:pt x="13643" y="15414"/>
                  </a:lnTo>
                  <a:lnTo>
                    <a:pt x="13845" y="15703"/>
                  </a:lnTo>
                  <a:lnTo>
                    <a:pt x="13960" y="15946"/>
                  </a:lnTo>
                  <a:lnTo>
                    <a:pt x="14162" y="15979"/>
                  </a:lnTo>
                  <a:lnTo>
                    <a:pt x="14250" y="15857"/>
                  </a:lnTo>
                  <a:lnTo>
                    <a:pt x="14403" y="15678"/>
                  </a:lnTo>
                  <a:lnTo>
                    <a:pt x="14752" y="15546"/>
                  </a:lnTo>
                  <a:lnTo>
                    <a:pt x="14728" y="15315"/>
                  </a:lnTo>
                  <a:lnTo>
                    <a:pt x="14639" y="15250"/>
                  </a:lnTo>
                  <a:lnTo>
                    <a:pt x="14489" y="15305"/>
                  </a:lnTo>
                  <a:cubicBezTo>
                    <a:pt x="14437" y="15251"/>
                    <a:pt x="14386" y="15193"/>
                    <a:pt x="14336" y="15132"/>
                  </a:cubicBezTo>
                  <a:cubicBezTo>
                    <a:pt x="14301" y="15088"/>
                    <a:pt x="14266" y="15042"/>
                    <a:pt x="14232" y="14994"/>
                  </a:cubicBezTo>
                  <a:lnTo>
                    <a:pt x="14288" y="14817"/>
                  </a:lnTo>
                  <a:lnTo>
                    <a:pt x="14447" y="14721"/>
                  </a:lnTo>
                  <a:lnTo>
                    <a:pt x="14613" y="14569"/>
                  </a:lnTo>
                  <a:lnTo>
                    <a:pt x="14824" y="14382"/>
                  </a:lnTo>
                  <a:lnTo>
                    <a:pt x="14966" y="14231"/>
                  </a:lnTo>
                  <a:lnTo>
                    <a:pt x="15155" y="14089"/>
                  </a:lnTo>
                  <a:lnTo>
                    <a:pt x="15299" y="14048"/>
                  </a:lnTo>
                  <a:lnTo>
                    <a:pt x="15474" y="14204"/>
                  </a:lnTo>
                  <a:lnTo>
                    <a:pt x="15391" y="14386"/>
                  </a:lnTo>
                  <a:lnTo>
                    <a:pt x="15273" y="14666"/>
                  </a:lnTo>
                  <a:lnTo>
                    <a:pt x="15265" y="14990"/>
                  </a:lnTo>
                  <a:lnTo>
                    <a:pt x="15230" y="15325"/>
                  </a:lnTo>
                  <a:lnTo>
                    <a:pt x="15118" y="15517"/>
                  </a:lnTo>
                  <a:lnTo>
                    <a:pt x="15096" y="15705"/>
                  </a:lnTo>
                  <a:lnTo>
                    <a:pt x="15233" y="15800"/>
                  </a:lnTo>
                  <a:cubicBezTo>
                    <a:pt x="15284" y="15813"/>
                    <a:pt x="15335" y="15836"/>
                    <a:pt x="15383" y="15869"/>
                  </a:cubicBezTo>
                  <a:cubicBezTo>
                    <a:pt x="15456" y="15919"/>
                    <a:pt x="15524" y="15992"/>
                    <a:pt x="15582" y="16084"/>
                  </a:cubicBezTo>
                  <a:lnTo>
                    <a:pt x="15792" y="16341"/>
                  </a:lnTo>
                  <a:lnTo>
                    <a:pt x="16009" y="16409"/>
                  </a:lnTo>
                  <a:lnTo>
                    <a:pt x="16163" y="16684"/>
                  </a:lnTo>
                  <a:lnTo>
                    <a:pt x="16364" y="16863"/>
                  </a:lnTo>
                  <a:lnTo>
                    <a:pt x="16519" y="17063"/>
                  </a:lnTo>
                  <a:lnTo>
                    <a:pt x="16602" y="17384"/>
                  </a:lnTo>
                  <a:lnTo>
                    <a:pt x="16900" y="17421"/>
                  </a:lnTo>
                  <a:lnTo>
                    <a:pt x="17231" y="17499"/>
                  </a:lnTo>
                  <a:lnTo>
                    <a:pt x="17545" y="17705"/>
                  </a:lnTo>
                  <a:lnTo>
                    <a:pt x="17840" y="17980"/>
                  </a:lnTo>
                  <a:lnTo>
                    <a:pt x="18090" y="18259"/>
                  </a:lnTo>
                  <a:lnTo>
                    <a:pt x="18475" y="18575"/>
                  </a:lnTo>
                  <a:lnTo>
                    <a:pt x="18792" y="18777"/>
                  </a:lnTo>
                  <a:lnTo>
                    <a:pt x="19129" y="19050"/>
                  </a:lnTo>
                  <a:lnTo>
                    <a:pt x="19351" y="19182"/>
                  </a:lnTo>
                  <a:lnTo>
                    <a:pt x="19359" y="18839"/>
                  </a:lnTo>
                  <a:lnTo>
                    <a:pt x="19201" y="18353"/>
                  </a:lnTo>
                  <a:lnTo>
                    <a:pt x="19056" y="17804"/>
                  </a:lnTo>
                  <a:lnTo>
                    <a:pt x="18836" y="17575"/>
                  </a:lnTo>
                  <a:lnTo>
                    <a:pt x="18691" y="17287"/>
                  </a:lnTo>
                  <a:lnTo>
                    <a:pt x="18580" y="17027"/>
                  </a:lnTo>
                  <a:lnTo>
                    <a:pt x="18437" y="16793"/>
                  </a:lnTo>
                  <a:lnTo>
                    <a:pt x="18437" y="16531"/>
                  </a:lnTo>
                  <a:lnTo>
                    <a:pt x="18220" y="16330"/>
                  </a:lnTo>
                  <a:lnTo>
                    <a:pt x="18064" y="15973"/>
                  </a:lnTo>
                  <a:lnTo>
                    <a:pt x="18247" y="15607"/>
                  </a:lnTo>
                  <a:lnTo>
                    <a:pt x="18424" y="15318"/>
                  </a:lnTo>
                  <a:lnTo>
                    <a:pt x="18655" y="15304"/>
                  </a:lnTo>
                  <a:lnTo>
                    <a:pt x="18759" y="15057"/>
                  </a:lnTo>
                  <a:cubicBezTo>
                    <a:pt x="18777" y="14995"/>
                    <a:pt x="18799" y="14935"/>
                    <a:pt x="18824" y="14880"/>
                  </a:cubicBezTo>
                  <a:cubicBezTo>
                    <a:pt x="18871" y="14776"/>
                    <a:pt x="18929" y="14689"/>
                    <a:pt x="18996" y="14623"/>
                  </a:cubicBezTo>
                  <a:lnTo>
                    <a:pt x="19321" y="14418"/>
                  </a:lnTo>
                  <a:lnTo>
                    <a:pt x="19622" y="14295"/>
                  </a:lnTo>
                  <a:lnTo>
                    <a:pt x="19459" y="13998"/>
                  </a:lnTo>
                  <a:lnTo>
                    <a:pt x="19352" y="13728"/>
                  </a:lnTo>
                  <a:lnTo>
                    <a:pt x="19263" y="13311"/>
                  </a:lnTo>
                  <a:lnTo>
                    <a:pt x="19263" y="12674"/>
                  </a:lnTo>
                  <a:lnTo>
                    <a:pt x="19094" y="12413"/>
                  </a:lnTo>
                  <a:lnTo>
                    <a:pt x="18905" y="12303"/>
                  </a:lnTo>
                  <a:lnTo>
                    <a:pt x="18825" y="11587"/>
                  </a:lnTo>
                  <a:lnTo>
                    <a:pt x="18825" y="11300"/>
                  </a:lnTo>
                  <a:lnTo>
                    <a:pt x="19026" y="11176"/>
                  </a:lnTo>
                  <a:lnTo>
                    <a:pt x="19153" y="11204"/>
                  </a:lnTo>
                  <a:lnTo>
                    <a:pt x="19685" y="11492"/>
                  </a:lnTo>
                  <a:lnTo>
                    <a:pt x="19916" y="11286"/>
                  </a:lnTo>
                  <a:lnTo>
                    <a:pt x="20085" y="11176"/>
                  </a:lnTo>
                  <a:lnTo>
                    <a:pt x="20330" y="11204"/>
                  </a:lnTo>
                  <a:lnTo>
                    <a:pt x="20504" y="11392"/>
                  </a:lnTo>
                  <a:lnTo>
                    <a:pt x="20892" y="11571"/>
                  </a:lnTo>
                  <a:lnTo>
                    <a:pt x="21279" y="11763"/>
                  </a:lnTo>
                  <a:lnTo>
                    <a:pt x="21416" y="11557"/>
                  </a:lnTo>
                  <a:lnTo>
                    <a:pt x="21488" y="11250"/>
                  </a:lnTo>
                  <a:lnTo>
                    <a:pt x="21480" y="10939"/>
                  </a:lnTo>
                  <a:lnTo>
                    <a:pt x="21585" y="10788"/>
                  </a:lnTo>
                  <a:lnTo>
                    <a:pt x="21472" y="10615"/>
                  </a:lnTo>
                  <a:lnTo>
                    <a:pt x="21445" y="10409"/>
                  </a:lnTo>
                  <a:lnTo>
                    <a:pt x="21539" y="10161"/>
                  </a:lnTo>
                  <a:lnTo>
                    <a:pt x="21600" y="9773"/>
                  </a:lnTo>
                  <a:lnTo>
                    <a:pt x="21449" y="9398"/>
                  </a:lnTo>
                  <a:lnTo>
                    <a:pt x="21248" y="9192"/>
                  </a:lnTo>
                  <a:lnTo>
                    <a:pt x="21117" y="9270"/>
                  </a:lnTo>
                  <a:lnTo>
                    <a:pt x="21077" y="9513"/>
                  </a:lnTo>
                  <a:lnTo>
                    <a:pt x="21021" y="9718"/>
                  </a:lnTo>
                  <a:lnTo>
                    <a:pt x="20909" y="9814"/>
                  </a:lnTo>
                  <a:lnTo>
                    <a:pt x="20756" y="9882"/>
                  </a:lnTo>
                  <a:lnTo>
                    <a:pt x="20592" y="9662"/>
                  </a:lnTo>
                  <a:lnTo>
                    <a:pt x="20385" y="9355"/>
                  </a:lnTo>
                  <a:lnTo>
                    <a:pt x="20422" y="9122"/>
                  </a:lnTo>
                  <a:lnTo>
                    <a:pt x="20264" y="8894"/>
                  </a:lnTo>
                  <a:lnTo>
                    <a:pt x="20434" y="8637"/>
                  </a:lnTo>
                  <a:lnTo>
                    <a:pt x="20710" y="8587"/>
                  </a:lnTo>
                  <a:lnTo>
                    <a:pt x="20858" y="8416"/>
                  </a:lnTo>
                  <a:lnTo>
                    <a:pt x="20898" y="8128"/>
                  </a:lnTo>
                  <a:lnTo>
                    <a:pt x="20858" y="7798"/>
                  </a:lnTo>
                  <a:lnTo>
                    <a:pt x="20732" y="7675"/>
                  </a:lnTo>
                  <a:lnTo>
                    <a:pt x="20644" y="7355"/>
                  </a:lnTo>
                  <a:lnTo>
                    <a:pt x="20491" y="7121"/>
                  </a:lnTo>
                  <a:lnTo>
                    <a:pt x="20507" y="6709"/>
                  </a:lnTo>
                  <a:lnTo>
                    <a:pt x="20499" y="6365"/>
                  </a:lnTo>
                  <a:lnTo>
                    <a:pt x="20459" y="5985"/>
                  </a:lnTo>
                  <a:lnTo>
                    <a:pt x="20451" y="5531"/>
                  </a:lnTo>
                  <a:lnTo>
                    <a:pt x="20370" y="5106"/>
                  </a:lnTo>
                  <a:lnTo>
                    <a:pt x="20231" y="4810"/>
                  </a:lnTo>
                  <a:lnTo>
                    <a:pt x="20145" y="4182"/>
                  </a:lnTo>
                  <a:lnTo>
                    <a:pt x="20065" y="3716"/>
                  </a:lnTo>
                  <a:lnTo>
                    <a:pt x="19979" y="3404"/>
                  </a:lnTo>
                  <a:lnTo>
                    <a:pt x="19963" y="3062"/>
                  </a:lnTo>
                  <a:lnTo>
                    <a:pt x="20091" y="2842"/>
                  </a:lnTo>
                  <a:lnTo>
                    <a:pt x="20317" y="2737"/>
                  </a:lnTo>
                  <a:lnTo>
                    <a:pt x="20570" y="2546"/>
                  </a:lnTo>
                  <a:lnTo>
                    <a:pt x="20683" y="2340"/>
                  </a:lnTo>
                  <a:lnTo>
                    <a:pt x="20965" y="2162"/>
                  </a:lnTo>
                  <a:lnTo>
                    <a:pt x="21059" y="2043"/>
                  </a:lnTo>
                  <a:lnTo>
                    <a:pt x="21076" y="1814"/>
                  </a:lnTo>
                  <a:lnTo>
                    <a:pt x="21092" y="1581"/>
                  </a:lnTo>
                  <a:lnTo>
                    <a:pt x="20928" y="1371"/>
                  </a:lnTo>
                  <a:lnTo>
                    <a:pt x="20807" y="115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23" name="iṧḻiḑe">
              <a:extLst>
                <a:ext uri="{FF2B5EF4-FFF2-40B4-BE49-F238E27FC236}">
                  <a16:creationId xmlns:a16="http://schemas.microsoft.com/office/drawing/2014/main" id="{5C0DA5C1-5B7D-48F5-A225-54F3F660D9C5}"/>
                </a:ext>
              </a:extLst>
            </p:cNvPr>
            <p:cNvSpPr/>
            <p:nvPr/>
          </p:nvSpPr>
          <p:spPr>
            <a:xfrm>
              <a:off x="6872934" y="1426645"/>
              <a:ext cx="308560" cy="1797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445" y="7866"/>
                  </a:moveTo>
                  <a:lnTo>
                    <a:pt x="3880" y="8515"/>
                  </a:lnTo>
                  <a:lnTo>
                    <a:pt x="2778" y="8369"/>
                  </a:lnTo>
                  <a:lnTo>
                    <a:pt x="2178" y="9461"/>
                  </a:lnTo>
                  <a:lnTo>
                    <a:pt x="3120" y="10277"/>
                  </a:lnTo>
                  <a:lnTo>
                    <a:pt x="3156" y="12185"/>
                  </a:lnTo>
                  <a:lnTo>
                    <a:pt x="2430" y="12337"/>
                  </a:lnTo>
                  <a:lnTo>
                    <a:pt x="1278" y="11885"/>
                  </a:lnTo>
                  <a:lnTo>
                    <a:pt x="769" y="12613"/>
                  </a:lnTo>
                  <a:lnTo>
                    <a:pt x="566" y="13516"/>
                  </a:lnTo>
                  <a:lnTo>
                    <a:pt x="1354" y="13873"/>
                  </a:lnTo>
                  <a:lnTo>
                    <a:pt x="1463" y="14966"/>
                  </a:lnTo>
                  <a:lnTo>
                    <a:pt x="698" y="15754"/>
                  </a:lnTo>
                  <a:lnTo>
                    <a:pt x="273" y="16479"/>
                  </a:lnTo>
                  <a:lnTo>
                    <a:pt x="0" y="18023"/>
                  </a:lnTo>
                  <a:lnTo>
                    <a:pt x="841" y="18266"/>
                  </a:lnTo>
                  <a:lnTo>
                    <a:pt x="2336" y="18448"/>
                  </a:lnTo>
                  <a:lnTo>
                    <a:pt x="3297" y="19783"/>
                  </a:lnTo>
                  <a:lnTo>
                    <a:pt x="3987" y="20416"/>
                  </a:lnTo>
                  <a:lnTo>
                    <a:pt x="5126" y="21509"/>
                  </a:lnTo>
                  <a:lnTo>
                    <a:pt x="6761" y="21418"/>
                  </a:lnTo>
                  <a:lnTo>
                    <a:pt x="8539" y="21600"/>
                  </a:lnTo>
                  <a:lnTo>
                    <a:pt x="8021" y="19297"/>
                  </a:lnTo>
                  <a:lnTo>
                    <a:pt x="6548" y="18235"/>
                  </a:lnTo>
                  <a:lnTo>
                    <a:pt x="6499" y="15428"/>
                  </a:lnTo>
                  <a:lnTo>
                    <a:pt x="6997" y="13668"/>
                  </a:lnTo>
                  <a:lnTo>
                    <a:pt x="8012" y="10664"/>
                  </a:lnTo>
                  <a:lnTo>
                    <a:pt x="8386" y="8570"/>
                  </a:lnTo>
                  <a:lnTo>
                    <a:pt x="9594" y="6965"/>
                  </a:lnTo>
                  <a:lnTo>
                    <a:pt x="10818" y="7328"/>
                  </a:lnTo>
                  <a:lnTo>
                    <a:pt x="12132" y="6430"/>
                  </a:lnTo>
                  <a:lnTo>
                    <a:pt x="13272" y="5308"/>
                  </a:lnTo>
                  <a:lnTo>
                    <a:pt x="14533" y="4941"/>
                  </a:lnTo>
                  <a:lnTo>
                    <a:pt x="16291" y="4582"/>
                  </a:lnTo>
                  <a:cubicBezTo>
                    <a:pt x="16608" y="4821"/>
                    <a:pt x="16969" y="4821"/>
                    <a:pt x="17286" y="4583"/>
                  </a:cubicBezTo>
                  <a:cubicBezTo>
                    <a:pt x="17607" y="4341"/>
                    <a:pt x="17852" y="3877"/>
                    <a:pt x="17960" y="3308"/>
                  </a:cubicBezTo>
                  <a:lnTo>
                    <a:pt x="19113" y="3551"/>
                  </a:lnTo>
                  <a:lnTo>
                    <a:pt x="19985" y="3581"/>
                  </a:lnTo>
                  <a:lnTo>
                    <a:pt x="20338" y="2523"/>
                  </a:lnTo>
                  <a:lnTo>
                    <a:pt x="21351" y="2592"/>
                  </a:lnTo>
                  <a:lnTo>
                    <a:pt x="21600" y="1704"/>
                  </a:lnTo>
                  <a:lnTo>
                    <a:pt x="20641" y="1406"/>
                  </a:lnTo>
                  <a:lnTo>
                    <a:pt x="20071" y="705"/>
                  </a:lnTo>
                  <a:lnTo>
                    <a:pt x="18972" y="0"/>
                  </a:lnTo>
                  <a:lnTo>
                    <a:pt x="18514" y="430"/>
                  </a:lnTo>
                  <a:lnTo>
                    <a:pt x="18354" y="1523"/>
                  </a:lnTo>
                  <a:lnTo>
                    <a:pt x="17731" y="802"/>
                  </a:lnTo>
                  <a:lnTo>
                    <a:pt x="16469" y="984"/>
                  </a:lnTo>
                  <a:lnTo>
                    <a:pt x="15528" y="1617"/>
                  </a:lnTo>
                  <a:lnTo>
                    <a:pt x="14947" y="2494"/>
                  </a:lnTo>
                  <a:lnTo>
                    <a:pt x="13721" y="2312"/>
                  </a:lnTo>
                  <a:lnTo>
                    <a:pt x="11020" y="2130"/>
                  </a:lnTo>
                  <a:lnTo>
                    <a:pt x="9792" y="2039"/>
                  </a:lnTo>
                  <a:lnTo>
                    <a:pt x="8352" y="2392"/>
                  </a:lnTo>
                  <a:lnTo>
                    <a:pt x="7818" y="3025"/>
                  </a:lnTo>
                  <a:lnTo>
                    <a:pt x="6699" y="4565"/>
                  </a:lnTo>
                  <a:lnTo>
                    <a:pt x="5633" y="4656"/>
                  </a:lnTo>
                  <a:lnTo>
                    <a:pt x="4834" y="5829"/>
                  </a:lnTo>
                  <a:lnTo>
                    <a:pt x="4445" y="786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24" name="işľïďe">
              <a:extLst>
                <a:ext uri="{FF2B5EF4-FFF2-40B4-BE49-F238E27FC236}">
                  <a16:creationId xmlns:a16="http://schemas.microsoft.com/office/drawing/2014/main" id="{ABA2860A-A53A-4030-8655-73E4056F6041}"/>
                </a:ext>
              </a:extLst>
            </p:cNvPr>
            <p:cNvSpPr/>
            <p:nvPr/>
          </p:nvSpPr>
          <p:spPr>
            <a:xfrm>
              <a:off x="5869377" y="1326101"/>
              <a:ext cx="358160" cy="1369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036" y="2810"/>
                  </a:moveTo>
                  <a:lnTo>
                    <a:pt x="18126" y="2696"/>
                  </a:lnTo>
                  <a:lnTo>
                    <a:pt x="15876" y="2514"/>
                  </a:lnTo>
                  <a:lnTo>
                    <a:pt x="14560" y="2399"/>
                  </a:lnTo>
                  <a:lnTo>
                    <a:pt x="13964" y="607"/>
                  </a:lnTo>
                  <a:lnTo>
                    <a:pt x="13265" y="0"/>
                  </a:lnTo>
                  <a:lnTo>
                    <a:pt x="13209" y="2844"/>
                  </a:lnTo>
                  <a:lnTo>
                    <a:pt x="12490" y="2839"/>
                  </a:lnTo>
                  <a:lnTo>
                    <a:pt x="12105" y="3909"/>
                  </a:lnTo>
                  <a:lnTo>
                    <a:pt x="12121" y="6612"/>
                  </a:lnTo>
                  <a:lnTo>
                    <a:pt x="11757" y="7673"/>
                  </a:lnTo>
                  <a:lnTo>
                    <a:pt x="11102" y="6284"/>
                  </a:lnTo>
                  <a:lnTo>
                    <a:pt x="11237" y="3700"/>
                  </a:lnTo>
                  <a:lnTo>
                    <a:pt x="10419" y="2546"/>
                  </a:lnTo>
                  <a:lnTo>
                    <a:pt x="9953" y="4134"/>
                  </a:lnTo>
                  <a:lnTo>
                    <a:pt x="9148" y="5886"/>
                  </a:lnTo>
                  <a:lnTo>
                    <a:pt x="7705" y="5408"/>
                  </a:lnTo>
                  <a:lnTo>
                    <a:pt x="6697" y="5288"/>
                  </a:lnTo>
                  <a:lnTo>
                    <a:pt x="6009" y="4218"/>
                  </a:lnTo>
                  <a:lnTo>
                    <a:pt x="5379" y="3745"/>
                  </a:lnTo>
                  <a:lnTo>
                    <a:pt x="2617" y="4347"/>
                  </a:lnTo>
                  <a:lnTo>
                    <a:pt x="1144" y="3636"/>
                  </a:lnTo>
                  <a:lnTo>
                    <a:pt x="135" y="4591"/>
                  </a:lnTo>
                  <a:lnTo>
                    <a:pt x="0" y="6851"/>
                  </a:lnTo>
                  <a:lnTo>
                    <a:pt x="1109" y="8265"/>
                  </a:lnTo>
                  <a:lnTo>
                    <a:pt x="1858" y="9728"/>
                  </a:lnTo>
                  <a:lnTo>
                    <a:pt x="2773" y="10918"/>
                  </a:lnTo>
                  <a:lnTo>
                    <a:pt x="3798" y="10560"/>
                  </a:lnTo>
                  <a:lnTo>
                    <a:pt x="4488" y="11864"/>
                  </a:lnTo>
                  <a:lnTo>
                    <a:pt x="5238" y="12297"/>
                  </a:lnTo>
                  <a:lnTo>
                    <a:pt x="5238" y="9037"/>
                  </a:lnTo>
                  <a:lnTo>
                    <a:pt x="6816" y="8599"/>
                  </a:lnTo>
                  <a:lnTo>
                    <a:pt x="6769" y="11506"/>
                  </a:lnTo>
                  <a:lnTo>
                    <a:pt x="6906" y="13288"/>
                  </a:lnTo>
                  <a:lnTo>
                    <a:pt x="4182" y="13367"/>
                  </a:lnTo>
                  <a:lnTo>
                    <a:pt x="4105" y="14562"/>
                  </a:lnTo>
                  <a:lnTo>
                    <a:pt x="4611" y="15358"/>
                  </a:lnTo>
                  <a:lnTo>
                    <a:pt x="5606" y="16747"/>
                  </a:lnTo>
                  <a:lnTo>
                    <a:pt x="7302" y="19415"/>
                  </a:lnTo>
                  <a:lnTo>
                    <a:pt x="8040" y="21600"/>
                  </a:lnTo>
                  <a:lnTo>
                    <a:pt x="8822" y="21485"/>
                  </a:lnTo>
                  <a:lnTo>
                    <a:pt x="9465" y="18116"/>
                  </a:lnTo>
                  <a:lnTo>
                    <a:pt x="9649" y="15258"/>
                  </a:lnTo>
                  <a:lnTo>
                    <a:pt x="10369" y="13745"/>
                  </a:lnTo>
                  <a:lnTo>
                    <a:pt x="11287" y="14343"/>
                  </a:lnTo>
                  <a:lnTo>
                    <a:pt x="11640" y="11993"/>
                  </a:lnTo>
                  <a:lnTo>
                    <a:pt x="11640" y="9136"/>
                  </a:lnTo>
                  <a:lnTo>
                    <a:pt x="13126" y="8703"/>
                  </a:lnTo>
                  <a:lnTo>
                    <a:pt x="14029" y="10490"/>
                  </a:lnTo>
                  <a:lnTo>
                    <a:pt x="14715" y="12003"/>
                  </a:lnTo>
                  <a:lnTo>
                    <a:pt x="14303" y="13193"/>
                  </a:lnTo>
                  <a:lnTo>
                    <a:pt x="13891" y="14507"/>
                  </a:lnTo>
                  <a:lnTo>
                    <a:pt x="14441" y="16856"/>
                  </a:lnTo>
                  <a:lnTo>
                    <a:pt x="15346" y="16264"/>
                  </a:lnTo>
                  <a:lnTo>
                    <a:pt x="15759" y="14472"/>
                  </a:lnTo>
                  <a:lnTo>
                    <a:pt x="16864" y="14472"/>
                  </a:lnTo>
                  <a:lnTo>
                    <a:pt x="17370" y="15303"/>
                  </a:lnTo>
                  <a:lnTo>
                    <a:pt x="17732" y="17409"/>
                  </a:lnTo>
                  <a:lnTo>
                    <a:pt x="18407" y="16692"/>
                  </a:lnTo>
                  <a:lnTo>
                    <a:pt x="19503" y="15398"/>
                  </a:lnTo>
                  <a:lnTo>
                    <a:pt x="18539" y="14208"/>
                  </a:lnTo>
                  <a:lnTo>
                    <a:pt x="18004" y="13969"/>
                  </a:lnTo>
                  <a:lnTo>
                    <a:pt x="17870" y="12460"/>
                  </a:lnTo>
                  <a:lnTo>
                    <a:pt x="17136" y="11630"/>
                  </a:lnTo>
                  <a:lnTo>
                    <a:pt x="15759" y="11037"/>
                  </a:lnTo>
                  <a:lnTo>
                    <a:pt x="14891" y="9608"/>
                  </a:lnTo>
                  <a:lnTo>
                    <a:pt x="14017" y="8334"/>
                  </a:lnTo>
                  <a:lnTo>
                    <a:pt x="13655" y="7742"/>
                  </a:lnTo>
                  <a:lnTo>
                    <a:pt x="13563" y="5253"/>
                  </a:lnTo>
                  <a:lnTo>
                    <a:pt x="14253" y="4895"/>
                  </a:lnTo>
                  <a:lnTo>
                    <a:pt x="14864" y="7105"/>
                  </a:lnTo>
                  <a:lnTo>
                    <a:pt x="16948" y="7941"/>
                  </a:lnTo>
                  <a:lnTo>
                    <a:pt x="18002" y="8891"/>
                  </a:lnTo>
                  <a:lnTo>
                    <a:pt x="19472" y="7458"/>
                  </a:lnTo>
                  <a:lnTo>
                    <a:pt x="20699" y="6542"/>
                  </a:lnTo>
                  <a:lnTo>
                    <a:pt x="21374" y="4805"/>
                  </a:lnTo>
                  <a:lnTo>
                    <a:pt x="21600" y="3028"/>
                  </a:lnTo>
                  <a:lnTo>
                    <a:pt x="21036" y="281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25" name="ïṧḷîdé">
              <a:extLst>
                <a:ext uri="{FF2B5EF4-FFF2-40B4-BE49-F238E27FC236}">
                  <a16:creationId xmlns:a16="http://schemas.microsoft.com/office/drawing/2014/main" id="{E229D3EF-2A6F-4A3A-986C-42D7780128AC}"/>
                </a:ext>
              </a:extLst>
            </p:cNvPr>
            <p:cNvSpPr/>
            <p:nvPr/>
          </p:nvSpPr>
          <p:spPr>
            <a:xfrm>
              <a:off x="5016160" y="1729403"/>
              <a:ext cx="228706" cy="936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441" y="270"/>
                  </a:moveTo>
                  <a:lnTo>
                    <a:pt x="15742" y="0"/>
                  </a:lnTo>
                  <a:lnTo>
                    <a:pt x="14405" y="1481"/>
                  </a:lnTo>
                  <a:lnTo>
                    <a:pt x="12187" y="4101"/>
                  </a:lnTo>
                  <a:lnTo>
                    <a:pt x="10897" y="4101"/>
                  </a:lnTo>
                  <a:lnTo>
                    <a:pt x="8628" y="1546"/>
                  </a:lnTo>
                  <a:lnTo>
                    <a:pt x="6724" y="2070"/>
                  </a:lnTo>
                  <a:lnTo>
                    <a:pt x="5296" y="4167"/>
                  </a:lnTo>
                  <a:lnTo>
                    <a:pt x="1948" y="7428"/>
                  </a:lnTo>
                  <a:lnTo>
                    <a:pt x="1232" y="7428"/>
                  </a:lnTo>
                  <a:lnTo>
                    <a:pt x="0" y="9510"/>
                  </a:lnTo>
                  <a:lnTo>
                    <a:pt x="92" y="13288"/>
                  </a:lnTo>
                  <a:lnTo>
                    <a:pt x="773" y="15544"/>
                  </a:lnTo>
                  <a:lnTo>
                    <a:pt x="2067" y="12989"/>
                  </a:lnTo>
                  <a:lnTo>
                    <a:pt x="3646" y="15959"/>
                  </a:lnTo>
                  <a:cubicBezTo>
                    <a:pt x="4278" y="16734"/>
                    <a:pt x="4893" y="17587"/>
                    <a:pt x="5489" y="18514"/>
                  </a:cubicBezTo>
                  <a:cubicBezTo>
                    <a:pt x="6102" y="19467"/>
                    <a:pt x="6694" y="20497"/>
                    <a:pt x="7263" y="21600"/>
                  </a:cubicBezTo>
                  <a:lnTo>
                    <a:pt x="8821" y="21600"/>
                  </a:lnTo>
                  <a:lnTo>
                    <a:pt x="10787" y="16890"/>
                  </a:lnTo>
                  <a:lnTo>
                    <a:pt x="12583" y="16890"/>
                  </a:lnTo>
                  <a:lnTo>
                    <a:pt x="15533" y="16716"/>
                  </a:lnTo>
                  <a:lnTo>
                    <a:pt x="17142" y="13513"/>
                  </a:lnTo>
                  <a:lnTo>
                    <a:pt x="18721" y="10914"/>
                  </a:lnTo>
                  <a:lnTo>
                    <a:pt x="20955" y="10041"/>
                  </a:lnTo>
                  <a:lnTo>
                    <a:pt x="21600" y="8323"/>
                  </a:lnTo>
                  <a:lnTo>
                    <a:pt x="20688" y="4902"/>
                  </a:lnTo>
                  <a:lnTo>
                    <a:pt x="19658" y="3045"/>
                  </a:lnTo>
                  <a:lnTo>
                    <a:pt x="18823" y="1655"/>
                  </a:lnTo>
                  <a:lnTo>
                    <a:pt x="17441" y="27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26" name="iś1ïḑé">
              <a:extLst>
                <a:ext uri="{FF2B5EF4-FFF2-40B4-BE49-F238E27FC236}">
                  <a16:creationId xmlns:a16="http://schemas.microsoft.com/office/drawing/2014/main" id="{952CDEFF-69F7-4807-91EB-37AABD6DE94D}"/>
                </a:ext>
              </a:extLst>
            </p:cNvPr>
            <p:cNvSpPr/>
            <p:nvPr/>
          </p:nvSpPr>
          <p:spPr>
            <a:xfrm>
              <a:off x="5414902" y="1601282"/>
              <a:ext cx="41288" cy="200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176" y="0"/>
                  </a:moveTo>
                  <a:lnTo>
                    <a:pt x="10983" y="4657"/>
                  </a:lnTo>
                  <a:lnTo>
                    <a:pt x="5919" y="4185"/>
                  </a:lnTo>
                  <a:lnTo>
                    <a:pt x="0" y="5818"/>
                  </a:lnTo>
                  <a:lnTo>
                    <a:pt x="17" y="18606"/>
                  </a:lnTo>
                  <a:lnTo>
                    <a:pt x="11091" y="21600"/>
                  </a:lnTo>
                  <a:lnTo>
                    <a:pt x="21600" y="16735"/>
                  </a:lnTo>
                  <a:lnTo>
                    <a:pt x="21483" y="2347"/>
                  </a:lnTo>
                  <a:lnTo>
                    <a:pt x="1517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27" name="íṩļíḍé">
              <a:extLst>
                <a:ext uri="{FF2B5EF4-FFF2-40B4-BE49-F238E27FC236}">
                  <a16:creationId xmlns:a16="http://schemas.microsoft.com/office/drawing/2014/main" id="{D5F862FF-5139-4040-84FC-35792BF702DD}"/>
                </a:ext>
              </a:extLst>
            </p:cNvPr>
            <p:cNvSpPr/>
            <p:nvPr/>
          </p:nvSpPr>
          <p:spPr>
            <a:xfrm>
              <a:off x="5426458" y="1837882"/>
              <a:ext cx="35170" cy="229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779" y="0"/>
                  </a:moveTo>
                  <a:lnTo>
                    <a:pt x="0" y="1898"/>
                  </a:lnTo>
                  <a:lnTo>
                    <a:pt x="497" y="14515"/>
                  </a:lnTo>
                  <a:lnTo>
                    <a:pt x="10043" y="15938"/>
                  </a:lnTo>
                  <a:lnTo>
                    <a:pt x="21600" y="21600"/>
                  </a:lnTo>
                  <a:lnTo>
                    <a:pt x="18457" y="5083"/>
                  </a:lnTo>
                  <a:lnTo>
                    <a:pt x="977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28" name="ïṧḻiḓé">
              <a:extLst>
                <a:ext uri="{FF2B5EF4-FFF2-40B4-BE49-F238E27FC236}">
                  <a16:creationId xmlns:a16="http://schemas.microsoft.com/office/drawing/2014/main" id="{342A8D94-1E46-4DB1-AAA9-E1699D37212C}"/>
                </a:ext>
              </a:extLst>
            </p:cNvPr>
            <p:cNvSpPr/>
            <p:nvPr/>
          </p:nvSpPr>
          <p:spPr>
            <a:xfrm>
              <a:off x="5430421" y="1863360"/>
              <a:ext cx="21346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170" y="2345"/>
                  </a:moveTo>
                  <a:lnTo>
                    <a:pt x="2749" y="0"/>
                  </a:lnTo>
                  <a:lnTo>
                    <a:pt x="0" y="17437"/>
                  </a:lnTo>
                  <a:lnTo>
                    <a:pt x="16227" y="21600"/>
                  </a:lnTo>
                  <a:lnTo>
                    <a:pt x="21600" y="10871"/>
                  </a:lnTo>
                  <a:lnTo>
                    <a:pt x="12170" y="234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29" name="îSlîďè">
              <a:extLst>
                <a:ext uri="{FF2B5EF4-FFF2-40B4-BE49-F238E27FC236}">
                  <a16:creationId xmlns:a16="http://schemas.microsoft.com/office/drawing/2014/main" id="{3A43DB02-41B9-45EB-B485-DA00FCA192F2}"/>
                </a:ext>
              </a:extLst>
            </p:cNvPr>
            <p:cNvSpPr/>
            <p:nvPr/>
          </p:nvSpPr>
          <p:spPr>
            <a:xfrm>
              <a:off x="5276566" y="2090226"/>
              <a:ext cx="141495" cy="1368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382" y="115"/>
                  </a:moveTo>
                  <a:lnTo>
                    <a:pt x="11359" y="0"/>
                  </a:lnTo>
                  <a:lnTo>
                    <a:pt x="9153" y="2568"/>
                  </a:lnTo>
                  <a:lnTo>
                    <a:pt x="6986" y="4361"/>
                  </a:lnTo>
                  <a:lnTo>
                    <a:pt x="4456" y="4002"/>
                  </a:lnTo>
                  <a:lnTo>
                    <a:pt x="1440" y="5073"/>
                  </a:lnTo>
                  <a:lnTo>
                    <a:pt x="1800" y="7574"/>
                  </a:lnTo>
                  <a:lnTo>
                    <a:pt x="3652" y="8406"/>
                  </a:lnTo>
                  <a:lnTo>
                    <a:pt x="4457" y="9915"/>
                  </a:lnTo>
                  <a:lnTo>
                    <a:pt x="3642" y="11583"/>
                  </a:lnTo>
                  <a:lnTo>
                    <a:pt x="2953" y="12535"/>
                  </a:lnTo>
                  <a:lnTo>
                    <a:pt x="2371" y="14995"/>
                  </a:lnTo>
                  <a:lnTo>
                    <a:pt x="42" y="15588"/>
                  </a:lnTo>
                  <a:lnTo>
                    <a:pt x="0" y="17102"/>
                  </a:lnTo>
                  <a:lnTo>
                    <a:pt x="974" y="18138"/>
                  </a:lnTo>
                  <a:lnTo>
                    <a:pt x="1672" y="20768"/>
                  </a:lnTo>
                  <a:lnTo>
                    <a:pt x="3483" y="21600"/>
                  </a:lnTo>
                  <a:lnTo>
                    <a:pt x="5773" y="20165"/>
                  </a:lnTo>
                  <a:lnTo>
                    <a:pt x="8334" y="18253"/>
                  </a:lnTo>
                  <a:lnTo>
                    <a:pt x="10697" y="17097"/>
                  </a:lnTo>
                  <a:cubicBezTo>
                    <a:pt x="11878" y="17476"/>
                    <a:pt x="13148" y="17434"/>
                    <a:pt x="14302" y="16978"/>
                  </a:cubicBezTo>
                  <a:cubicBezTo>
                    <a:pt x="14998" y="16703"/>
                    <a:pt x="15630" y="16284"/>
                    <a:pt x="16161" y="15748"/>
                  </a:cubicBezTo>
                  <a:cubicBezTo>
                    <a:pt x="16616" y="15267"/>
                    <a:pt x="16972" y="14698"/>
                    <a:pt x="17209" y="14074"/>
                  </a:cubicBezTo>
                  <a:cubicBezTo>
                    <a:pt x="17751" y="12641"/>
                    <a:pt x="17639" y="11035"/>
                    <a:pt x="16903" y="9696"/>
                  </a:cubicBezTo>
                  <a:lnTo>
                    <a:pt x="17252" y="7434"/>
                  </a:lnTo>
                  <a:lnTo>
                    <a:pt x="18650" y="5686"/>
                  </a:lnTo>
                  <a:lnTo>
                    <a:pt x="20358" y="4730"/>
                  </a:lnTo>
                  <a:lnTo>
                    <a:pt x="21600" y="2658"/>
                  </a:lnTo>
                  <a:lnTo>
                    <a:pt x="19703" y="870"/>
                  </a:lnTo>
                  <a:lnTo>
                    <a:pt x="16922" y="162"/>
                  </a:lnTo>
                  <a:lnTo>
                    <a:pt x="15382" y="11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30" name="îṧḻiḍé">
              <a:extLst>
                <a:ext uri="{FF2B5EF4-FFF2-40B4-BE49-F238E27FC236}">
                  <a16:creationId xmlns:a16="http://schemas.microsoft.com/office/drawing/2014/main" id="{41A8E7D0-A678-48B1-A159-F810A1AE0F6D}"/>
                </a:ext>
              </a:extLst>
            </p:cNvPr>
            <p:cNvSpPr/>
            <p:nvPr/>
          </p:nvSpPr>
          <p:spPr>
            <a:xfrm>
              <a:off x="5407156" y="1993299"/>
              <a:ext cx="206900" cy="2716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288" y="0"/>
                  </a:moveTo>
                  <a:lnTo>
                    <a:pt x="5027" y="806"/>
                  </a:lnTo>
                  <a:lnTo>
                    <a:pt x="3705" y="828"/>
                  </a:lnTo>
                  <a:lnTo>
                    <a:pt x="3047" y="1789"/>
                  </a:lnTo>
                  <a:lnTo>
                    <a:pt x="3106" y="2665"/>
                  </a:lnTo>
                  <a:lnTo>
                    <a:pt x="2104" y="3622"/>
                  </a:lnTo>
                  <a:lnTo>
                    <a:pt x="2256" y="4561"/>
                  </a:lnTo>
                  <a:lnTo>
                    <a:pt x="3288" y="5341"/>
                  </a:lnTo>
                  <a:lnTo>
                    <a:pt x="4241" y="6303"/>
                  </a:lnTo>
                  <a:lnTo>
                    <a:pt x="3288" y="6900"/>
                  </a:lnTo>
                  <a:lnTo>
                    <a:pt x="3129" y="7663"/>
                  </a:lnTo>
                  <a:cubicBezTo>
                    <a:pt x="3378" y="7883"/>
                    <a:pt x="3663" y="8077"/>
                    <a:pt x="3979" y="8241"/>
                  </a:cubicBezTo>
                  <a:cubicBezTo>
                    <a:pt x="4404" y="8461"/>
                    <a:pt x="4878" y="8624"/>
                    <a:pt x="5379" y="8720"/>
                  </a:cubicBezTo>
                  <a:lnTo>
                    <a:pt x="6013" y="7816"/>
                  </a:lnTo>
                  <a:lnTo>
                    <a:pt x="7340" y="7877"/>
                  </a:lnTo>
                  <a:lnTo>
                    <a:pt x="8475" y="8655"/>
                  </a:lnTo>
                  <a:lnTo>
                    <a:pt x="8475" y="9799"/>
                  </a:lnTo>
                  <a:cubicBezTo>
                    <a:pt x="8649" y="10161"/>
                    <a:pt x="8756" y="10540"/>
                    <a:pt x="8794" y="10924"/>
                  </a:cubicBezTo>
                  <a:cubicBezTo>
                    <a:pt x="8852" y="11516"/>
                    <a:pt x="8744" y="12110"/>
                    <a:pt x="8478" y="12668"/>
                  </a:cubicBezTo>
                  <a:lnTo>
                    <a:pt x="6756" y="12970"/>
                  </a:lnTo>
                  <a:lnTo>
                    <a:pt x="5830" y="13030"/>
                  </a:lnTo>
                  <a:lnTo>
                    <a:pt x="3796" y="13504"/>
                  </a:lnTo>
                  <a:lnTo>
                    <a:pt x="3975" y="14368"/>
                  </a:lnTo>
                  <a:lnTo>
                    <a:pt x="4901" y="14529"/>
                  </a:lnTo>
                  <a:lnTo>
                    <a:pt x="4662" y="15465"/>
                  </a:lnTo>
                  <a:lnTo>
                    <a:pt x="3020" y="15884"/>
                  </a:lnTo>
                  <a:lnTo>
                    <a:pt x="2091" y="16123"/>
                  </a:lnTo>
                  <a:lnTo>
                    <a:pt x="3022" y="16841"/>
                  </a:lnTo>
                  <a:lnTo>
                    <a:pt x="4564" y="17538"/>
                  </a:lnTo>
                  <a:lnTo>
                    <a:pt x="5725" y="17538"/>
                  </a:lnTo>
                  <a:lnTo>
                    <a:pt x="8134" y="17880"/>
                  </a:lnTo>
                  <a:lnTo>
                    <a:pt x="8426" y="18623"/>
                  </a:lnTo>
                  <a:lnTo>
                    <a:pt x="7232" y="19258"/>
                  </a:lnTo>
                  <a:lnTo>
                    <a:pt x="4232" y="19559"/>
                  </a:lnTo>
                  <a:lnTo>
                    <a:pt x="2642" y="20099"/>
                  </a:lnTo>
                  <a:lnTo>
                    <a:pt x="735" y="20340"/>
                  </a:lnTo>
                  <a:lnTo>
                    <a:pt x="0" y="21060"/>
                  </a:lnTo>
                  <a:lnTo>
                    <a:pt x="502" y="21600"/>
                  </a:lnTo>
                  <a:lnTo>
                    <a:pt x="2782" y="21359"/>
                  </a:lnTo>
                  <a:cubicBezTo>
                    <a:pt x="3310" y="21133"/>
                    <a:pt x="3861" y="20938"/>
                    <a:pt x="4428" y="20777"/>
                  </a:cubicBezTo>
                  <a:cubicBezTo>
                    <a:pt x="5234" y="20547"/>
                    <a:pt x="6071" y="20386"/>
                    <a:pt x="6924" y="20295"/>
                  </a:cubicBezTo>
                  <a:lnTo>
                    <a:pt x="8622" y="20174"/>
                  </a:lnTo>
                  <a:lnTo>
                    <a:pt x="11277" y="19873"/>
                  </a:lnTo>
                  <a:lnTo>
                    <a:pt x="12657" y="19753"/>
                  </a:lnTo>
                  <a:lnTo>
                    <a:pt x="14884" y="19050"/>
                  </a:lnTo>
                  <a:lnTo>
                    <a:pt x="16583" y="19391"/>
                  </a:lnTo>
                  <a:lnTo>
                    <a:pt x="19689" y="19030"/>
                  </a:lnTo>
                  <a:lnTo>
                    <a:pt x="18335" y="18548"/>
                  </a:lnTo>
                  <a:lnTo>
                    <a:pt x="16662" y="17767"/>
                  </a:lnTo>
                  <a:lnTo>
                    <a:pt x="21520" y="16502"/>
                  </a:lnTo>
                  <a:lnTo>
                    <a:pt x="21600" y="15842"/>
                  </a:lnTo>
                  <a:lnTo>
                    <a:pt x="21042" y="14238"/>
                  </a:lnTo>
                  <a:lnTo>
                    <a:pt x="19695" y="14120"/>
                  </a:lnTo>
                  <a:lnTo>
                    <a:pt x="18773" y="15157"/>
                  </a:lnTo>
                  <a:lnTo>
                    <a:pt x="16954" y="14916"/>
                  </a:lnTo>
                  <a:cubicBezTo>
                    <a:pt x="16658" y="14546"/>
                    <a:pt x="16446" y="14141"/>
                    <a:pt x="16327" y="13718"/>
                  </a:cubicBezTo>
                  <a:cubicBezTo>
                    <a:pt x="16175" y="13182"/>
                    <a:pt x="16175" y="12628"/>
                    <a:pt x="16327" y="12092"/>
                  </a:cubicBezTo>
                  <a:cubicBezTo>
                    <a:pt x="16208" y="11609"/>
                    <a:pt x="15994" y="11142"/>
                    <a:pt x="15690" y="10709"/>
                  </a:cubicBezTo>
                  <a:cubicBezTo>
                    <a:pt x="15360" y="10238"/>
                    <a:pt x="14929" y="9811"/>
                    <a:pt x="14416" y="9446"/>
                  </a:cubicBezTo>
                  <a:lnTo>
                    <a:pt x="13327" y="7779"/>
                  </a:lnTo>
                  <a:lnTo>
                    <a:pt x="10543" y="6097"/>
                  </a:lnTo>
                  <a:lnTo>
                    <a:pt x="8818" y="6097"/>
                  </a:lnTo>
                  <a:lnTo>
                    <a:pt x="7603" y="5799"/>
                  </a:lnTo>
                  <a:cubicBezTo>
                    <a:pt x="7249" y="5554"/>
                    <a:pt x="7071" y="5196"/>
                    <a:pt x="7125" y="4835"/>
                  </a:cubicBezTo>
                  <a:cubicBezTo>
                    <a:pt x="7216" y="4226"/>
                    <a:pt x="7901" y="3767"/>
                    <a:pt x="8711" y="3773"/>
                  </a:cubicBezTo>
                  <a:lnTo>
                    <a:pt x="10301" y="2689"/>
                  </a:lnTo>
                  <a:lnTo>
                    <a:pt x="8469" y="2151"/>
                  </a:lnTo>
                  <a:lnTo>
                    <a:pt x="6346" y="1730"/>
                  </a:lnTo>
                  <a:lnTo>
                    <a:pt x="6979" y="1072"/>
                  </a:lnTo>
                  <a:lnTo>
                    <a:pt x="7431" y="111"/>
                  </a:lnTo>
                  <a:lnTo>
                    <a:pt x="628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31" name="íšļíďê">
              <a:extLst>
                <a:ext uri="{FF2B5EF4-FFF2-40B4-BE49-F238E27FC236}">
                  <a16:creationId xmlns:a16="http://schemas.microsoft.com/office/drawing/2014/main" id="{9E0D45BE-3FBE-4FFF-9AC9-9769FE3A54B0}"/>
                </a:ext>
              </a:extLst>
            </p:cNvPr>
            <p:cNvSpPr/>
            <p:nvPr/>
          </p:nvSpPr>
          <p:spPr>
            <a:xfrm>
              <a:off x="5439609" y="2113104"/>
              <a:ext cx="16360" cy="2115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405" y="858"/>
                  </a:moveTo>
                  <a:lnTo>
                    <a:pt x="0" y="8854"/>
                  </a:lnTo>
                  <a:lnTo>
                    <a:pt x="5633" y="18505"/>
                  </a:lnTo>
                  <a:lnTo>
                    <a:pt x="16548" y="21600"/>
                  </a:lnTo>
                  <a:lnTo>
                    <a:pt x="21600" y="10060"/>
                  </a:lnTo>
                  <a:lnTo>
                    <a:pt x="18861" y="0"/>
                  </a:lnTo>
                  <a:lnTo>
                    <a:pt x="4405" y="85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32" name="îṩlíďe">
              <a:extLst>
                <a:ext uri="{FF2B5EF4-FFF2-40B4-BE49-F238E27FC236}">
                  <a16:creationId xmlns:a16="http://schemas.microsoft.com/office/drawing/2014/main" id="{F80015AE-B330-4BF9-B2B5-3A7C20B8E3B2}"/>
                </a:ext>
              </a:extLst>
            </p:cNvPr>
            <p:cNvSpPr/>
            <p:nvPr/>
          </p:nvSpPr>
          <p:spPr>
            <a:xfrm>
              <a:off x="5461229" y="2281207"/>
              <a:ext cx="17764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14" y="0"/>
                  </a:moveTo>
                  <a:lnTo>
                    <a:pt x="0" y="6137"/>
                  </a:lnTo>
                  <a:lnTo>
                    <a:pt x="4727" y="21600"/>
                  </a:lnTo>
                  <a:lnTo>
                    <a:pt x="21600" y="12940"/>
                  </a:lnTo>
                  <a:lnTo>
                    <a:pt x="1321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33" name="îŝļïde">
              <a:extLst>
                <a:ext uri="{FF2B5EF4-FFF2-40B4-BE49-F238E27FC236}">
                  <a16:creationId xmlns:a16="http://schemas.microsoft.com/office/drawing/2014/main" id="{E88C461A-63CE-4AC4-A09E-55208612E672}"/>
                </a:ext>
              </a:extLst>
            </p:cNvPr>
            <p:cNvSpPr/>
            <p:nvPr/>
          </p:nvSpPr>
          <p:spPr>
            <a:xfrm>
              <a:off x="5486629" y="2286760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4630" y="1789"/>
                  </a:lnTo>
                  <a:lnTo>
                    <a:pt x="0" y="17575"/>
                  </a:lnTo>
                  <a:lnTo>
                    <a:pt x="16425" y="21600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34" name="iṧ1ide">
              <a:extLst>
                <a:ext uri="{FF2B5EF4-FFF2-40B4-BE49-F238E27FC236}">
                  <a16:creationId xmlns:a16="http://schemas.microsoft.com/office/drawing/2014/main" id="{30299A28-C499-4C4B-8E59-2A9E5054F261}"/>
                </a:ext>
              </a:extLst>
            </p:cNvPr>
            <p:cNvSpPr/>
            <p:nvPr/>
          </p:nvSpPr>
          <p:spPr>
            <a:xfrm>
              <a:off x="5605003" y="2617425"/>
              <a:ext cx="39478" cy="459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45" h="21188" extrusionOk="0">
                  <a:moveTo>
                    <a:pt x="11664" y="4816"/>
                  </a:moveTo>
                  <a:lnTo>
                    <a:pt x="9025" y="9331"/>
                  </a:lnTo>
                  <a:lnTo>
                    <a:pt x="6223" y="14637"/>
                  </a:lnTo>
                  <a:lnTo>
                    <a:pt x="0" y="13938"/>
                  </a:lnTo>
                  <a:lnTo>
                    <a:pt x="635" y="18481"/>
                  </a:lnTo>
                  <a:lnTo>
                    <a:pt x="7824" y="19865"/>
                  </a:lnTo>
                  <a:cubicBezTo>
                    <a:pt x="10049" y="21332"/>
                    <a:pt x="12992" y="21600"/>
                    <a:pt x="15502" y="20564"/>
                  </a:cubicBezTo>
                  <a:cubicBezTo>
                    <a:pt x="19950" y="18729"/>
                    <a:pt x="21600" y="13831"/>
                    <a:pt x="19023" y="10107"/>
                  </a:cubicBezTo>
                  <a:lnTo>
                    <a:pt x="19415" y="0"/>
                  </a:lnTo>
                  <a:lnTo>
                    <a:pt x="11664" y="481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35" name="íŝľïdê">
              <a:extLst>
                <a:ext uri="{FF2B5EF4-FFF2-40B4-BE49-F238E27FC236}">
                  <a16:creationId xmlns:a16="http://schemas.microsoft.com/office/drawing/2014/main" id="{860686D5-3FF7-447E-823E-30DA3F40A786}"/>
                </a:ext>
              </a:extLst>
            </p:cNvPr>
            <p:cNvSpPr/>
            <p:nvPr/>
          </p:nvSpPr>
          <p:spPr>
            <a:xfrm>
              <a:off x="5813157" y="2519155"/>
              <a:ext cx="32675" cy="524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661" y="1731"/>
                  </a:moveTo>
                  <a:lnTo>
                    <a:pt x="11853" y="5894"/>
                  </a:lnTo>
                  <a:lnTo>
                    <a:pt x="4206" y="5101"/>
                  </a:lnTo>
                  <a:lnTo>
                    <a:pt x="0" y="9460"/>
                  </a:lnTo>
                  <a:lnTo>
                    <a:pt x="168" y="14442"/>
                  </a:lnTo>
                  <a:cubicBezTo>
                    <a:pt x="2798" y="15061"/>
                    <a:pt x="5194" y="16010"/>
                    <a:pt x="7206" y="17228"/>
                  </a:cubicBezTo>
                  <a:cubicBezTo>
                    <a:pt x="9251" y="18466"/>
                    <a:pt x="10854" y="19955"/>
                    <a:pt x="11913" y="21600"/>
                  </a:cubicBezTo>
                  <a:lnTo>
                    <a:pt x="21600" y="20338"/>
                  </a:lnTo>
                  <a:lnTo>
                    <a:pt x="21600" y="12245"/>
                  </a:lnTo>
                  <a:lnTo>
                    <a:pt x="20591" y="5088"/>
                  </a:lnTo>
                  <a:lnTo>
                    <a:pt x="18069" y="0"/>
                  </a:lnTo>
                  <a:lnTo>
                    <a:pt x="13661" y="173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36" name="îś1ïďé">
              <a:extLst>
                <a:ext uri="{FF2B5EF4-FFF2-40B4-BE49-F238E27FC236}">
                  <a16:creationId xmlns:a16="http://schemas.microsoft.com/office/drawing/2014/main" id="{611A1BB3-9581-4E1E-9AA9-06A74CF9B154}"/>
                </a:ext>
              </a:extLst>
            </p:cNvPr>
            <p:cNvSpPr/>
            <p:nvPr/>
          </p:nvSpPr>
          <p:spPr>
            <a:xfrm>
              <a:off x="5800394" y="2590774"/>
              <a:ext cx="44328" cy="774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55" h="21324" extrusionOk="0">
                  <a:moveTo>
                    <a:pt x="8993" y="0"/>
                  </a:moveTo>
                  <a:lnTo>
                    <a:pt x="4720" y="2328"/>
                  </a:lnTo>
                  <a:lnTo>
                    <a:pt x="264" y="4061"/>
                  </a:lnTo>
                  <a:lnTo>
                    <a:pt x="0" y="7596"/>
                  </a:lnTo>
                  <a:lnTo>
                    <a:pt x="4908" y="9951"/>
                  </a:lnTo>
                  <a:lnTo>
                    <a:pt x="4908" y="14304"/>
                  </a:lnTo>
                  <a:lnTo>
                    <a:pt x="7308" y="16172"/>
                  </a:lnTo>
                  <a:lnTo>
                    <a:pt x="8380" y="19699"/>
                  </a:lnTo>
                  <a:cubicBezTo>
                    <a:pt x="8501" y="20496"/>
                    <a:pt x="9534" y="21148"/>
                    <a:pt x="10902" y="21289"/>
                  </a:cubicBezTo>
                  <a:cubicBezTo>
                    <a:pt x="13902" y="21600"/>
                    <a:pt x="16165" y="19752"/>
                    <a:pt x="14647" y="18231"/>
                  </a:cubicBezTo>
                  <a:lnTo>
                    <a:pt x="18270" y="17605"/>
                  </a:lnTo>
                  <a:cubicBezTo>
                    <a:pt x="19422" y="16417"/>
                    <a:pt x="20233" y="15129"/>
                    <a:pt x="20671" y="13792"/>
                  </a:cubicBezTo>
                  <a:cubicBezTo>
                    <a:pt x="21600" y="10953"/>
                    <a:pt x="20834" y="8017"/>
                    <a:pt x="18496" y="5460"/>
                  </a:cubicBezTo>
                  <a:lnTo>
                    <a:pt x="18149" y="907"/>
                  </a:lnTo>
                  <a:lnTo>
                    <a:pt x="8993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37" name="iṥḻiḍè">
              <a:extLst>
                <a:ext uri="{FF2B5EF4-FFF2-40B4-BE49-F238E27FC236}">
                  <a16:creationId xmlns:a16="http://schemas.microsoft.com/office/drawing/2014/main" id="{FF0435D0-3A06-4492-8B4A-3837E91FA69F}"/>
                </a:ext>
              </a:extLst>
            </p:cNvPr>
            <p:cNvSpPr/>
            <p:nvPr/>
          </p:nvSpPr>
          <p:spPr>
            <a:xfrm>
              <a:off x="5935621" y="2695122"/>
              <a:ext cx="87464" cy="469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334" extrusionOk="0">
                  <a:moveTo>
                    <a:pt x="7882" y="0"/>
                  </a:moveTo>
                  <a:lnTo>
                    <a:pt x="5685" y="3441"/>
                  </a:lnTo>
                  <a:lnTo>
                    <a:pt x="1488" y="2877"/>
                  </a:lnTo>
                  <a:lnTo>
                    <a:pt x="0" y="5287"/>
                  </a:lnTo>
                  <a:lnTo>
                    <a:pt x="2117" y="8371"/>
                  </a:lnTo>
                  <a:lnTo>
                    <a:pt x="8892" y="11123"/>
                  </a:lnTo>
                  <a:lnTo>
                    <a:pt x="13224" y="15942"/>
                  </a:lnTo>
                  <a:lnTo>
                    <a:pt x="17549" y="21334"/>
                  </a:lnTo>
                  <a:lnTo>
                    <a:pt x="19418" y="15125"/>
                  </a:lnTo>
                  <a:lnTo>
                    <a:pt x="19418" y="11123"/>
                  </a:lnTo>
                  <a:lnTo>
                    <a:pt x="21600" y="5502"/>
                  </a:lnTo>
                  <a:cubicBezTo>
                    <a:pt x="21188" y="3626"/>
                    <a:pt x="20374" y="2139"/>
                    <a:pt x="19348" y="1386"/>
                  </a:cubicBezTo>
                  <a:cubicBezTo>
                    <a:pt x="17095" y="-266"/>
                    <a:pt x="14537" y="1740"/>
                    <a:pt x="13641" y="5861"/>
                  </a:cubicBezTo>
                  <a:lnTo>
                    <a:pt x="11263" y="1414"/>
                  </a:lnTo>
                  <a:lnTo>
                    <a:pt x="788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38" name="ís1iďe">
              <a:extLst>
                <a:ext uri="{FF2B5EF4-FFF2-40B4-BE49-F238E27FC236}">
                  <a16:creationId xmlns:a16="http://schemas.microsoft.com/office/drawing/2014/main" id="{381A5FB4-08A2-4C8C-B222-FAE815D684F8}"/>
                </a:ext>
              </a:extLst>
            </p:cNvPr>
            <p:cNvSpPr/>
            <p:nvPr/>
          </p:nvSpPr>
          <p:spPr>
            <a:xfrm>
              <a:off x="5977156" y="2768475"/>
              <a:ext cx="19383" cy="169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74" y="1048"/>
                  </a:moveTo>
                  <a:lnTo>
                    <a:pt x="1426" y="0"/>
                  </a:lnTo>
                  <a:lnTo>
                    <a:pt x="0" y="17702"/>
                  </a:lnTo>
                  <a:lnTo>
                    <a:pt x="21600" y="21600"/>
                  </a:lnTo>
                  <a:lnTo>
                    <a:pt x="15774" y="104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39" name="îşļïďé">
              <a:extLst>
                <a:ext uri="{FF2B5EF4-FFF2-40B4-BE49-F238E27FC236}">
                  <a16:creationId xmlns:a16="http://schemas.microsoft.com/office/drawing/2014/main" id="{DE187C83-F0FA-4571-A5FD-A93D8FFEFCB0}"/>
                </a:ext>
              </a:extLst>
            </p:cNvPr>
            <p:cNvSpPr/>
            <p:nvPr/>
          </p:nvSpPr>
          <p:spPr>
            <a:xfrm>
              <a:off x="6277853" y="2784962"/>
              <a:ext cx="97332" cy="336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65" h="19779" extrusionOk="0">
                  <a:moveTo>
                    <a:pt x="12434" y="4397"/>
                  </a:moveTo>
                  <a:lnTo>
                    <a:pt x="7006" y="2044"/>
                  </a:lnTo>
                  <a:lnTo>
                    <a:pt x="3364" y="1828"/>
                  </a:lnTo>
                  <a:cubicBezTo>
                    <a:pt x="2241" y="-1757"/>
                    <a:pt x="29" y="279"/>
                    <a:pt x="0" y="4926"/>
                  </a:cubicBezTo>
                  <a:cubicBezTo>
                    <a:pt x="-35" y="10379"/>
                    <a:pt x="2718" y="12346"/>
                    <a:pt x="3736" y="7595"/>
                  </a:cubicBezTo>
                  <a:lnTo>
                    <a:pt x="6269" y="12491"/>
                  </a:lnTo>
                  <a:lnTo>
                    <a:pt x="8797" y="17829"/>
                  </a:lnTo>
                  <a:cubicBezTo>
                    <a:pt x="10237" y="18722"/>
                    <a:pt x="11702" y="19311"/>
                    <a:pt x="13178" y="19590"/>
                  </a:cubicBezTo>
                  <a:cubicBezTo>
                    <a:pt x="14509" y="19843"/>
                    <a:pt x="15846" y="19843"/>
                    <a:pt x="17178" y="19590"/>
                  </a:cubicBezTo>
                  <a:lnTo>
                    <a:pt x="21565" y="16031"/>
                  </a:lnTo>
                  <a:lnTo>
                    <a:pt x="21234" y="9358"/>
                  </a:lnTo>
                  <a:cubicBezTo>
                    <a:pt x="20150" y="10055"/>
                    <a:pt x="19031" y="10305"/>
                    <a:pt x="17917" y="10099"/>
                  </a:cubicBezTo>
                  <a:cubicBezTo>
                    <a:pt x="16919" y="9915"/>
                    <a:pt x="15935" y="9366"/>
                    <a:pt x="14995" y="8468"/>
                  </a:cubicBezTo>
                  <a:lnTo>
                    <a:pt x="12434" y="4397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40" name="î$ḷîďe">
              <a:extLst>
                <a:ext uri="{FF2B5EF4-FFF2-40B4-BE49-F238E27FC236}">
                  <a16:creationId xmlns:a16="http://schemas.microsoft.com/office/drawing/2014/main" id="{8A34C80E-6C99-4571-8542-B81BF7503967}"/>
                </a:ext>
              </a:extLst>
            </p:cNvPr>
            <p:cNvSpPr/>
            <p:nvPr/>
          </p:nvSpPr>
          <p:spPr>
            <a:xfrm>
              <a:off x="6105633" y="1911267"/>
              <a:ext cx="32397" cy="275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95" h="21600" extrusionOk="0">
                  <a:moveTo>
                    <a:pt x="13981" y="0"/>
                  </a:moveTo>
                  <a:lnTo>
                    <a:pt x="5719" y="857"/>
                  </a:lnTo>
                  <a:lnTo>
                    <a:pt x="0" y="11369"/>
                  </a:lnTo>
                  <a:lnTo>
                    <a:pt x="5962" y="17640"/>
                  </a:lnTo>
                  <a:lnTo>
                    <a:pt x="14301" y="21600"/>
                  </a:lnTo>
                  <a:cubicBezTo>
                    <a:pt x="17054" y="20527"/>
                    <a:pt x="19207" y="17865"/>
                    <a:pt x="20066" y="14472"/>
                  </a:cubicBezTo>
                  <a:cubicBezTo>
                    <a:pt x="21600" y="8411"/>
                    <a:pt x="18887" y="1959"/>
                    <a:pt x="13981" y="0"/>
                  </a:cubicBez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41" name="íṧľíḓé">
              <a:extLst>
                <a:ext uri="{FF2B5EF4-FFF2-40B4-BE49-F238E27FC236}">
                  <a16:creationId xmlns:a16="http://schemas.microsoft.com/office/drawing/2014/main" id="{253D261F-4281-4FAE-A092-24069E2C9C4A}"/>
                </a:ext>
              </a:extLst>
            </p:cNvPr>
            <p:cNvSpPr/>
            <p:nvPr/>
          </p:nvSpPr>
          <p:spPr>
            <a:xfrm>
              <a:off x="9216497" y="4500642"/>
              <a:ext cx="1322325" cy="10103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87" extrusionOk="0">
                  <a:moveTo>
                    <a:pt x="5954" y="5356"/>
                  </a:moveTo>
                  <a:lnTo>
                    <a:pt x="5796" y="5869"/>
                  </a:lnTo>
                  <a:lnTo>
                    <a:pt x="5503" y="6311"/>
                  </a:lnTo>
                  <a:lnTo>
                    <a:pt x="5365" y="6483"/>
                  </a:lnTo>
                  <a:lnTo>
                    <a:pt x="5082" y="6656"/>
                  </a:lnTo>
                  <a:lnTo>
                    <a:pt x="4719" y="6834"/>
                  </a:lnTo>
                  <a:lnTo>
                    <a:pt x="4278" y="6893"/>
                  </a:lnTo>
                  <a:lnTo>
                    <a:pt x="3867" y="6963"/>
                  </a:lnTo>
                  <a:lnTo>
                    <a:pt x="3605" y="7152"/>
                  </a:lnTo>
                  <a:lnTo>
                    <a:pt x="3201" y="7421"/>
                  </a:lnTo>
                  <a:lnTo>
                    <a:pt x="2840" y="7616"/>
                  </a:lnTo>
                  <a:lnTo>
                    <a:pt x="2159" y="7891"/>
                  </a:lnTo>
                  <a:lnTo>
                    <a:pt x="1627" y="8085"/>
                  </a:lnTo>
                  <a:lnTo>
                    <a:pt x="1116" y="8295"/>
                  </a:lnTo>
                  <a:lnTo>
                    <a:pt x="1025" y="8677"/>
                  </a:lnTo>
                  <a:lnTo>
                    <a:pt x="980" y="8983"/>
                  </a:lnTo>
                  <a:lnTo>
                    <a:pt x="880" y="9313"/>
                  </a:lnTo>
                  <a:lnTo>
                    <a:pt x="718" y="9572"/>
                  </a:lnTo>
                  <a:lnTo>
                    <a:pt x="742" y="9911"/>
                  </a:lnTo>
                  <a:lnTo>
                    <a:pt x="766" y="10200"/>
                  </a:lnTo>
                  <a:lnTo>
                    <a:pt x="887" y="10459"/>
                  </a:lnTo>
                  <a:lnTo>
                    <a:pt x="982" y="10658"/>
                  </a:lnTo>
                  <a:lnTo>
                    <a:pt x="945" y="10981"/>
                  </a:lnTo>
                  <a:lnTo>
                    <a:pt x="804" y="11271"/>
                  </a:lnTo>
                  <a:lnTo>
                    <a:pt x="643" y="11837"/>
                  </a:lnTo>
                  <a:lnTo>
                    <a:pt x="607" y="12409"/>
                  </a:lnTo>
                  <a:lnTo>
                    <a:pt x="619" y="12825"/>
                  </a:lnTo>
                  <a:lnTo>
                    <a:pt x="619" y="14159"/>
                  </a:lnTo>
                  <a:lnTo>
                    <a:pt x="657" y="14449"/>
                  </a:lnTo>
                  <a:lnTo>
                    <a:pt x="756" y="14821"/>
                  </a:lnTo>
                  <a:lnTo>
                    <a:pt x="756" y="15123"/>
                  </a:lnTo>
                  <a:lnTo>
                    <a:pt x="806" y="15510"/>
                  </a:lnTo>
                  <a:lnTo>
                    <a:pt x="856" y="15799"/>
                  </a:lnTo>
                  <a:lnTo>
                    <a:pt x="756" y="16171"/>
                  </a:lnTo>
                  <a:lnTo>
                    <a:pt x="620" y="16478"/>
                  </a:lnTo>
                  <a:lnTo>
                    <a:pt x="546" y="16734"/>
                  </a:lnTo>
                  <a:lnTo>
                    <a:pt x="484" y="17052"/>
                  </a:lnTo>
                  <a:lnTo>
                    <a:pt x="393" y="17251"/>
                  </a:lnTo>
                  <a:lnTo>
                    <a:pt x="218" y="17348"/>
                  </a:lnTo>
                  <a:lnTo>
                    <a:pt x="0" y="17440"/>
                  </a:lnTo>
                  <a:lnTo>
                    <a:pt x="75" y="17639"/>
                  </a:lnTo>
                  <a:lnTo>
                    <a:pt x="148" y="17822"/>
                  </a:lnTo>
                  <a:lnTo>
                    <a:pt x="409" y="18166"/>
                  </a:lnTo>
                  <a:lnTo>
                    <a:pt x="717" y="18165"/>
                  </a:lnTo>
                  <a:lnTo>
                    <a:pt x="954" y="18364"/>
                  </a:lnTo>
                  <a:lnTo>
                    <a:pt x="1202" y="18316"/>
                  </a:lnTo>
                  <a:lnTo>
                    <a:pt x="1439" y="18047"/>
                  </a:lnTo>
                  <a:lnTo>
                    <a:pt x="1767" y="17901"/>
                  </a:lnTo>
                  <a:lnTo>
                    <a:pt x="2169" y="17804"/>
                  </a:lnTo>
                  <a:lnTo>
                    <a:pt x="2597" y="17535"/>
                  </a:lnTo>
                  <a:lnTo>
                    <a:pt x="2792" y="17454"/>
                  </a:lnTo>
                  <a:lnTo>
                    <a:pt x="3078" y="17389"/>
                  </a:lnTo>
                  <a:lnTo>
                    <a:pt x="3572" y="17373"/>
                  </a:lnTo>
                  <a:lnTo>
                    <a:pt x="3783" y="17308"/>
                  </a:lnTo>
                  <a:lnTo>
                    <a:pt x="4016" y="17260"/>
                  </a:lnTo>
                  <a:lnTo>
                    <a:pt x="4277" y="17211"/>
                  </a:lnTo>
                  <a:cubicBezTo>
                    <a:pt x="4368" y="17227"/>
                    <a:pt x="4461" y="17227"/>
                    <a:pt x="4552" y="17211"/>
                  </a:cubicBezTo>
                  <a:cubicBezTo>
                    <a:pt x="4646" y="17194"/>
                    <a:pt x="4738" y="17159"/>
                    <a:pt x="4825" y="17108"/>
                  </a:cubicBezTo>
                  <a:lnTo>
                    <a:pt x="5149" y="16802"/>
                  </a:lnTo>
                  <a:lnTo>
                    <a:pt x="5410" y="16608"/>
                  </a:lnTo>
                  <a:lnTo>
                    <a:pt x="5793" y="16451"/>
                  </a:lnTo>
                  <a:lnTo>
                    <a:pt x="6066" y="16339"/>
                  </a:lnTo>
                  <a:lnTo>
                    <a:pt x="6419" y="16236"/>
                  </a:lnTo>
                  <a:lnTo>
                    <a:pt x="7073" y="16033"/>
                  </a:lnTo>
                  <a:lnTo>
                    <a:pt x="7555" y="15812"/>
                  </a:lnTo>
                  <a:lnTo>
                    <a:pt x="7812" y="15893"/>
                  </a:lnTo>
                  <a:lnTo>
                    <a:pt x="8156" y="15925"/>
                  </a:lnTo>
                  <a:lnTo>
                    <a:pt x="8413" y="15764"/>
                  </a:lnTo>
                  <a:cubicBezTo>
                    <a:pt x="8514" y="15721"/>
                    <a:pt x="8618" y="15693"/>
                    <a:pt x="8724" y="15683"/>
                  </a:cubicBezTo>
                  <a:cubicBezTo>
                    <a:pt x="8850" y="15670"/>
                    <a:pt x="8977" y="15680"/>
                    <a:pt x="9101" y="15714"/>
                  </a:cubicBezTo>
                  <a:lnTo>
                    <a:pt x="9309" y="15811"/>
                  </a:lnTo>
                  <a:lnTo>
                    <a:pt x="9665" y="16129"/>
                  </a:lnTo>
                  <a:lnTo>
                    <a:pt x="9802" y="16323"/>
                  </a:lnTo>
                  <a:lnTo>
                    <a:pt x="10014" y="16431"/>
                  </a:lnTo>
                  <a:cubicBezTo>
                    <a:pt x="10054" y="16535"/>
                    <a:pt x="10087" y="16643"/>
                    <a:pt x="10112" y="16754"/>
                  </a:cubicBezTo>
                  <a:cubicBezTo>
                    <a:pt x="10146" y="16901"/>
                    <a:pt x="10167" y="17052"/>
                    <a:pt x="10174" y="17205"/>
                  </a:cubicBezTo>
                  <a:lnTo>
                    <a:pt x="10302" y="17344"/>
                  </a:lnTo>
                  <a:lnTo>
                    <a:pt x="10401" y="17554"/>
                  </a:lnTo>
                  <a:lnTo>
                    <a:pt x="10451" y="17811"/>
                  </a:lnTo>
                  <a:lnTo>
                    <a:pt x="10476" y="18064"/>
                  </a:lnTo>
                  <a:lnTo>
                    <a:pt x="10688" y="18145"/>
                  </a:lnTo>
                  <a:lnTo>
                    <a:pt x="10787" y="17837"/>
                  </a:lnTo>
                  <a:lnTo>
                    <a:pt x="10899" y="17643"/>
                  </a:lnTo>
                  <a:lnTo>
                    <a:pt x="11281" y="17568"/>
                  </a:lnTo>
                  <a:lnTo>
                    <a:pt x="11514" y="17330"/>
                  </a:lnTo>
                  <a:lnTo>
                    <a:pt x="11659" y="16996"/>
                  </a:lnTo>
                  <a:lnTo>
                    <a:pt x="11759" y="16727"/>
                  </a:lnTo>
                  <a:lnTo>
                    <a:pt x="11983" y="16727"/>
                  </a:lnTo>
                  <a:lnTo>
                    <a:pt x="12102" y="16986"/>
                  </a:lnTo>
                  <a:lnTo>
                    <a:pt x="12069" y="17282"/>
                  </a:lnTo>
                  <a:lnTo>
                    <a:pt x="11874" y="17524"/>
                  </a:lnTo>
                  <a:lnTo>
                    <a:pt x="11654" y="17767"/>
                  </a:lnTo>
                  <a:lnTo>
                    <a:pt x="11510" y="17972"/>
                  </a:lnTo>
                  <a:lnTo>
                    <a:pt x="11473" y="18225"/>
                  </a:lnTo>
                  <a:lnTo>
                    <a:pt x="11274" y="18418"/>
                  </a:lnTo>
                  <a:lnTo>
                    <a:pt x="11125" y="18467"/>
                  </a:lnTo>
                  <a:lnTo>
                    <a:pt x="11188" y="18634"/>
                  </a:lnTo>
                  <a:lnTo>
                    <a:pt x="11336" y="18634"/>
                  </a:lnTo>
                  <a:lnTo>
                    <a:pt x="11507" y="18537"/>
                  </a:lnTo>
                  <a:lnTo>
                    <a:pt x="11648" y="18208"/>
                  </a:lnTo>
                  <a:lnTo>
                    <a:pt x="11859" y="17966"/>
                  </a:lnTo>
                  <a:lnTo>
                    <a:pt x="11982" y="17997"/>
                  </a:lnTo>
                  <a:lnTo>
                    <a:pt x="12028" y="18234"/>
                  </a:lnTo>
                  <a:lnTo>
                    <a:pt x="12003" y="18557"/>
                  </a:lnTo>
                  <a:lnTo>
                    <a:pt x="11990" y="18719"/>
                  </a:lnTo>
                  <a:lnTo>
                    <a:pt x="12143" y="18913"/>
                  </a:lnTo>
                  <a:lnTo>
                    <a:pt x="12243" y="19251"/>
                  </a:lnTo>
                  <a:lnTo>
                    <a:pt x="12130" y="19639"/>
                  </a:lnTo>
                  <a:lnTo>
                    <a:pt x="12031" y="19855"/>
                  </a:lnTo>
                  <a:lnTo>
                    <a:pt x="11944" y="20096"/>
                  </a:lnTo>
                  <a:lnTo>
                    <a:pt x="12193" y="20469"/>
                  </a:lnTo>
                  <a:lnTo>
                    <a:pt x="12600" y="20760"/>
                  </a:lnTo>
                  <a:lnTo>
                    <a:pt x="12912" y="21094"/>
                  </a:lnTo>
                  <a:lnTo>
                    <a:pt x="13119" y="21142"/>
                  </a:lnTo>
                  <a:lnTo>
                    <a:pt x="13372" y="21202"/>
                  </a:lnTo>
                  <a:cubicBezTo>
                    <a:pt x="13427" y="21195"/>
                    <a:pt x="13481" y="21173"/>
                    <a:pt x="13529" y="21138"/>
                  </a:cubicBezTo>
                  <a:cubicBezTo>
                    <a:pt x="13608" y="21080"/>
                    <a:pt x="13669" y="20988"/>
                    <a:pt x="13703" y="20879"/>
                  </a:cubicBezTo>
                  <a:lnTo>
                    <a:pt x="13911" y="20820"/>
                  </a:lnTo>
                  <a:lnTo>
                    <a:pt x="14131" y="20831"/>
                  </a:lnTo>
                  <a:lnTo>
                    <a:pt x="14366" y="21000"/>
                  </a:lnTo>
                  <a:lnTo>
                    <a:pt x="14503" y="21323"/>
                  </a:lnTo>
                  <a:cubicBezTo>
                    <a:pt x="14516" y="21451"/>
                    <a:pt x="14589" y="21554"/>
                    <a:pt x="14686" y="21581"/>
                  </a:cubicBezTo>
                  <a:cubicBezTo>
                    <a:pt x="14755" y="21600"/>
                    <a:pt x="14827" y="21576"/>
                    <a:pt x="14881" y="21516"/>
                  </a:cubicBezTo>
                  <a:lnTo>
                    <a:pt x="15117" y="21042"/>
                  </a:lnTo>
                  <a:cubicBezTo>
                    <a:pt x="15153" y="20962"/>
                    <a:pt x="15199" y="20891"/>
                    <a:pt x="15254" y="20832"/>
                  </a:cubicBezTo>
                  <a:cubicBezTo>
                    <a:pt x="15361" y="20715"/>
                    <a:pt x="15495" y="20649"/>
                    <a:pt x="15635" y="20643"/>
                  </a:cubicBezTo>
                  <a:lnTo>
                    <a:pt x="15896" y="20578"/>
                  </a:lnTo>
                  <a:lnTo>
                    <a:pt x="16108" y="20578"/>
                  </a:lnTo>
                  <a:lnTo>
                    <a:pt x="16320" y="20708"/>
                  </a:lnTo>
                  <a:cubicBezTo>
                    <a:pt x="16368" y="20765"/>
                    <a:pt x="16429" y="20799"/>
                    <a:pt x="16494" y="20805"/>
                  </a:cubicBezTo>
                  <a:cubicBezTo>
                    <a:pt x="16587" y="20814"/>
                    <a:pt x="16677" y="20766"/>
                    <a:pt x="16739" y="20676"/>
                  </a:cubicBezTo>
                  <a:lnTo>
                    <a:pt x="16988" y="20110"/>
                  </a:lnTo>
                  <a:lnTo>
                    <a:pt x="17250" y="19592"/>
                  </a:lnTo>
                  <a:cubicBezTo>
                    <a:pt x="17331" y="19471"/>
                    <a:pt x="17410" y="19347"/>
                    <a:pt x="17487" y="19220"/>
                  </a:cubicBezTo>
                  <a:cubicBezTo>
                    <a:pt x="17562" y="19095"/>
                    <a:pt x="17636" y="18967"/>
                    <a:pt x="17707" y="18837"/>
                  </a:cubicBezTo>
                  <a:lnTo>
                    <a:pt x="18063" y="18805"/>
                  </a:lnTo>
                  <a:lnTo>
                    <a:pt x="18151" y="18627"/>
                  </a:lnTo>
                  <a:lnTo>
                    <a:pt x="18358" y="18341"/>
                  </a:lnTo>
                  <a:lnTo>
                    <a:pt x="18454" y="18136"/>
                  </a:lnTo>
                  <a:lnTo>
                    <a:pt x="18691" y="17893"/>
                  </a:lnTo>
                  <a:cubicBezTo>
                    <a:pt x="18717" y="17817"/>
                    <a:pt x="18736" y="17738"/>
                    <a:pt x="18748" y="17656"/>
                  </a:cubicBezTo>
                  <a:cubicBezTo>
                    <a:pt x="18765" y="17543"/>
                    <a:pt x="18767" y="17423"/>
                    <a:pt x="18810" y="17321"/>
                  </a:cubicBezTo>
                  <a:cubicBezTo>
                    <a:pt x="18860" y="17203"/>
                    <a:pt x="18955" y="17129"/>
                    <a:pt x="19059" y="17127"/>
                  </a:cubicBezTo>
                  <a:lnTo>
                    <a:pt x="19413" y="16924"/>
                  </a:lnTo>
                  <a:lnTo>
                    <a:pt x="19787" y="16655"/>
                  </a:lnTo>
                  <a:lnTo>
                    <a:pt x="19874" y="16445"/>
                  </a:lnTo>
                  <a:lnTo>
                    <a:pt x="20023" y="16251"/>
                  </a:lnTo>
                  <a:lnTo>
                    <a:pt x="20285" y="15880"/>
                  </a:lnTo>
                  <a:lnTo>
                    <a:pt x="20451" y="15642"/>
                  </a:lnTo>
                  <a:lnTo>
                    <a:pt x="20476" y="15370"/>
                  </a:lnTo>
                  <a:cubicBezTo>
                    <a:pt x="20512" y="15250"/>
                    <a:pt x="20553" y="15133"/>
                    <a:pt x="20601" y="15020"/>
                  </a:cubicBezTo>
                  <a:cubicBezTo>
                    <a:pt x="20671" y="14852"/>
                    <a:pt x="20753" y="14693"/>
                    <a:pt x="20846" y="14545"/>
                  </a:cubicBezTo>
                  <a:cubicBezTo>
                    <a:pt x="20913" y="14433"/>
                    <a:pt x="20979" y="14320"/>
                    <a:pt x="21045" y="14206"/>
                  </a:cubicBezTo>
                  <a:cubicBezTo>
                    <a:pt x="21111" y="14091"/>
                    <a:pt x="21176" y="13976"/>
                    <a:pt x="21240" y="13860"/>
                  </a:cubicBezTo>
                  <a:cubicBezTo>
                    <a:pt x="21281" y="13719"/>
                    <a:pt x="21310" y="13572"/>
                    <a:pt x="21327" y="13423"/>
                  </a:cubicBezTo>
                  <a:cubicBezTo>
                    <a:pt x="21345" y="13266"/>
                    <a:pt x="21349" y="13107"/>
                    <a:pt x="21340" y="12948"/>
                  </a:cubicBezTo>
                  <a:lnTo>
                    <a:pt x="21550" y="12563"/>
                  </a:lnTo>
                  <a:cubicBezTo>
                    <a:pt x="21536" y="12461"/>
                    <a:pt x="21532" y="12358"/>
                    <a:pt x="21538" y="12255"/>
                  </a:cubicBezTo>
                  <a:cubicBezTo>
                    <a:pt x="21545" y="12135"/>
                    <a:pt x="21566" y="12016"/>
                    <a:pt x="21600" y="11904"/>
                  </a:cubicBezTo>
                  <a:lnTo>
                    <a:pt x="21600" y="11340"/>
                  </a:lnTo>
                  <a:lnTo>
                    <a:pt x="21538" y="11038"/>
                  </a:lnTo>
                  <a:lnTo>
                    <a:pt x="21389" y="10617"/>
                  </a:lnTo>
                  <a:lnTo>
                    <a:pt x="21281" y="10240"/>
                  </a:lnTo>
                  <a:lnTo>
                    <a:pt x="21028" y="9986"/>
                  </a:lnTo>
                  <a:lnTo>
                    <a:pt x="20791" y="9581"/>
                  </a:lnTo>
                  <a:lnTo>
                    <a:pt x="20733" y="9333"/>
                  </a:lnTo>
                  <a:lnTo>
                    <a:pt x="20397" y="8721"/>
                  </a:lnTo>
                  <a:lnTo>
                    <a:pt x="20297" y="8091"/>
                  </a:lnTo>
                  <a:lnTo>
                    <a:pt x="20106" y="7525"/>
                  </a:lnTo>
                  <a:lnTo>
                    <a:pt x="19820" y="6996"/>
                  </a:lnTo>
                  <a:lnTo>
                    <a:pt x="19620" y="6527"/>
                  </a:lnTo>
                  <a:lnTo>
                    <a:pt x="19210" y="6155"/>
                  </a:lnTo>
                  <a:lnTo>
                    <a:pt x="18886" y="5767"/>
                  </a:lnTo>
                  <a:cubicBezTo>
                    <a:pt x="18800" y="5685"/>
                    <a:pt x="18761" y="5544"/>
                    <a:pt x="18786" y="5410"/>
                  </a:cubicBezTo>
                  <a:cubicBezTo>
                    <a:pt x="18811" y="5280"/>
                    <a:pt x="18892" y="5181"/>
                    <a:pt x="18994" y="5157"/>
                  </a:cubicBezTo>
                  <a:lnTo>
                    <a:pt x="19055" y="4833"/>
                  </a:lnTo>
                  <a:lnTo>
                    <a:pt x="19055" y="4472"/>
                  </a:lnTo>
                  <a:lnTo>
                    <a:pt x="19217" y="4028"/>
                  </a:lnTo>
                  <a:lnTo>
                    <a:pt x="19027" y="3743"/>
                  </a:lnTo>
                  <a:lnTo>
                    <a:pt x="18969" y="3459"/>
                  </a:lnTo>
                  <a:lnTo>
                    <a:pt x="18936" y="3040"/>
                  </a:lnTo>
                  <a:lnTo>
                    <a:pt x="18737" y="2634"/>
                  </a:lnTo>
                  <a:lnTo>
                    <a:pt x="18500" y="2250"/>
                  </a:lnTo>
                  <a:lnTo>
                    <a:pt x="18264" y="1878"/>
                  </a:lnTo>
                  <a:cubicBezTo>
                    <a:pt x="18190" y="1776"/>
                    <a:pt x="18127" y="1662"/>
                    <a:pt x="18077" y="1539"/>
                  </a:cubicBezTo>
                  <a:cubicBezTo>
                    <a:pt x="17997" y="1344"/>
                    <a:pt x="17951" y="1129"/>
                    <a:pt x="17940" y="908"/>
                  </a:cubicBezTo>
                  <a:lnTo>
                    <a:pt x="17870" y="312"/>
                  </a:lnTo>
                  <a:lnTo>
                    <a:pt x="17679" y="0"/>
                  </a:lnTo>
                  <a:lnTo>
                    <a:pt x="17497" y="117"/>
                  </a:lnTo>
                  <a:lnTo>
                    <a:pt x="17298" y="441"/>
                  </a:lnTo>
                  <a:lnTo>
                    <a:pt x="17198" y="989"/>
                  </a:lnTo>
                  <a:lnTo>
                    <a:pt x="17173" y="1475"/>
                  </a:lnTo>
                  <a:lnTo>
                    <a:pt x="17090" y="1927"/>
                  </a:lnTo>
                  <a:lnTo>
                    <a:pt x="17016" y="2271"/>
                  </a:lnTo>
                  <a:lnTo>
                    <a:pt x="17003" y="2864"/>
                  </a:lnTo>
                  <a:lnTo>
                    <a:pt x="17016" y="3290"/>
                  </a:lnTo>
                  <a:cubicBezTo>
                    <a:pt x="16998" y="3361"/>
                    <a:pt x="16974" y="3430"/>
                    <a:pt x="16945" y="3495"/>
                  </a:cubicBezTo>
                  <a:cubicBezTo>
                    <a:pt x="16886" y="3627"/>
                    <a:pt x="16805" y="3742"/>
                    <a:pt x="16709" y="3829"/>
                  </a:cubicBezTo>
                  <a:lnTo>
                    <a:pt x="16476" y="4223"/>
                  </a:lnTo>
                  <a:lnTo>
                    <a:pt x="16090" y="4596"/>
                  </a:lnTo>
                  <a:lnTo>
                    <a:pt x="16028" y="4804"/>
                  </a:lnTo>
                  <a:lnTo>
                    <a:pt x="15868" y="4980"/>
                  </a:lnTo>
                  <a:lnTo>
                    <a:pt x="15471" y="4872"/>
                  </a:lnTo>
                  <a:lnTo>
                    <a:pt x="15263" y="4420"/>
                  </a:lnTo>
                  <a:lnTo>
                    <a:pt x="14941" y="4258"/>
                  </a:lnTo>
                  <a:lnTo>
                    <a:pt x="14663" y="4053"/>
                  </a:lnTo>
                  <a:lnTo>
                    <a:pt x="14476" y="3794"/>
                  </a:lnTo>
                  <a:lnTo>
                    <a:pt x="14089" y="3470"/>
                  </a:lnTo>
                  <a:lnTo>
                    <a:pt x="13749" y="3330"/>
                  </a:lnTo>
                  <a:lnTo>
                    <a:pt x="13637" y="2925"/>
                  </a:lnTo>
                  <a:lnTo>
                    <a:pt x="13637" y="2180"/>
                  </a:lnTo>
                  <a:lnTo>
                    <a:pt x="13757" y="1862"/>
                  </a:lnTo>
                  <a:lnTo>
                    <a:pt x="13894" y="1668"/>
                  </a:lnTo>
                  <a:lnTo>
                    <a:pt x="14093" y="1328"/>
                  </a:lnTo>
                  <a:lnTo>
                    <a:pt x="14301" y="1036"/>
                  </a:lnTo>
                  <a:lnTo>
                    <a:pt x="14077" y="799"/>
                  </a:lnTo>
                  <a:lnTo>
                    <a:pt x="13671" y="626"/>
                  </a:lnTo>
                  <a:lnTo>
                    <a:pt x="13551" y="529"/>
                  </a:lnTo>
                  <a:lnTo>
                    <a:pt x="12919" y="457"/>
                  </a:lnTo>
                  <a:lnTo>
                    <a:pt x="12492" y="155"/>
                  </a:lnTo>
                  <a:lnTo>
                    <a:pt x="12131" y="495"/>
                  </a:lnTo>
                  <a:lnTo>
                    <a:pt x="11861" y="716"/>
                  </a:lnTo>
                  <a:lnTo>
                    <a:pt x="11605" y="888"/>
                  </a:lnTo>
                  <a:lnTo>
                    <a:pt x="11058" y="1017"/>
                  </a:lnTo>
                  <a:lnTo>
                    <a:pt x="10851" y="1226"/>
                  </a:lnTo>
                  <a:lnTo>
                    <a:pt x="10702" y="1608"/>
                  </a:lnTo>
                  <a:lnTo>
                    <a:pt x="10603" y="1737"/>
                  </a:lnTo>
                  <a:lnTo>
                    <a:pt x="10416" y="1964"/>
                  </a:lnTo>
                  <a:lnTo>
                    <a:pt x="10428" y="2286"/>
                  </a:lnTo>
                  <a:lnTo>
                    <a:pt x="10594" y="2561"/>
                  </a:lnTo>
                  <a:lnTo>
                    <a:pt x="10478" y="2739"/>
                  </a:lnTo>
                  <a:lnTo>
                    <a:pt x="10159" y="3090"/>
                  </a:lnTo>
                  <a:cubicBezTo>
                    <a:pt x="10067" y="3086"/>
                    <a:pt x="9978" y="3052"/>
                    <a:pt x="9899" y="2993"/>
                  </a:cubicBezTo>
                  <a:cubicBezTo>
                    <a:pt x="9767" y="2894"/>
                    <a:pt x="9671" y="2731"/>
                    <a:pt x="9633" y="2540"/>
                  </a:cubicBezTo>
                  <a:lnTo>
                    <a:pt x="9197" y="2329"/>
                  </a:lnTo>
                  <a:cubicBezTo>
                    <a:pt x="9181" y="2199"/>
                    <a:pt x="9118" y="2087"/>
                    <a:pt x="9027" y="2027"/>
                  </a:cubicBezTo>
                  <a:cubicBezTo>
                    <a:pt x="8838" y="1903"/>
                    <a:pt x="8608" y="2025"/>
                    <a:pt x="8541" y="2286"/>
                  </a:cubicBezTo>
                  <a:lnTo>
                    <a:pt x="8250" y="2599"/>
                  </a:lnTo>
                  <a:cubicBezTo>
                    <a:pt x="8194" y="2686"/>
                    <a:pt x="8137" y="2772"/>
                    <a:pt x="8080" y="2857"/>
                  </a:cubicBezTo>
                  <a:cubicBezTo>
                    <a:pt x="7985" y="2999"/>
                    <a:pt x="7888" y="3139"/>
                    <a:pt x="7790" y="3277"/>
                  </a:cubicBezTo>
                  <a:lnTo>
                    <a:pt x="7467" y="3599"/>
                  </a:lnTo>
                  <a:lnTo>
                    <a:pt x="7293" y="3739"/>
                  </a:lnTo>
                  <a:lnTo>
                    <a:pt x="6986" y="3783"/>
                  </a:lnTo>
                  <a:lnTo>
                    <a:pt x="6987" y="4025"/>
                  </a:lnTo>
                  <a:lnTo>
                    <a:pt x="7057" y="4165"/>
                  </a:lnTo>
                  <a:lnTo>
                    <a:pt x="7119" y="4374"/>
                  </a:lnTo>
                  <a:lnTo>
                    <a:pt x="7007" y="4628"/>
                  </a:lnTo>
                  <a:cubicBezTo>
                    <a:pt x="7006" y="4750"/>
                    <a:pt x="6931" y="4851"/>
                    <a:pt x="6836" y="4854"/>
                  </a:cubicBezTo>
                  <a:cubicBezTo>
                    <a:pt x="6738" y="4858"/>
                    <a:pt x="6655" y="4756"/>
                    <a:pt x="6654" y="4628"/>
                  </a:cubicBezTo>
                  <a:lnTo>
                    <a:pt x="6421" y="4466"/>
                  </a:lnTo>
                  <a:lnTo>
                    <a:pt x="6280" y="4719"/>
                  </a:lnTo>
                  <a:lnTo>
                    <a:pt x="6160" y="4924"/>
                  </a:lnTo>
                  <a:lnTo>
                    <a:pt x="5954" y="535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42" name="ïŝḷïḓé">
              <a:extLst>
                <a:ext uri="{FF2B5EF4-FFF2-40B4-BE49-F238E27FC236}">
                  <a16:creationId xmlns:a16="http://schemas.microsoft.com/office/drawing/2014/main" id="{BB86A85B-94B7-41DD-BA8D-E032E6DF8326}"/>
                </a:ext>
              </a:extLst>
            </p:cNvPr>
            <p:cNvSpPr/>
            <p:nvPr/>
          </p:nvSpPr>
          <p:spPr>
            <a:xfrm>
              <a:off x="10006023" y="5571304"/>
              <a:ext cx="123850" cy="1024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734" y="1038"/>
                  </a:moveTo>
                  <a:lnTo>
                    <a:pt x="5578" y="0"/>
                  </a:lnTo>
                  <a:lnTo>
                    <a:pt x="6344" y="2077"/>
                  </a:lnTo>
                  <a:lnTo>
                    <a:pt x="8057" y="3507"/>
                  </a:lnTo>
                  <a:lnTo>
                    <a:pt x="11245" y="5736"/>
                  </a:lnTo>
                  <a:lnTo>
                    <a:pt x="13944" y="4944"/>
                  </a:lnTo>
                  <a:lnTo>
                    <a:pt x="15669" y="2555"/>
                  </a:lnTo>
                  <a:lnTo>
                    <a:pt x="17659" y="2290"/>
                  </a:lnTo>
                  <a:lnTo>
                    <a:pt x="20048" y="2290"/>
                  </a:lnTo>
                  <a:lnTo>
                    <a:pt x="21600" y="3886"/>
                  </a:lnTo>
                  <a:lnTo>
                    <a:pt x="21073" y="6102"/>
                  </a:lnTo>
                  <a:lnTo>
                    <a:pt x="19449" y="6901"/>
                  </a:lnTo>
                  <a:lnTo>
                    <a:pt x="18263" y="8165"/>
                  </a:lnTo>
                  <a:lnTo>
                    <a:pt x="18130" y="10554"/>
                  </a:lnTo>
                  <a:lnTo>
                    <a:pt x="16494" y="13003"/>
                  </a:lnTo>
                  <a:lnTo>
                    <a:pt x="14149" y="14540"/>
                  </a:lnTo>
                  <a:lnTo>
                    <a:pt x="10318" y="16118"/>
                  </a:lnTo>
                  <a:lnTo>
                    <a:pt x="8234" y="17714"/>
                  </a:lnTo>
                  <a:lnTo>
                    <a:pt x="6954" y="19365"/>
                  </a:lnTo>
                  <a:lnTo>
                    <a:pt x="6111" y="21121"/>
                  </a:lnTo>
                  <a:lnTo>
                    <a:pt x="4171" y="21600"/>
                  </a:lnTo>
                  <a:lnTo>
                    <a:pt x="3062" y="19311"/>
                  </a:lnTo>
                  <a:lnTo>
                    <a:pt x="1521" y="19311"/>
                  </a:lnTo>
                  <a:lnTo>
                    <a:pt x="0" y="19258"/>
                  </a:lnTo>
                  <a:lnTo>
                    <a:pt x="667" y="16130"/>
                  </a:lnTo>
                  <a:lnTo>
                    <a:pt x="2456" y="13422"/>
                  </a:lnTo>
                  <a:lnTo>
                    <a:pt x="2806" y="11838"/>
                  </a:lnTo>
                  <a:lnTo>
                    <a:pt x="2673" y="8557"/>
                  </a:lnTo>
                  <a:lnTo>
                    <a:pt x="2673" y="6056"/>
                  </a:lnTo>
                  <a:lnTo>
                    <a:pt x="2190" y="4678"/>
                  </a:lnTo>
                  <a:lnTo>
                    <a:pt x="2734" y="103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43" name="işľîḓê">
              <a:extLst>
                <a:ext uri="{FF2B5EF4-FFF2-40B4-BE49-F238E27FC236}">
                  <a16:creationId xmlns:a16="http://schemas.microsoft.com/office/drawing/2014/main" id="{EE4E1B5F-F528-4D87-8AAE-393933F5DFBD}"/>
                </a:ext>
              </a:extLst>
            </p:cNvPr>
            <p:cNvSpPr/>
            <p:nvPr/>
          </p:nvSpPr>
          <p:spPr>
            <a:xfrm>
              <a:off x="10572355" y="5565246"/>
              <a:ext cx="336841" cy="2105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44" extrusionOk="0">
                  <a:moveTo>
                    <a:pt x="2147" y="16913"/>
                  </a:moveTo>
                  <a:lnTo>
                    <a:pt x="1380" y="17278"/>
                  </a:lnTo>
                  <a:lnTo>
                    <a:pt x="508" y="19015"/>
                  </a:lnTo>
                  <a:lnTo>
                    <a:pt x="0" y="20356"/>
                  </a:lnTo>
                  <a:lnTo>
                    <a:pt x="1241" y="21466"/>
                  </a:lnTo>
                  <a:lnTo>
                    <a:pt x="2749" y="21544"/>
                  </a:lnTo>
                  <a:lnTo>
                    <a:pt x="5044" y="21466"/>
                  </a:lnTo>
                  <a:lnTo>
                    <a:pt x="6332" y="20691"/>
                  </a:lnTo>
                  <a:lnTo>
                    <a:pt x="8044" y="18990"/>
                  </a:lnTo>
                  <a:lnTo>
                    <a:pt x="9316" y="17905"/>
                  </a:lnTo>
                  <a:lnTo>
                    <a:pt x="10246" y="16587"/>
                  </a:lnTo>
                  <a:lnTo>
                    <a:pt x="11501" y="14151"/>
                  </a:lnTo>
                  <a:cubicBezTo>
                    <a:pt x="11635" y="13828"/>
                    <a:pt x="11800" y="13540"/>
                    <a:pt x="11990" y="13298"/>
                  </a:cubicBezTo>
                  <a:cubicBezTo>
                    <a:pt x="12464" y="12694"/>
                    <a:pt x="13064" y="12399"/>
                    <a:pt x="13670" y="12472"/>
                  </a:cubicBezTo>
                  <a:lnTo>
                    <a:pt x="14548" y="12562"/>
                  </a:lnTo>
                  <a:lnTo>
                    <a:pt x="15233" y="12097"/>
                  </a:lnTo>
                  <a:lnTo>
                    <a:pt x="15961" y="11558"/>
                  </a:lnTo>
                  <a:lnTo>
                    <a:pt x="16010" y="10246"/>
                  </a:lnTo>
                  <a:lnTo>
                    <a:pt x="17004" y="9130"/>
                  </a:lnTo>
                  <a:lnTo>
                    <a:pt x="18541" y="7346"/>
                  </a:lnTo>
                  <a:lnTo>
                    <a:pt x="20577" y="6490"/>
                  </a:lnTo>
                  <a:lnTo>
                    <a:pt x="21600" y="5415"/>
                  </a:lnTo>
                  <a:lnTo>
                    <a:pt x="21600" y="4405"/>
                  </a:lnTo>
                  <a:lnTo>
                    <a:pt x="21306" y="2773"/>
                  </a:lnTo>
                  <a:lnTo>
                    <a:pt x="20866" y="1007"/>
                  </a:lnTo>
                  <a:cubicBezTo>
                    <a:pt x="20843" y="468"/>
                    <a:pt x="20572" y="40"/>
                    <a:pt x="20232" y="3"/>
                  </a:cubicBezTo>
                  <a:cubicBezTo>
                    <a:pt x="19700" y="-56"/>
                    <a:pt x="19304" y="769"/>
                    <a:pt x="19482" y="1565"/>
                  </a:cubicBezTo>
                  <a:lnTo>
                    <a:pt x="18669" y="2426"/>
                  </a:lnTo>
                  <a:lnTo>
                    <a:pt x="17564" y="3640"/>
                  </a:lnTo>
                  <a:lnTo>
                    <a:pt x="17108" y="4363"/>
                  </a:lnTo>
                  <a:cubicBezTo>
                    <a:pt x="16812" y="4575"/>
                    <a:pt x="16538" y="4853"/>
                    <a:pt x="16293" y="5190"/>
                  </a:cubicBezTo>
                  <a:cubicBezTo>
                    <a:pt x="15810" y="5854"/>
                    <a:pt x="15457" y="6721"/>
                    <a:pt x="14988" y="7408"/>
                  </a:cubicBezTo>
                  <a:cubicBezTo>
                    <a:pt x="14591" y="7991"/>
                    <a:pt x="14119" y="8431"/>
                    <a:pt x="13604" y="8700"/>
                  </a:cubicBezTo>
                  <a:lnTo>
                    <a:pt x="11698" y="9704"/>
                  </a:lnTo>
                  <a:lnTo>
                    <a:pt x="9302" y="11254"/>
                  </a:lnTo>
                  <a:cubicBezTo>
                    <a:pt x="8906" y="11491"/>
                    <a:pt x="8515" y="11748"/>
                    <a:pt x="8130" y="12026"/>
                  </a:cubicBezTo>
                  <a:cubicBezTo>
                    <a:pt x="7579" y="12424"/>
                    <a:pt x="7040" y="12864"/>
                    <a:pt x="6515" y="13344"/>
                  </a:cubicBezTo>
                  <a:cubicBezTo>
                    <a:pt x="6085" y="13632"/>
                    <a:pt x="5652" y="13908"/>
                    <a:pt x="5215" y="14170"/>
                  </a:cubicBezTo>
                  <a:cubicBezTo>
                    <a:pt x="4730" y="14462"/>
                    <a:pt x="4240" y="14738"/>
                    <a:pt x="3748" y="14997"/>
                  </a:cubicBezTo>
                  <a:lnTo>
                    <a:pt x="2147" y="1691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44" name="ï$ḷide">
              <a:extLst>
                <a:ext uri="{FF2B5EF4-FFF2-40B4-BE49-F238E27FC236}">
                  <a16:creationId xmlns:a16="http://schemas.microsoft.com/office/drawing/2014/main" id="{5D6957A9-6403-45E6-BD48-4E0928954ACE}"/>
                </a:ext>
              </a:extLst>
            </p:cNvPr>
            <p:cNvSpPr/>
            <p:nvPr/>
          </p:nvSpPr>
          <p:spPr>
            <a:xfrm>
              <a:off x="10955509" y="5355572"/>
              <a:ext cx="164775" cy="2510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019" y="321"/>
                  </a:moveTo>
                  <a:lnTo>
                    <a:pt x="11636" y="0"/>
                  </a:lnTo>
                  <a:lnTo>
                    <a:pt x="11352" y="2568"/>
                  </a:lnTo>
                  <a:lnTo>
                    <a:pt x="11383" y="3806"/>
                  </a:lnTo>
                  <a:lnTo>
                    <a:pt x="12079" y="5151"/>
                  </a:lnTo>
                  <a:lnTo>
                    <a:pt x="12375" y="6967"/>
                  </a:lnTo>
                  <a:cubicBezTo>
                    <a:pt x="12672" y="7601"/>
                    <a:pt x="12637" y="8281"/>
                    <a:pt x="12275" y="8900"/>
                  </a:cubicBezTo>
                  <a:cubicBezTo>
                    <a:pt x="12047" y="9291"/>
                    <a:pt x="11695" y="9645"/>
                    <a:pt x="11242" y="9941"/>
                  </a:cubicBezTo>
                  <a:lnTo>
                    <a:pt x="10432" y="11157"/>
                  </a:lnTo>
                  <a:lnTo>
                    <a:pt x="7384" y="11982"/>
                  </a:lnTo>
                  <a:lnTo>
                    <a:pt x="4025" y="12743"/>
                  </a:lnTo>
                  <a:lnTo>
                    <a:pt x="2560" y="14347"/>
                  </a:lnTo>
                  <a:lnTo>
                    <a:pt x="2552" y="16107"/>
                  </a:lnTo>
                  <a:lnTo>
                    <a:pt x="3355" y="17541"/>
                  </a:lnTo>
                  <a:lnTo>
                    <a:pt x="1955" y="19191"/>
                  </a:lnTo>
                  <a:lnTo>
                    <a:pt x="116" y="19974"/>
                  </a:lnTo>
                  <a:lnTo>
                    <a:pt x="0" y="20821"/>
                  </a:lnTo>
                  <a:lnTo>
                    <a:pt x="1421" y="21600"/>
                  </a:lnTo>
                  <a:lnTo>
                    <a:pt x="3317" y="20948"/>
                  </a:lnTo>
                  <a:lnTo>
                    <a:pt x="5646" y="19126"/>
                  </a:lnTo>
                  <a:cubicBezTo>
                    <a:pt x="6124" y="18808"/>
                    <a:pt x="6661" y="18530"/>
                    <a:pt x="7246" y="18301"/>
                  </a:cubicBezTo>
                  <a:cubicBezTo>
                    <a:pt x="7999" y="18006"/>
                    <a:pt x="8821" y="17793"/>
                    <a:pt x="9679" y="17671"/>
                  </a:cubicBezTo>
                  <a:cubicBezTo>
                    <a:pt x="10238" y="17511"/>
                    <a:pt x="10792" y="17345"/>
                    <a:pt x="11342" y="17174"/>
                  </a:cubicBezTo>
                  <a:cubicBezTo>
                    <a:pt x="12241" y="16894"/>
                    <a:pt x="13139" y="16593"/>
                    <a:pt x="13842" y="16131"/>
                  </a:cubicBezTo>
                  <a:cubicBezTo>
                    <a:pt x="14311" y="15823"/>
                    <a:pt x="14674" y="15454"/>
                    <a:pt x="14908" y="15048"/>
                  </a:cubicBezTo>
                  <a:cubicBezTo>
                    <a:pt x="15071" y="14768"/>
                    <a:pt x="15345" y="14521"/>
                    <a:pt x="15704" y="14334"/>
                  </a:cubicBezTo>
                  <a:cubicBezTo>
                    <a:pt x="16529" y="13904"/>
                    <a:pt x="17653" y="13847"/>
                    <a:pt x="18567" y="13508"/>
                  </a:cubicBezTo>
                  <a:cubicBezTo>
                    <a:pt x="19153" y="13291"/>
                    <a:pt x="19628" y="12966"/>
                    <a:pt x="19933" y="12574"/>
                  </a:cubicBezTo>
                  <a:lnTo>
                    <a:pt x="21100" y="11358"/>
                  </a:lnTo>
                  <a:lnTo>
                    <a:pt x="21600" y="10578"/>
                  </a:lnTo>
                  <a:lnTo>
                    <a:pt x="19804" y="10386"/>
                  </a:lnTo>
                  <a:lnTo>
                    <a:pt x="18624" y="10060"/>
                  </a:lnTo>
                  <a:lnTo>
                    <a:pt x="17125" y="9017"/>
                  </a:lnTo>
                  <a:lnTo>
                    <a:pt x="14529" y="7584"/>
                  </a:lnTo>
                  <a:cubicBezTo>
                    <a:pt x="14314" y="7294"/>
                    <a:pt x="14124" y="6997"/>
                    <a:pt x="13962" y="6693"/>
                  </a:cubicBezTo>
                  <a:cubicBezTo>
                    <a:pt x="13643" y="6095"/>
                    <a:pt x="13431" y="5476"/>
                    <a:pt x="13329" y="4847"/>
                  </a:cubicBezTo>
                  <a:lnTo>
                    <a:pt x="14325" y="3524"/>
                  </a:lnTo>
                  <a:lnTo>
                    <a:pt x="14325" y="1808"/>
                  </a:lnTo>
                  <a:lnTo>
                    <a:pt x="13019" y="32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45" name="iŝľíḋê">
              <a:extLst>
                <a:ext uri="{FF2B5EF4-FFF2-40B4-BE49-F238E27FC236}">
                  <a16:creationId xmlns:a16="http://schemas.microsoft.com/office/drawing/2014/main" id="{8D0C830E-8888-439C-B938-9E15221108D6}"/>
                </a:ext>
              </a:extLst>
            </p:cNvPr>
            <p:cNvSpPr/>
            <p:nvPr/>
          </p:nvSpPr>
          <p:spPr>
            <a:xfrm>
              <a:off x="10967412" y="5132660"/>
              <a:ext cx="16360" cy="283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518" y="240"/>
                  </a:moveTo>
                  <a:lnTo>
                    <a:pt x="21579" y="0"/>
                  </a:lnTo>
                  <a:lnTo>
                    <a:pt x="21600" y="11228"/>
                  </a:lnTo>
                  <a:lnTo>
                    <a:pt x="15549" y="21600"/>
                  </a:lnTo>
                  <a:lnTo>
                    <a:pt x="2290" y="19891"/>
                  </a:lnTo>
                  <a:lnTo>
                    <a:pt x="0" y="10674"/>
                  </a:lnTo>
                  <a:lnTo>
                    <a:pt x="7518" y="24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46" name="ïṥḷïḓé">
              <a:extLst>
                <a:ext uri="{FF2B5EF4-FFF2-40B4-BE49-F238E27FC236}">
                  <a16:creationId xmlns:a16="http://schemas.microsoft.com/office/drawing/2014/main" id="{7DA8FCC7-171D-48B5-90F5-B53EDC726488}"/>
                </a:ext>
              </a:extLst>
            </p:cNvPr>
            <p:cNvSpPr/>
            <p:nvPr/>
          </p:nvSpPr>
          <p:spPr>
            <a:xfrm>
              <a:off x="10931870" y="4777460"/>
              <a:ext cx="105002" cy="12995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266" y="0"/>
                  </a:moveTo>
                  <a:lnTo>
                    <a:pt x="5698" y="3526"/>
                  </a:lnTo>
                  <a:lnTo>
                    <a:pt x="8576" y="7970"/>
                  </a:lnTo>
                  <a:lnTo>
                    <a:pt x="9046" y="10950"/>
                  </a:lnTo>
                  <a:lnTo>
                    <a:pt x="12812" y="12581"/>
                  </a:lnTo>
                  <a:lnTo>
                    <a:pt x="16578" y="14974"/>
                  </a:lnTo>
                  <a:lnTo>
                    <a:pt x="21600" y="18247"/>
                  </a:lnTo>
                  <a:lnTo>
                    <a:pt x="21286" y="21600"/>
                  </a:lnTo>
                  <a:lnTo>
                    <a:pt x="18775" y="21264"/>
                  </a:lnTo>
                  <a:lnTo>
                    <a:pt x="14754" y="16779"/>
                  </a:lnTo>
                  <a:lnTo>
                    <a:pt x="12093" y="15393"/>
                  </a:lnTo>
                  <a:cubicBezTo>
                    <a:pt x="11092" y="15033"/>
                    <a:pt x="10116" y="14628"/>
                    <a:pt x="9170" y="14182"/>
                  </a:cubicBezTo>
                  <a:cubicBezTo>
                    <a:pt x="8123" y="13687"/>
                    <a:pt x="7114" y="13142"/>
                    <a:pt x="6149" y="12550"/>
                  </a:cubicBezTo>
                  <a:lnTo>
                    <a:pt x="5208" y="9024"/>
                  </a:lnTo>
                  <a:lnTo>
                    <a:pt x="3272" y="6968"/>
                  </a:lnTo>
                  <a:lnTo>
                    <a:pt x="467" y="3584"/>
                  </a:lnTo>
                  <a:lnTo>
                    <a:pt x="0" y="1873"/>
                  </a:lnTo>
                  <a:lnTo>
                    <a:pt x="226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47" name="islíḋe">
              <a:extLst>
                <a:ext uri="{FF2B5EF4-FFF2-40B4-BE49-F238E27FC236}">
                  <a16:creationId xmlns:a16="http://schemas.microsoft.com/office/drawing/2014/main" id="{8FE212F8-F4A3-4240-BBB0-D89AA1967BD6}"/>
                </a:ext>
              </a:extLst>
            </p:cNvPr>
            <p:cNvSpPr/>
            <p:nvPr/>
          </p:nvSpPr>
          <p:spPr>
            <a:xfrm>
              <a:off x="11078753" y="4636331"/>
              <a:ext cx="37595" cy="633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384" y="0"/>
                  </a:moveTo>
                  <a:lnTo>
                    <a:pt x="0" y="6366"/>
                  </a:lnTo>
                  <a:lnTo>
                    <a:pt x="4998" y="11561"/>
                  </a:lnTo>
                  <a:lnTo>
                    <a:pt x="9054" y="12853"/>
                  </a:lnTo>
                  <a:lnTo>
                    <a:pt x="11974" y="16462"/>
                  </a:lnTo>
                  <a:lnTo>
                    <a:pt x="18532" y="21600"/>
                  </a:lnTo>
                  <a:lnTo>
                    <a:pt x="21600" y="18003"/>
                  </a:lnTo>
                  <a:lnTo>
                    <a:pt x="19408" y="13360"/>
                  </a:lnTo>
                  <a:lnTo>
                    <a:pt x="14184" y="10517"/>
                  </a:lnTo>
                  <a:lnTo>
                    <a:pt x="9965" y="6822"/>
                  </a:lnTo>
                  <a:lnTo>
                    <a:pt x="9528" y="3503"/>
                  </a:lnTo>
                  <a:lnTo>
                    <a:pt x="438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48" name="íṧliḓê">
              <a:extLst>
                <a:ext uri="{FF2B5EF4-FFF2-40B4-BE49-F238E27FC236}">
                  <a16:creationId xmlns:a16="http://schemas.microsoft.com/office/drawing/2014/main" id="{351ADC6E-7BA1-445D-A346-2D8DA3620F49}"/>
                </a:ext>
              </a:extLst>
            </p:cNvPr>
            <p:cNvSpPr/>
            <p:nvPr/>
          </p:nvSpPr>
          <p:spPr>
            <a:xfrm>
              <a:off x="10694096" y="4283499"/>
              <a:ext cx="45740" cy="644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335" y="0"/>
                  </a:moveTo>
                  <a:lnTo>
                    <a:pt x="8612" y="423"/>
                  </a:lnTo>
                  <a:lnTo>
                    <a:pt x="9548" y="10168"/>
                  </a:lnTo>
                  <a:lnTo>
                    <a:pt x="15069" y="14477"/>
                  </a:lnTo>
                  <a:lnTo>
                    <a:pt x="21600" y="16858"/>
                  </a:lnTo>
                  <a:lnTo>
                    <a:pt x="19199" y="21600"/>
                  </a:lnTo>
                  <a:lnTo>
                    <a:pt x="11398" y="20763"/>
                  </a:lnTo>
                  <a:lnTo>
                    <a:pt x="5755" y="17207"/>
                  </a:lnTo>
                  <a:lnTo>
                    <a:pt x="9" y="12157"/>
                  </a:lnTo>
                  <a:lnTo>
                    <a:pt x="0" y="6578"/>
                  </a:lnTo>
                  <a:lnTo>
                    <a:pt x="433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49" name="íSľïḑé">
              <a:extLst>
                <a:ext uri="{FF2B5EF4-FFF2-40B4-BE49-F238E27FC236}">
                  <a16:creationId xmlns:a16="http://schemas.microsoft.com/office/drawing/2014/main" id="{EC60BD22-DC41-4097-BAF0-BB379FE3B97D}"/>
                </a:ext>
              </a:extLst>
            </p:cNvPr>
            <p:cNvSpPr/>
            <p:nvPr/>
          </p:nvSpPr>
          <p:spPr>
            <a:xfrm>
              <a:off x="10754669" y="4332994"/>
              <a:ext cx="45601" cy="3949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085" y="0"/>
                  </a:moveTo>
                  <a:lnTo>
                    <a:pt x="17293" y="9046"/>
                  </a:lnTo>
                  <a:lnTo>
                    <a:pt x="21600" y="14848"/>
                  </a:lnTo>
                  <a:lnTo>
                    <a:pt x="21013" y="21600"/>
                  </a:lnTo>
                  <a:lnTo>
                    <a:pt x="12837" y="18854"/>
                  </a:lnTo>
                  <a:lnTo>
                    <a:pt x="5986" y="12225"/>
                  </a:lnTo>
                  <a:lnTo>
                    <a:pt x="0" y="7390"/>
                  </a:lnTo>
                  <a:lnTo>
                    <a:pt x="708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50" name="ísḷide">
              <a:extLst>
                <a:ext uri="{FF2B5EF4-FFF2-40B4-BE49-F238E27FC236}">
                  <a16:creationId xmlns:a16="http://schemas.microsoft.com/office/drawing/2014/main" id="{D16DEA77-9FD9-4185-9D84-A8B3BC2687A4}"/>
                </a:ext>
              </a:extLst>
            </p:cNvPr>
            <p:cNvSpPr/>
            <p:nvPr/>
          </p:nvSpPr>
          <p:spPr>
            <a:xfrm>
              <a:off x="10773772" y="4386273"/>
              <a:ext cx="37288" cy="389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99" y="0"/>
                  </a:moveTo>
                  <a:lnTo>
                    <a:pt x="12290" y="1855"/>
                  </a:lnTo>
                  <a:lnTo>
                    <a:pt x="12799" y="9871"/>
                  </a:lnTo>
                  <a:lnTo>
                    <a:pt x="15725" y="15036"/>
                  </a:lnTo>
                  <a:lnTo>
                    <a:pt x="21600" y="16577"/>
                  </a:lnTo>
                  <a:lnTo>
                    <a:pt x="18230" y="21600"/>
                  </a:lnTo>
                  <a:lnTo>
                    <a:pt x="12781" y="19919"/>
                  </a:lnTo>
                  <a:cubicBezTo>
                    <a:pt x="10763" y="19240"/>
                    <a:pt x="9023" y="17972"/>
                    <a:pt x="7808" y="16297"/>
                  </a:cubicBezTo>
                  <a:cubicBezTo>
                    <a:pt x="6475" y="14458"/>
                    <a:pt x="5850" y="12237"/>
                    <a:pt x="6040" y="10011"/>
                  </a:cubicBezTo>
                  <a:lnTo>
                    <a:pt x="0" y="5671"/>
                  </a:lnTo>
                  <a:lnTo>
                    <a:pt x="639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51" name="íṥļïde">
              <a:extLst>
                <a:ext uri="{FF2B5EF4-FFF2-40B4-BE49-F238E27FC236}">
                  <a16:creationId xmlns:a16="http://schemas.microsoft.com/office/drawing/2014/main" id="{3D1C88E6-33AD-4A23-988A-4C6A74AB67AE}"/>
                </a:ext>
              </a:extLst>
            </p:cNvPr>
            <p:cNvSpPr/>
            <p:nvPr/>
          </p:nvSpPr>
          <p:spPr>
            <a:xfrm>
              <a:off x="10819989" y="4368723"/>
              <a:ext cx="46739" cy="421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105" y="0"/>
                  </a:moveTo>
                  <a:lnTo>
                    <a:pt x="8950" y="5326"/>
                  </a:lnTo>
                  <a:lnTo>
                    <a:pt x="16429" y="10105"/>
                  </a:lnTo>
                  <a:lnTo>
                    <a:pt x="21247" y="15787"/>
                  </a:lnTo>
                  <a:lnTo>
                    <a:pt x="21600" y="21227"/>
                  </a:lnTo>
                  <a:lnTo>
                    <a:pt x="14814" y="21600"/>
                  </a:lnTo>
                  <a:lnTo>
                    <a:pt x="10715" y="19268"/>
                  </a:lnTo>
                  <a:lnTo>
                    <a:pt x="6249" y="13959"/>
                  </a:lnTo>
                  <a:lnTo>
                    <a:pt x="3576" y="9700"/>
                  </a:lnTo>
                  <a:lnTo>
                    <a:pt x="25" y="6121"/>
                  </a:lnTo>
                  <a:lnTo>
                    <a:pt x="0" y="1589"/>
                  </a:lnTo>
                  <a:lnTo>
                    <a:pt x="410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52" name="ïślïḑé">
              <a:extLst>
                <a:ext uri="{FF2B5EF4-FFF2-40B4-BE49-F238E27FC236}">
                  <a16:creationId xmlns:a16="http://schemas.microsoft.com/office/drawing/2014/main" id="{77D0D3DE-832E-4DC6-A2F0-D855F7EE894E}"/>
                </a:ext>
              </a:extLst>
            </p:cNvPr>
            <p:cNvSpPr/>
            <p:nvPr/>
          </p:nvSpPr>
          <p:spPr>
            <a:xfrm>
              <a:off x="10844148" y="4433313"/>
              <a:ext cx="37473" cy="239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649" y="530"/>
                  </a:moveTo>
                  <a:lnTo>
                    <a:pt x="13099" y="8995"/>
                  </a:lnTo>
                  <a:lnTo>
                    <a:pt x="21600" y="8519"/>
                  </a:lnTo>
                  <a:lnTo>
                    <a:pt x="21600" y="17555"/>
                  </a:lnTo>
                  <a:lnTo>
                    <a:pt x="15901" y="21600"/>
                  </a:lnTo>
                  <a:lnTo>
                    <a:pt x="8481" y="18211"/>
                  </a:lnTo>
                  <a:lnTo>
                    <a:pt x="1799" y="7978"/>
                  </a:lnTo>
                  <a:lnTo>
                    <a:pt x="0" y="0"/>
                  </a:lnTo>
                  <a:lnTo>
                    <a:pt x="8649" y="53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53" name="îṥḻîḓè">
              <a:extLst>
                <a:ext uri="{FF2B5EF4-FFF2-40B4-BE49-F238E27FC236}">
                  <a16:creationId xmlns:a16="http://schemas.microsoft.com/office/drawing/2014/main" id="{533609DE-7784-49AD-B377-CC1BD70A44BE}"/>
                </a:ext>
              </a:extLst>
            </p:cNvPr>
            <p:cNvSpPr/>
            <p:nvPr/>
          </p:nvSpPr>
          <p:spPr>
            <a:xfrm>
              <a:off x="10888902" y="4398838"/>
              <a:ext cx="27449" cy="541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203" y="0"/>
                  </a:moveTo>
                  <a:lnTo>
                    <a:pt x="0" y="4749"/>
                  </a:lnTo>
                  <a:lnTo>
                    <a:pt x="263" y="12857"/>
                  </a:lnTo>
                  <a:lnTo>
                    <a:pt x="8018" y="13953"/>
                  </a:lnTo>
                  <a:lnTo>
                    <a:pt x="8018" y="17984"/>
                  </a:lnTo>
                  <a:lnTo>
                    <a:pt x="13422" y="21600"/>
                  </a:lnTo>
                  <a:lnTo>
                    <a:pt x="21600" y="17064"/>
                  </a:lnTo>
                  <a:lnTo>
                    <a:pt x="14422" y="12038"/>
                  </a:lnTo>
                  <a:lnTo>
                    <a:pt x="7443" y="8221"/>
                  </a:lnTo>
                  <a:lnTo>
                    <a:pt x="4203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54" name="ïsḻíḋe">
              <a:extLst>
                <a:ext uri="{FF2B5EF4-FFF2-40B4-BE49-F238E27FC236}">
                  <a16:creationId xmlns:a16="http://schemas.microsoft.com/office/drawing/2014/main" id="{D5EF4487-6929-48E2-8F26-D73E16399AFE}"/>
                </a:ext>
              </a:extLst>
            </p:cNvPr>
            <p:cNvSpPr/>
            <p:nvPr/>
          </p:nvSpPr>
          <p:spPr>
            <a:xfrm>
              <a:off x="10903842" y="4471308"/>
              <a:ext cx="24415" cy="210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703" y="9868"/>
                  </a:lnTo>
                  <a:lnTo>
                    <a:pt x="12853" y="21600"/>
                  </a:lnTo>
                  <a:lnTo>
                    <a:pt x="21600" y="16680"/>
                  </a:lnTo>
                  <a:lnTo>
                    <a:pt x="12403" y="14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55" name="íSḻïḍé">
              <a:extLst>
                <a:ext uri="{FF2B5EF4-FFF2-40B4-BE49-F238E27FC236}">
                  <a16:creationId xmlns:a16="http://schemas.microsoft.com/office/drawing/2014/main" id="{831C15E1-7397-46C9-B0BF-334FCD721D68}"/>
                </a:ext>
              </a:extLst>
            </p:cNvPr>
            <p:cNvSpPr/>
            <p:nvPr/>
          </p:nvSpPr>
          <p:spPr>
            <a:xfrm>
              <a:off x="10588123" y="4181404"/>
              <a:ext cx="87031" cy="761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60" y="0"/>
                  </a:moveTo>
                  <a:lnTo>
                    <a:pt x="0" y="2479"/>
                  </a:lnTo>
                  <a:lnTo>
                    <a:pt x="4688" y="4518"/>
                  </a:lnTo>
                  <a:lnTo>
                    <a:pt x="9042" y="7739"/>
                  </a:lnTo>
                  <a:lnTo>
                    <a:pt x="12639" y="11175"/>
                  </a:lnTo>
                  <a:lnTo>
                    <a:pt x="16173" y="15327"/>
                  </a:lnTo>
                  <a:lnTo>
                    <a:pt x="17687" y="21385"/>
                  </a:lnTo>
                  <a:lnTo>
                    <a:pt x="21600" y="21600"/>
                  </a:lnTo>
                  <a:lnTo>
                    <a:pt x="19336" y="12589"/>
                  </a:lnTo>
                  <a:lnTo>
                    <a:pt x="12733" y="8079"/>
                  </a:lnTo>
                  <a:lnTo>
                    <a:pt x="7069" y="2791"/>
                  </a:lnTo>
                  <a:lnTo>
                    <a:pt x="3732" y="804"/>
                  </a:lnTo>
                  <a:lnTo>
                    <a:pt x="56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56" name="ïṧḻidé">
              <a:extLst>
                <a:ext uri="{FF2B5EF4-FFF2-40B4-BE49-F238E27FC236}">
                  <a16:creationId xmlns:a16="http://schemas.microsoft.com/office/drawing/2014/main" id="{D7A1E081-EC1E-487B-B58E-32F542D05773}"/>
                </a:ext>
              </a:extLst>
            </p:cNvPr>
            <p:cNvSpPr/>
            <p:nvPr/>
          </p:nvSpPr>
          <p:spPr>
            <a:xfrm>
              <a:off x="10528896" y="4237475"/>
              <a:ext cx="115414" cy="926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234" y="5118"/>
                  </a:moveTo>
                  <a:lnTo>
                    <a:pt x="15276" y="8929"/>
                  </a:lnTo>
                  <a:lnTo>
                    <a:pt x="12042" y="12689"/>
                  </a:lnTo>
                  <a:lnTo>
                    <a:pt x="9529" y="13918"/>
                  </a:lnTo>
                  <a:lnTo>
                    <a:pt x="6129" y="13388"/>
                  </a:lnTo>
                  <a:lnTo>
                    <a:pt x="4458" y="14970"/>
                  </a:lnTo>
                  <a:lnTo>
                    <a:pt x="2410" y="14970"/>
                  </a:lnTo>
                  <a:lnTo>
                    <a:pt x="0" y="15500"/>
                  </a:lnTo>
                  <a:lnTo>
                    <a:pt x="1862" y="17604"/>
                  </a:lnTo>
                  <a:lnTo>
                    <a:pt x="4420" y="17781"/>
                  </a:lnTo>
                  <a:lnTo>
                    <a:pt x="6466" y="21431"/>
                  </a:lnTo>
                  <a:lnTo>
                    <a:pt x="8263" y="21600"/>
                  </a:lnTo>
                  <a:lnTo>
                    <a:pt x="9828" y="19488"/>
                  </a:lnTo>
                  <a:lnTo>
                    <a:pt x="11671" y="17906"/>
                  </a:lnTo>
                  <a:lnTo>
                    <a:pt x="15657" y="16508"/>
                  </a:lnTo>
                  <a:lnTo>
                    <a:pt x="18364" y="13167"/>
                  </a:lnTo>
                  <a:lnTo>
                    <a:pt x="19934" y="9988"/>
                  </a:lnTo>
                  <a:lnTo>
                    <a:pt x="21457" y="7288"/>
                  </a:lnTo>
                  <a:lnTo>
                    <a:pt x="21600" y="3285"/>
                  </a:lnTo>
                  <a:lnTo>
                    <a:pt x="19702" y="0"/>
                  </a:lnTo>
                  <a:lnTo>
                    <a:pt x="19131" y="2158"/>
                  </a:lnTo>
                  <a:lnTo>
                    <a:pt x="18234" y="511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57" name="îṩļiḋé">
              <a:extLst>
                <a:ext uri="{FF2B5EF4-FFF2-40B4-BE49-F238E27FC236}">
                  <a16:creationId xmlns:a16="http://schemas.microsoft.com/office/drawing/2014/main" id="{1CDAF671-5EE4-4BCC-BE40-4AC4BAAE3522}"/>
                </a:ext>
              </a:extLst>
            </p:cNvPr>
            <p:cNvSpPr/>
            <p:nvPr/>
          </p:nvSpPr>
          <p:spPr>
            <a:xfrm>
              <a:off x="9937920" y="4105530"/>
              <a:ext cx="657773" cy="388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39" y="1069"/>
                  </a:moveTo>
                  <a:lnTo>
                    <a:pt x="1040" y="903"/>
                  </a:lnTo>
                  <a:lnTo>
                    <a:pt x="1266" y="12"/>
                  </a:lnTo>
                  <a:lnTo>
                    <a:pt x="2016" y="0"/>
                  </a:lnTo>
                  <a:lnTo>
                    <a:pt x="2684" y="12"/>
                  </a:lnTo>
                  <a:lnTo>
                    <a:pt x="2808" y="1131"/>
                  </a:lnTo>
                  <a:lnTo>
                    <a:pt x="3150" y="1972"/>
                  </a:lnTo>
                  <a:lnTo>
                    <a:pt x="3342" y="2473"/>
                  </a:lnTo>
                  <a:lnTo>
                    <a:pt x="3192" y="3510"/>
                  </a:lnTo>
                  <a:lnTo>
                    <a:pt x="3218" y="4141"/>
                  </a:lnTo>
                  <a:lnTo>
                    <a:pt x="3692" y="4939"/>
                  </a:lnTo>
                  <a:lnTo>
                    <a:pt x="4067" y="5627"/>
                  </a:lnTo>
                  <a:lnTo>
                    <a:pt x="4526" y="6342"/>
                  </a:lnTo>
                  <a:cubicBezTo>
                    <a:pt x="4633" y="6179"/>
                    <a:pt x="4728" y="5996"/>
                    <a:pt x="4809" y="5795"/>
                  </a:cubicBezTo>
                  <a:cubicBezTo>
                    <a:pt x="4941" y="5469"/>
                    <a:pt x="5034" y="5102"/>
                    <a:pt x="5083" y="4716"/>
                  </a:cubicBezTo>
                  <a:lnTo>
                    <a:pt x="5451" y="4478"/>
                  </a:lnTo>
                  <a:lnTo>
                    <a:pt x="6119" y="3931"/>
                  </a:lnTo>
                  <a:lnTo>
                    <a:pt x="6668" y="3385"/>
                  </a:lnTo>
                  <a:lnTo>
                    <a:pt x="7068" y="2838"/>
                  </a:lnTo>
                  <a:lnTo>
                    <a:pt x="7444" y="2122"/>
                  </a:lnTo>
                  <a:lnTo>
                    <a:pt x="8137" y="2122"/>
                  </a:lnTo>
                  <a:cubicBezTo>
                    <a:pt x="8213" y="2262"/>
                    <a:pt x="8288" y="2402"/>
                    <a:pt x="8362" y="2543"/>
                  </a:cubicBezTo>
                  <a:cubicBezTo>
                    <a:pt x="8481" y="2766"/>
                    <a:pt x="8597" y="2991"/>
                    <a:pt x="8713" y="3217"/>
                  </a:cubicBezTo>
                  <a:lnTo>
                    <a:pt x="9356" y="3708"/>
                  </a:lnTo>
                  <a:lnTo>
                    <a:pt x="10017" y="3953"/>
                  </a:lnTo>
                  <a:lnTo>
                    <a:pt x="10667" y="4583"/>
                  </a:lnTo>
                  <a:lnTo>
                    <a:pt x="11719" y="5004"/>
                  </a:lnTo>
                  <a:lnTo>
                    <a:pt x="12420" y="5579"/>
                  </a:lnTo>
                  <a:lnTo>
                    <a:pt x="13814" y="6239"/>
                  </a:lnTo>
                  <a:lnTo>
                    <a:pt x="14716" y="7388"/>
                  </a:lnTo>
                  <a:lnTo>
                    <a:pt x="15776" y="8749"/>
                  </a:lnTo>
                  <a:lnTo>
                    <a:pt x="16728" y="9464"/>
                  </a:lnTo>
                  <a:lnTo>
                    <a:pt x="17354" y="9911"/>
                  </a:lnTo>
                  <a:lnTo>
                    <a:pt x="17855" y="11325"/>
                  </a:lnTo>
                  <a:lnTo>
                    <a:pt x="18106" y="12349"/>
                  </a:lnTo>
                  <a:lnTo>
                    <a:pt x="17539" y="12799"/>
                  </a:lnTo>
                  <a:lnTo>
                    <a:pt x="17349" y="13484"/>
                  </a:lnTo>
                  <a:lnTo>
                    <a:pt x="17608" y="14382"/>
                  </a:lnTo>
                  <a:lnTo>
                    <a:pt x="18326" y="15070"/>
                  </a:lnTo>
                  <a:lnTo>
                    <a:pt x="18350" y="15982"/>
                  </a:lnTo>
                  <a:lnTo>
                    <a:pt x="18350" y="16933"/>
                  </a:lnTo>
                  <a:lnTo>
                    <a:pt x="18733" y="17701"/>
                  </a:lnTo>
                  <a:lnTo>
                    <a:pt x="19484" y="18246"/>
                  </a:lnTo>
                  <a:lnTo>
                    <a:pt x="20127" y="18373"/>
                  </a:lnTo>
                  <a:lnTo>
                    <a:pt x="20650" y="19209"/>
                  </a:lnTo>
                  <a:lnTo>
                    <a:pt x="21276" y="20051"/>
                  </a:lnTo>
                  <a:lnTo>
                    <a:pt x="21600" y="21054"/>
                  </a:lnTo>
                  <a:lnTo>
                    <a:pt x="21500" y="21600"/>
                  </a:lnTo>
                  <a:lnTo>
                    <a:pt x="20623" y="21026"/>
                  </a:lnTo>
                  <a:lnTo>
                    <a:pt x="20131" y="20705"/>
                  </a:lnTo>
                  <a:lnTo>
                    <a:pt x="19072" y="20663"/>
                  </a:lnTo>
                  <a:lnTo>
                    <a:pt x="18170" y="20158"/>
                  </a:lnTo>
                  <a:lnTo>
                    <a:pt x="17728" y="19485"/>
                  </a:lnTo>
                  <a:lnTo>
                    <a:pt x="17478" y="18967"/>
                  </a:lnTo>
                  <a:lnTo>
                    <a:pt x="17228" y="17746"/>
                  </a:lnTo>
                  <a:lnTo>
                    <a:pt x="16877" y="16708"/>
                  </a:lnTo>
                  <a:lnTo>
                    <a:pt x="16402" y="15951"/>
                  </a:lnTo>
                  <a:lnTo>
                    <a:pt x="15525" y="14954"/>
                  </a:lnTo>
                  <a:lnTo>
                    <a:pt x="14876" y="14284"/>
                  </a:lnTo>
                  <a:lnTo>
                    <a:pt x="14242" y="14284"/>
                  </a:lnTo>
                  <a:lnTo>
                    <a:pt x="13699" y="15489"/>
                  </a:lnTo>
                  <a:cubicBezTo>
                    <a:pt x="13655" y="15662"/>
                    <a:pt x="13604" y="15830"/>
                    <a:pt x="13549" y="15993"/>
                  </a:cubicBezTo>
                  <a:cubicBezTo>
                    <a:pt x="13430" y="16338"/>
                    <a:pt x="13287" y="16658"/>
                    <a:pt x="13123" y="16945"/>
                  </a:cubicBezTo>
                  <a:lnTo>
                    <a:pt x="12398" y="17785"/>
                  </a:lnTo>
                  <a:lnTo>
                    <a:pt x="11380" y="17196"/>
                  </a:lnTo>
                  <a:lnTo>
                    <a:pt x="10929" y="17070"/>
                  </a:lnTo>
                  <a:cubicBezTo>
                    <a:pt x="10778" y="17231"/>
                    <a:pt x="10588" y="17247"/>
                    <a:pt x="10429" y="17112"/>
                  </a:cubicBezTo>
                  <a:cubicBezTo>
                    <a:pt x="10275" y="16981"/>
                    <a:pt x="10172" y="16728"/>
                    <a:pt x="10154" y="16440"/>
                  </a:cubicBezTo>
                  <a:lnTo>
                    <a:pt x="9620" y="15752"/>
                  </a:lnTo>
                  <a:lnTo>
                    <a:pt x="9169" y="15416"/>
                  </a:lnTo>
                  <a:lnTo>
                    <a:pt x="8374" y="15500"/>
                  </a:lnTo>
                  <a:lnTo>
                    <a:pt x="7783" y="15624"/>
                  </a:lnTo>
                  <a:lnTo>
                    <a:pt x="7609" y="15133"/>
                  </a:lnTo>
                  <a:lnTo>
                    <a:pt x="7084" y="15175"/>
                  </a:lnTo>
                  <a:lnTo>
                    <a:pt x="7283" y="14463"/>
                  </a:lnTo>
                  <a:lnTo>
                    <a:pt x="7684" y="14295"/>
                  </a:lnTo>
                  <a:lnTo>
                    <a:pt x="8067" y="13793"/>
                  </a:lnTo>
                  <a:lnTo>
                    <a:pt x="8425" y="13260"/>
                  </a:lnTo>
                  <a:lnTo>
                    <a:pt x="8424" y="12101"/>
                  </a:lnTo>
                  <a:lnTo>
                    <a:pt x="7998" y="10796"/>
                  </a:lnTo>
                  <a:cubicBezTo>
                    <a:pt x="7914" y="10491"/>
                    <a:pt x="7805" y="10208"/>
                    <a:pt x="7672" y="9955"/>
                  </a:cubicBezTo>
                  <a:cubicBezTo>
                    <a:pt x="7487" y="9602"/>
                    <a:pt x="7262" y="9316"/>
                    <a:pt x="7013" y="9100"/>
                  </a:cubicBezTo>
                  <a:cubicBezTo>
                    <a:pt x="6627" y="8764"/>
                    <a:pt x="6195" y="8604"/>
                    <a:pt x="5760" y="8637"/>
                  </a:cubicBezTo>
                  <a:lnTo>
                    <a:pt x="5460" y="7993"/>
                  </a:lnTo>
                  <a:lnTo>
                    <a:pt x="4992" y="7628"/>
                  </a:lnTo>
                  <a:lnTo>
                    <a:pt x="4219" y="6874"/>
                  </a:lnTo>
                  <a:cubicBezTo>
                    <a:pt x="4009" y="6592"/>
                    <a:pt x="3763" y="6395"/>
                    <a:pt x="3501" y="6299"/>
                  </a:cubicBezTo>
                  <a:cubicBezTo>
                    <a:pt x="3254" y="6207"/>
                    <a:pt x="2997" y="6207"/>
                    <a:pt x="2750" y="6299"/>
                  </a:cubicBezTo>
                  <a:lnTo>
                    <a:pt x="2183" y="6425"/>
                  </a:lnTo>
                  <a:lnTo>
                    <a:pt x="1674" y="5792"/>
                  </a:lnTo>
                  <a:lnTo>
                    <a:pt x="1674" y="4994"/>
                  </a:lnTo>
                  <a:lnTo>
                    <a:pt x="2200" y="4420"/>
                  </a:lnTo>
                  <a:lnTo>
                    <a:pt x="2400" y="3664"/>
                  </a:lnTo>
                  <a:lnTo>
                    <a:pt x="2125" y="3120"/>
                  </a:lnTo>
                  <a:lnTo>
                    <a:pt x="1524" y="2615"/>
                  </a:lnTo>
                  <a:lnTo>
                    <a:pt x="566" y="2138"/>
                  </a:lnTo>
                  <a:lnTo>
                    <a:pt x="0" y="1619"/>
                  </a:lnTo>
                  <a:lnTo>
                    <a:pt x="54" y="1017"/>
                  </a:lnTo>
                  <a:lnTo>
                    <a:pt x="339" y="1069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58" name="îṩľïde">
              <a:extLst>
                <a:ext uri="{FF2B5EF4-FFF2-40B4-BE49-F238E27FC236}">
                  <a16:creationId xmlns:a16="http://schemas.microsoft.com/office/drawing/2014/main" id="{07629E57-F677-42E9-95D5-00FA3F2C10C3}"/>
                </a:ext>
              </a:extLst>
            </p:cNvPr>
            <p:cNvSpPr/>
            <p:nvPr/>
          </p:nvSpPr>
          <p:spPr>
            <a:xfrm>
              <a:off x="10030474" y="3790111"/>
              <a:ext cx="18322" cy="2280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034" y="0"/>
                  </a:moveTo>
                  <a:lnTo>
                    <a:pt x="0" y="3883"/>
                  </a:lnTo>
                  <a:lnTo>
                    <a:pt x="4598" y="21600"/>
                  </a:lnTo>
                  <a:lnTo>
                    <a:pt x="21600" y="15889"/>
                  </a:lnTo>
                  <a:lnTo>
                    <a:pt x="21600" y="4677"/>
                  </a:lnTo>
                  <a:lnTo>
                    <a:pt x="1103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59" name="îṧlíḍe">
              <a:extLst>
                <a:ext uri="{FF2B5EF4-FFF2-40B4-BE49-F238E27FC236}">
                  <a16:creationId xmlns:a16="http://schemas.microsoft.com/office/drawing/2014/main" id="{D15D9CC9-2F38-4149-8837-2C05B82DE954}"/>
                </a:ext>
              </a:extLst>
            </p:cNvPr>
            <p:cNvSpPr/>
            <p:nvPr/>
          </p:nvSpPr>
          <p:spPr>
            <a:xfrm>
              <a:off x="10351793" y="3476789"/>
              <a:ext cx="16360" cy="218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547" y="0"/>
                  </a:moveTo>
                  <a:lnTo>
                    <a:pt x="2757" y="5238"/>
                  </a:lnTo>
                  <a:lnTo>
                    <a:pt x="0" y="18231"/>
                  </a:lnTo>
                  <a:lnTo>
                    <a:pt x="17487" y="21600"/>
                  </a:lnTo>
                  <a:lnTo>
                    <a:pt x="21600" y="12744"/>
                  </a:lnTo>
                  <a:lnTo>
                    <a:pt x="1154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60" name="íšľíḑe">
              <a:extLst>
                <a:ext uri="{FF2B5EF4-FFF2-40B4-BE49-F238E27FC236}">
                  <a16:creationId xmlns:a16="http://schemas.microsoft.com/office/drawing/2014/main" id="{54B1FD0B-9063-4CAB-B35B-A9B22157E175}"/>
                </a:ext>
              </a:extLst>
            </p:cNvPr>
            <p:cNvSpPr/>
            <p:nvPr/>
          </p:nvSpPr>
          <p:spPr>
            <a:xfrm>
              <a:off x="10325524" y="3553174"/>
              <a:ext cx="18349" cy="31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652" y="0"/>
                  </a:moveTo>
                  <a:lnTo>
                    <a:pt x="0" y="4334"/>
                  </a:lnTo>
                  <a:lnTo>
                    <a:pt x="342" y="20725"/>
                  </a:lnTo>
                  <a:lnTo>
                    <a:pt x="18905" y="21600"/>
                  </a:lnTo>
                  <a:lnTo>
                    <a:pt x="21600" y="4465"/>
                  </a:lnTo>
                  <a:lnTo>
                    <a:pt x="565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61" name="išḷîďê">
              <a:extLst>
                <a:ext uri="{FF2B5EF4-FFF2-40B4-BE49-F238E27FC236}">
                  <a16:creationId xmlns:a16="http://schemas.microsoft.com/office/drawing/2014/main" id="{099F5D15-713A-4EE0-BB88-D7CFC57E2F08}"/>
                </a:ext>
              </a:extLst>
            </p:cNvPr>
            <p:cNvSpPr/>
            <p:nvPr/>
          </p:nvSpPr>
          <p:spPr>
            <a:xfrm>
              <a:off x="10830737" y="3809410"/>
              <a:ext cx="19066" cy="289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1600" y="7350"/>
                  </a:lnTo>
                  <a:lnTo>
                    <a:pt x="7288" y="216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</p:grpSp>
      <p:sp>
        <p:nvSpPr>
          <p:cNvPr id="385" name="îṩḻïḋé">
            <a:extLst>
              <a:ext uri="{FF2B5EF4-FFF2-40B4-BE49-F238E27FC236}">
                <a16:creationId xmlns:a16="http://schemas.microsoft.com/office/drawing/2014/main" id="{BC66537B-5434-4D07-8345-F09BDB55C244}"/>
              </a:ext>
            </a:extLst>
          </p:cNvPr>
          <p:cNvSpPr/>
          <p:nvPr/>
        </p:nvSpPr>
        <p:spPr bwMode="auto">
          <a:xfrm>
            <a:off x="7232863" y="3845972"/>
            <a:ext cx="140509" cy="206739"/>
          </a:xfrm>
          <a:custGeom>
            <a:avLst/>
            <a:gdLst>
              <a:gd name="T0" fmla="*/ 88862 h 440259"/>
              <a:gd name="T1" fmla="*/ 88862 h 440259"/>
              <a:gd name="T2" fmla="*/ 278945 h 440259"/>
              <a:gd name="T3" fmla="*/ 278945 h 440259"/>
              <a:gd name="T4" fmla="*/ 278945 h 440259"/>
              <a:gd name="T5" fmla="*/ 278945 h 440259"/>
              <a:gd name="T6" fmla="*/ 278945 h 440259"/>
              <a:gd name="T7" fmla="*/ 278945 h 440259"/>
              <a:gd name="T8" fmla="*/ 278945 h 440259"/>
              <a:gd name="T9" fmla="*/ 278945 h 440259"/>
              <a:gd name="T10" fmla="*/ 278945 h 440259"/>
              <a:gd name="T11" fmla="*/ 278945 h 440259"/>
              <a:gd name="T12" fmla="*/ 278945 h 440259"/>
              <a:gd name="T13" fmla="*/ 278945 h 440259"/>
              <a:gd name="T14" fmla="*/ 88862 h 440259"/>
              <a:gd name="T15" fmla="*/ 88862 h 440259"/>
              <a:gd name="T16" fmla="*/ 278945 h 440259"/>
              <a:gd name="T17" fmla="*/ 278945 h 440259"/>
              <a:gd name="T18" fmla="*/ 278945 h 440259"/>
              <a:gd name="T19" fmla="*/ 278945 h 440259"/>
              <a:gd name="T20" fmla="*/ 278945 h 440259"/>
              <a:gd name="T21" fmla="*/ 278945 h 440259"/>
              <a:gd name="T22" fmla="*/ 278945 h 440259"/>
              <a:gd name="T23" fmla="*/ 278945 h 440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19" h="470">
                <a:moveTo>
                  <a:pt x="160" y="0"/>
                </a:moveTo>
                <a:cubicBezTo>
                  <a:pt x="72" y="0"/>
                  <a:pt x="0" y="71"/>
                  <a:pt x="0" y="158"/>
                </a:cubicBezTo>
                <a:cubicBezTo>
                  <a:pt x="0" y="203"/>
                  <a:pt x="44" y="283"/>
                  <a:pt x="44" y="283"/>
                </a:cubicBezTo>
                <a:lnTo>
                  <a:pt x="154" y="470"/>
                </a:lnTo>
                <a:lnTo>
                  <a:pt x="268" y="286"/>
                </a:lnTo>
                <a:cubicBezTo>
                  <a:pt x="268" y="286"/>
                  <a:pt x="319" y="209"/>
                  <a:pt x="319" y="158"/>
                </a:cubicBezTo>
                <a:cubicBezTo>
                  <a:pt x="319" y="71"/>
                  <a:pt x="248" y="0"/>
                  <a:pt x="160" y="0"/>
                </a:cubicBezTo>
                <a:close/>
                <a:moveTo>
                  <a:pt x="159" y="246"/>
                </a:moveTo>
                <a:cubicBezTo>
                  <a:pt x="109" y="246"/>
                  <a:pt x="68" y="205"/>
                  <a:pt x="68" y="154"/>
                </a:cubicBezTo>
                <a:cubicBezTo>
                  <a:pt x="68" y="104"/>
                  <a:pt x="109" y="63"/>
                  <a:pt x="159" y="63"/>
                </a:cubicBezTo>
                <a:cubicBezTo>
                  <a:pt x="210" y="63"/>
                  <a:pt x="250" y="104"/>
                  <a:pt x="250" y="154"/>
                </a:cubicBezTo>
                <a:cubicBezTo>
                  <a:pt x="250" y="205"/>
                  <a:pt x="210" y="246"/>
                  <a:pt x="159" y="2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386" name="íśľïďe">
            <a:extLst>
              <a:ext uri="{FF2B5EF4-FFF2-40B4-BE49-F238E27FC236}">
                <a16:creationId xmlns:a16="http://schemas.microsoft.com/office/drawing/2014/main" id="{4627BD23-0591-46CC-8B17-7A361BB81B12}"/>
              </a:ext>
            </a:extLst>
          </p:cNvPr>
          <p:cNvSpPr/>
          <p:nvPr/>
        </p:nvSpPr>
        <p:spPr bwMode="auto">
          <a:xfrm>
            <a:off x="6265638" y="4412198"/>
            <a:ext cx="140509" cy="206739"/>
          </a:xfrm>
          <a:custGeom>
            <a:avLst/>
            <a:gdLst>
              <a:gd name="T0" fmla="*/ 88862 h 440259"/>
              <a:gd name="T1" fmla="*/ 88862 h 440259"/>
              <a:gd name="T2" fmla="*/ 278945 h 440259"/>
              <a:gd name="T3" fmla="*/ 278945 h 440259"/>
              <a:gd name="T4" fmla="*/ 278945 h 440259"/>
              <a:gd name="T5" fmla="*/ 278945 h 440259"/>
              <a:gd name="T6" fmla="*/ 278945 h 440259"/>
              <a:gd name="T7" fmla="*/ 278945 h 440259"/>
              <a:gd name="T8" fmla="*/ 278945 h 440259"/>
              <a:gd name="T9" fmla="*/ 278945 h 440259"/>
              <a:gd name="T10" fmla="*/ 278945 h 440259"/>
              <a:gd name="T11" fmla="*/ 278945 h 440259"/>
              <a:gd name="T12" fmla="*/ 278945 h 440259"/>
              <a:gd name="T13" fmla="*/ 278945 h 440259"/>
              <a:gd name="T14" fmla="*/ 88862 h 440259"/>
              <a:gd name="T15" fmla="*/ 88862 h 440259"/>
              <a:gd name="T16" fmla="*/ 278945 h 440259"/>
              <a:gd name="T17" fmla="*/ 278945 h 440259"/>
              <a:gd name="T18" fmla="*/ 278945 h 440259"/>
              <a:gd name="T19" fmla="*/ 278945 h 440259"/>
              <a:gd name="T20" fmla="*/ 278945 h 440259"/>
              <a:gd name="T21" fmla="*/ 278945 h 440259"/>
              <a:gd name="T22" fmla="*/ 278945 h 440259"/>
              <a:gd name="T23" fmla="*/ 278945 h 440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19" h="470">
                <a:moveTo>
                  <a:pt x="160" y="0"/>
                </a:moveTo>
                <a:cubicBezTo>
                  <a:pt x="72" y="0"/>
                  <a:pt x="0" y="71"/>
                  <a:pt x="0" y="158"/>
                </a:cubicBezTo>
                <a:cubicBezTo>
                  <a:pt x="0" y="203"/>
                  <a:pt x="44" y="283"/>
                  <a:pt x="44" y="283"/>
                </a:cubicBezTo>
                <a:lnTo>
                  <a:pt x="154" y="470"/>
                </a:lnTo>
                <a:lnTo>
                  <a:pt x="268" y="286"/>
                </a:lnTo>
                <a:cubicBezTo>
                  <a:pt x="268" y="286"/>
                  <a:pt x="319" y="209"/>
                  <a:pt x="319" y="158"/>
                </a:cubicBezTo>
                <a:cubicBezTo>
                  <a:pt x="319" y="71"/>
                  <a:pt x="248" y="0"/>
                  <a:pt x="160" y="0"/>
                </a:cubicBezTo>
                <a:close/>
                <a:moveTo>
                  <a:pt x="159" y="246"/>
                </a:moveTo>
                <a:cubicBezTo>
                  <a:pt x="109" y="246"/>
                  <a:pt x="68" y="205"/>
                  <a:pt x="68" y="154"/>
                </a:cubicBezTo>
                <a:cubicBezTo>
                  <a:pt x="68" y="104"/>
                  <a:pt x="109" y="63"/>
                  <a:pt x="159" y="63"/>
                </a:cubicBezTo>
                <a:cubicBezTo>
                  <a:pt x="210" y="63"/>
                  <a:pt x="250" y="104"/>
                  <a:pt x="250" y="154"/>
                </a:cubicBezTo>
                <a:cubicBezTo>
                  <a:pt x="250" y="205"/>
                  <a:pt x="210" y="246"/>
                  <a:pt x="159" y="2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387" name="ísḷíďè">
            <a:extLst>
              <a:ext uri="{FF2B5EF4-FFF2-40B4-BE49-F238E27FC236}">
                <a16:creationId xmlns:a16="http://schemas.microsoft.com/office/drawing/2014/main" id="{EC0AE10F-4C95-46F1-A894-09ABBE0AECC0}"/>
              </a:ext>
            </a:extLst>
          </p:cNvPr>
          <p:cNvSpPr/>
          <p:nvPr/>
        </p:nvSpPr>
        <p:spPr bwMode="auto">
          <a:xfrm>
            <a:off x="4660812" y="3874595"/>
            <a:ext cx="140509" cy="206739"/>
          </a:xfrm>
          <a:custGeom>
            <a:avLst/>
            <a:gdLst>
              <a:gd name="T0" fmla="*/ 88862 h 440259"/>
              <a:gd name="T1" fmla="*/ 88862 h 440259"/>
              <a:gd name="T2" fmla="*/ 278945 h 440259"/>
              <a:gd name="T3" fmla="*/ 278945 h 440259"/>
              <a:gd name="T4" fmla="*/ 278945 h 440259"/>
              <a:gd name="T5" fmla="*/ 278945 h 440259"/>
              <a:gd name="T6" fmla="*/ 278945 h 440259"/>
              <a:gd name="T7" fmla="*/ 278945 h 440259"/>
              <a:gd name="T8" fmla="*/ 278945 h 440259"/>
              <a:gd name="T9" fmla="*/ 278945 h 440259"/>
              <a:gd name="T10" fmla="*/ 278945 h 440259"/>
              <a:gd name="T11" fmla="*/ 278945 h 440259"/>
              <a:gd name="T12" fmla="*/ 278945 h 440259"/>
              <a:gd name="T13" fmla="*/ 278945 h 440259"/>
              <a:gd name="T14" fmla="*/ 88862 h 440259"/>
              <a:gd name="T15" fmla="*/ 88862 h 440259"/>
              <a:gd name="T16" fmla="*/ 278945 h 440259"/>
              <a:gd name="T17" fmla="*/ 278945 h 440259"/>
              <a:gd name="T18" fmla="*/ 278945 h 440259"/>
              <a:gd name="T19" fmla="*/ 278945 h 440259"/>
              <a:gd name="T20" fmla="*/ 278945 h 440259"/>
              <a:gd name="T21" fmla="*/ 278945 h 440259"/>
              <a:gd name="T22" fmla="*/ 278945 h 440259"/>
              <a:gd name="T23" fmla="*/ 278945 h 440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19" h="470">
                <a:moveTo>
                  <a:pt x="160" y="0"/>
                </a:moveTo>
                <a:cubicBezTo>
                  <a:pt x="72" y="0"/>
                  <a:pt x="0" y="71"/>
                  <a:pt x="0" y="158"/>
                </a:cubicBezTo>
                <a:cubicBezTo>
                  <a:pt x="0" y="203"/>
                  <a:pt x="44" y="283"/>
                  <a:pt x="44" y="283"/>
                </a:cubicBezTo>
                <a:lnTo>
                  <a:pt x="154" y="470"/>
                </a:lnTo>
                <a:lnTo>
                  <a:pt x="268" y="286"/>
                </a:lnTo>
                <a:cubicBezTo>
                  <a:pt x="268" y="286"/>
                  <a:pt x="319" y="209"/>
                  <a:pt x="319" y="158"/>
                </a:cubicBezTo>
                <a:cubicBezTo>
                  <a:pt x="319" y="71"/>
                  <a:pt x="248" y="0"/>
                  <a:pt x="160" y="0"/>
                </a:cubicBezTo>
                <a:close/>
                <a:moveTo>
                  <a:pt x="159" y="246"/>
                </a:moveTo>
                <a:cubicBezTo>
                  <a:pt x="109" y="246"/>
                  <a:pt x="68" y="205"/>
                  <a:pt x="68" y="154"/>
                </a:cubicBezTo>
                <a:cubicBezTo>
                  <a:pt x="68" y="104"/>
                  <a:pt x="109" y="63"/>
                  <a:pt x="159" y="63"/>
                </a:cubicBezTo>
                <a:cubicBezTo>
                  <a:pt x="210" y="63"/>
                  <a:pt x="250" y="104"/>
                  <a:pt x="250" y="154"/>
                </a:cubicBezTo>
                <a:cubicBezTo>
                  <a:pt x="250" y="205"/>
                  <a:pt x="210" y="246"/>
                  <a:pt x="159" y="2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388" name="îsľîḋé">
            <a:extLst>
              <a:ext uri="{FF2B5EF4-FFF2-40B4-BE49-F238E27FC236}">
                <a16:creationId xmlns:a16="http://schemas.microsoft.com/office/drawing/2014/main" id="{3FCF2A9F-E232-42CB-910F-5C012219E747}"/>
              </a:ext>
            </a:extLst>
          </p:cNvPr>
          <p:cNvSpPr/>
          <p:nvPr/>
        </p:nvSpPr>
        <p:spPr bwMode="auto">
          <a:xfrm>
            <a:off x="4926627" y="4684546"/>
            <a:ext cx="140509" cy="206739"/>
          </a:xfrm>
          <a:custGeom>
            <a:avLst/>
            <a:gdLst>
              <a:gd name="T0" fmla="*/ 88862 h 440259"/>
              <a:gd name="T1" fmla="*/ 88862 h 440259"/>
              <a:gd name="T2" fmla="*/ 278945 h 440259"/>
              <a:gd name="T3" fmla="*/ 278945 h 440259"/>
              <a:gd name="T4" fmla="*/ 278945 h 440259"/>
              <a:gd name="T5" fmla="*/ 278945 h 440259"/>
              <a:gd name="T6" fmla="*/ 278945 h 440259"/>
              <a:gd name="T7" fmla="*/ 278945 h 440259"/>
              <a:gd name="T8" fmla="*/ 278945 h 440259"/>
              <a:gd name="T9" fmla="*/ 278945 h 440259"/>
              <a:gd name="T10" fmla="*/ 278945 h 440259"/>
              <a:gd name="T11" fmla="*/ 278945 h 440259"/>
              <a:gd name="T12" fmla="*/ 278945 h 440259"/>
              <a:gd name="T13" fmla="*/ 278945 h 440259"/>
              <a:gd name="T14" fmla="*/ 88862 h 440259"/>
              <a:gd name="T15" fmla="*/ 88862 h 440259"/>
              <a:gd name="T16" fmla="*/ 278945 h 440259"/>
              <a:gd name="T17" fmla="*/ 278945 h 440259"/>
              <a:gd name="T18" fmla="*/ 278945 h 440259"/>
              <a:gd name="T19" fmla="*/ 278945 h 440259"/>
              <a:gd name="T20" fmla="*/ 278945 h 440259"/>
              <a:gd name="T21" fmla="*/ 278945 h 440259"/>
              <a:gd name="T22" fmla="*/ 278945 h 440259"/>
              <a:gd name="T23" fmla="*/ 278945 h 440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19" h="470">
                <a:moveTo>
                  <a:pt x="160" y="0"/>
                </a:moveTo>
                <a:cubicBezTo>
                  <a:pt x="72" y="0"/>
                  <a:pt x="0" y="71"/>
                  <a:pt x="0" y="158"/>
                </a:cubicBezTo>
                <a:cubicBezTo>
                  <a:pt x="0" y="203"/>
                  <a:pt x="44" y="283"/>
                  <a:pt x="44" y="283"/>
                </a:cubicBezTo>
                <a:lnTo>
                  <a:pt x="154" y="470"/>
                </a:lnTo>
                <a:lnTo>
                  <a:pt x="268" y="286"/>
                </a:lnTo>
                <a:cubicBezTo>
                  <a:pt x="268" y="286"/>
                  <a:pt x="319" y="209"/>
                  <a:pt x="319" y="158"/>
                </a:cubicBezTo>
                <a:cubicBezTo>
                  <a:pt x="319" y="71"/>
                  <a:pt x="248" y="0"/>
                  <a:pt x="160" y="0"/>
                </a:cubicBezTo>
                <a:close/>
                <a:moveTo>
                  <a:pt x="159" y="246"/>
                </a:moveTo>
                <a:cubicBezTo>
                  <a:pt x="109" y="246"/>
                  <a:pt x="68" y="205"/>
                  <a:pt x="68" y="154"/>
                </a:cubicBezTo>
                <a:cubicBezTo>
                  <a:pt x="68" y="104"/>
                  <a:pt x="109" y="63"/>
                  <a:pt x="159" y="63"/>
                </a:cubicBezTo>
                <a:cubicBezTo>
                  <a:pt x="210" y="63"/>
                  <a:pt x="250" y="104"/>
                  <a:pt x="250" y="154"/>
                </a:cubicBezTo>
                <a:cubicBezTo>
                  <a:pt x="250" y="205"/>
                  <a:pt x="210" y="246"/>
                  <a:pt x="159" y="2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389" name="îṡḷïḓé">
            <a:extLst>
              <a:ext uri="{FF2B5EF4-FFF2-40B4-BE49-F238E27FC236}">
                <a16:creationId xmlns:a16="http://schemas.microsoft.com/office/drawing/2014/main" id="{75F3795D-BC9A-46A5-A3DA-E21DC77D4C86}"/>
              </a:ext>
            </a:extLst>
          </p:cNvPr>
          <p:cNvSpPr/>
          <p:nvPr/>
        </p:nvSpPr>
        <p:spPr>
          <a:xfrm>
            <a:off x="7323141" y="4083295"/>
            <a:ext cx="84841" cy="84841"/>
          </a:xfrm>
          <a:prstGeom prst="ellipse">
            <a:avLst/>
          </a:prstGeom>
          <a:solidFill>
            <a:schemeClr val="accent2">
              <a:alpha val="81000"/>
            </a:schemeClr>
          </a:solidFill>
          <a:ln w="12700" cap="rnd">
            <a:solidFill>
              <a:schemeClr val="bg1">
                <a:alpha val="77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390" name="iş1îḓe">
            <a:extLst>
              <a:ext uri="{FF2B5EF4-FFF2-40B4-BE49-F238E27FC236}">
                <a16:creationId xmlns:a16="http://schemas.microsoft.com/office/drawing/2014/main" id="{C1EB04BA-2194-4088-85B9-FB3B701E325B}"/>
              </a:ext>
            </a:extLst>
          </p:cNvPr>
          <p:cNvSpPr/>
          <p:nvPr/>
        </p:nvSpPr>
        <p:spPr>
          <a:xfrm>
            <a:off x="6949546" y="4076365"/>
            <a:ext cx="84841" cy="84841"/>
          </a:xfrm>
          <a:prstGeom prst="ellipse">
            <a:avLst/>
          </a:prstGeom>
          <a:solidFill>
            <a:schemeClr val="accent2">
              <a:alpha val="81000"/>
            </a:schemeClr>
          </a:solidFill>
          <a:ln w="12700" cap="rnd">
            <a:solidFill>
              <a:schemeClr val="bg1">
                <a:alpha val="77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391" name="iśļiḋé">
            <a:extLst>
              <a:ext uri="{FF2B5EF4-FFF2-40B4-BE49-F238E27FC236}">
                <a16:creationId xmlns:a16="http://schemas.microsoft.com/office/drawing/2014/main" id="{116F7C20-51ED-4BDA-89F6-5A354F7F5710}"/>
              </a:ext>
            </a:extLst>
          </p:cNvPr>
          <p:cNvSpPr/>
          <p:nvPr/>
        </p:nvSpPr>
        <p:spPr>
          <a:xfrm>
            <a:off x="7178514" y="4273785"/>
            <a:ext cx="84841" cy="84841"/>
          </a:xfrm>
          <a:prstGeom prst="ellipse">
            <a:avLst/>
          </a:prstGeom>
          <a:solidFill>
            <a:schemeClr val="accent2">
              <a:alpha val="81000"/>
            </a:schemeClr>
          </a:solidFill>
          <a:ln w="12700" cap="rnd">
            <a:solidFill>
              <a:schemeClr val="bg1">
                <a:alpha val="77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392" name="íŝļídê">
            <a:extLst>
              <a:ext uri="{FF2B5EF4-FFF2-40B4-BE49-F238E27FC236}">
                <a16:creationId xmlns:a16="http://schemas.microsoft.com/office/drawing/2014/main" id="{693CFC3E-5065-474E-BC01-5FF4574D6558}"/>
              </a:ext>
            </a:extLst>
          </p:cNvPr>
          <p:cNvSpPr/>
          <p:nvPr/>
        </p:nvSpPr>
        <p:spPr>
          <a:xfrm>
            <a:off x="6988785" y="3731214"/>
            <a:ext cx="84841" cy="84841"/>
          </a:xfrm>
          <a:prstGeom prst="ellipse">
            <a:avLst/>
          </a:prstGeom>
          <a:solidFill>
            <a:schemeClr val="accent2">
              <a:alpha val="81000"/>
            </a:schemeClr>
          </a:solidFill>
          <a:ln w="12700" cap="rnd">
            <a:solidFill>
              <a:schemeClr val="bg1">
                <a:alpha val="77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393" name="î$ḷíḑé">
            <a:extLst>
              <a:ext uri="{FF2B5EF4-FFF2-40B4-BE49-F238E27FC236}">
                <a16:creationId xmlns:a16="http://schemas.microsoft.com/office/drawing/2014/main" id="{2E7E0FF0-0AEB-4B0B-86A5-5A0223356756}"/>
              </a:ext>
            </a:extLst>
          </p:cNvPr>
          <p:cNvSpPr/>
          <p:nvPr/>
        </p:nvSpPr>
        <p:spPr>
          <a:xfrm>
            <a:off x="6636968" y="3870150"/>
            <a:ext cx="84841" cy="84841"/>
          </a:xfrm>
          <a:prstGeom prst="ellipse">
            <a:avLst/>
          </a:prstGeom>
          <a:solidFill>
            <a:schemeClr val="accent2">
              <a:alpha val="81000"/>
            </a:schemeClr>
          </a:solidFill>
          <a:ln w="12700" cap="rnd">
            <a:solidFill>
              <a:schemeClr val="bg1">
                <a:alpha val="77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394" name="işlíḍê">
            <a:extLst>
              <a:ext uri="{FF2B5EF4-FFF2-40B4-BE49-F238E27FC236}">
                <a16:creationId xmlns:a16="http://schemas.microsoft.com/office/drawing/2014/main" id="{A041C36C-F5CA-46CB-8EDA-1BE22DB36A0E}"/>
              </a:ext>
            </a:extLst>
          </p:cNvPr>
          <p:cNvSpPr/>
          <p:nvPr/>
        </p:nvSpPr>
        <p:spPr>
          <a:xfrm>
            <a:off x="6636968" y="4121523"/>
            <a:ext cx="84841" cy="84841"/>
          </a:xfrm>
          <a:prstGeom prst="ellipse">
            <a:avLst/>
          </a:prstGeom>
          <a:solidFill>
            <a:schemeClr val="accent2">
              <a:alpha val="81000"/>
            </a:schemeClr>
          </a:solidFill>
          <a:ln w="12700" cap="rnd">
            <a:solidFill>
              <a:schemeClr val="bg1">
                <a:alpha val="77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395" name="ïṡľïḓê">
            <a:extLst>
              <a:ext uri="{FF2B5EF4-FFF2-40B4-BE49-F238E27FC236}">
                <a16:creationId xmlns:a16="http://schemas.microsoft.com/office/drawing/2014/main" id="{11C448C7-E009-4002-92AA-FE3FA5A751B6}"/>
              </a:ext>
            </a:extLst>
          </p:cNvPr>
          <p:cNvSpPr/>
          <p:nvPr/>
        </p:nvSpPr>
        <p:spPr>
          <a:xfrm>
            <a:off x="6119777" y="4304849"/>
            <a:ext cx="84841" cy="84841"/>
          </a:xfrm>
          <a:prstGeom prst="ellipse">
            <a:avLst/>
          </a:prstGeom>
          <a:solidFill>
            <a:schemeClr val="accent2">
              <a:alpha val="81000"/>
            </a:schemeClr>
          </a:solidFill>
          <a:ln w="12700" cap="rnd">
            <a:solidFill>
              <a:schemeClr val="bg1">
                <a:alpha val="77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396" name="iṣľîḋé">
            <a:extLst>
              <a:ext uri="{FF2B5EF4-FFF2-40B4-BE49-F238E27FC236}">
                <a16:creationId xmlns:a16="http://schemas.microsoft.com/office/drawing/2014/main" id="{FFDD39C3-A7EF-4F40-98A3-426118C2172B}"/>
              </a:ext>
            </a:extLst>
          </p:cNvPr>
          <p:cNvSpPr/>
          <p:nvPr/>
        </p:nvSpPr>
        <p:spPr>
          <a:xfrm>
            <a:off x="5800193" y="4304849"/>
            <a:ext cx="84841" cy="84841"/>
          </a:xfrm>
          <a:prstGeom prst="ellipse">
            <a:avLst/>
          </a:prstGeom>
          <a:solidFill>
            <a:schemeClr val="accent2">
              <a:alpha val="81000"/>
            </a:schemeClr>
          </a:solidFill>
          <a:ln w="12700" cap="rnd">
            <a:solidFill>
              <a:schemeClr val="bg1">
                <a:alpha val="77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397" name="ïṥḻïḍè">
            <a:extLst>
              <a:ext uri="{FF2B5EF4-FFF2-40B4-BE49-F238E27FC236}">
                <a16:creationId xmlns:a16="http://schemas.microsoft.com/office/drawing/2014/main" id="{37DA368A-39B0-4BD9-8B67-5EBF75AF3F09}"/>
              </a:ext>
            </a:extLst>
          </p:cNvPr>
          <p:cNvSpPr/>
          <p:nvPr/>
        </p:nvSpPr>
        <p:spPr>
          <a:xfrm>
            <a:off x="6028433" y="3938847"/>
            <a:ext cx="84841" cy="84841"/>
          </a:xfrm>
          <a:prstGeom prst="ellipse">
            <a:avLst/>
          </a:prstGeom>
          <a:solidFill>
            <a:schemeClr val="accent2">
              <a:alpha val="81000"/>
            </a:schemeClr>
          </a:solidFill>
          <a:ln w="12700" cap="rnd">
            <a:solidFill>
              <a:schemeClr val="bg1">
                <a:alpha val="77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398" name="ï$lïḍé">
            <a:extLst>
              <a:ext uri="{FF2B5EF4-FFF2-40B4-BE49-F238E27FC236}">
                <a16:creationId xmlns:a16="http://schemas.microsoft.com/office/drawing/2014/main" id="{C33AAFDF-38C3-4763-9FA4-306DCE866FFA}"/>
              </a:ext>
            </a:extLst>
          </p:cNvPr>
          <p:cNvSpPr/>
          <p:nvPr/>
        </p:nvSpPr>
        <p:spPr>
          <a:xfrm>
            <a:off x="7659637" y="5019907"/>
            <a:ext cx="84841" cy="84841"/>
          </a:xfrm>
          <a:prstGeom prst="ellipse">
            <a:avLst/>
          </a:prstGeom>
          <a:solidFill>
            <a:schemeClr val="accent2">
              <a:alpha val="81000"/>
            </a:schemeClr>
          </a:solidFill>
          <a:ln w="12700" cap="rnd">
            <a:solidFill>
              <a:schemeClr val="bg1">
                <a:alpha val="77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399" name="îṧlîḍê">
            <a:extLst>
              <a:ext uri="{FF2B5EF4-FFF2-40B4-BE49-F238E27FC236}">
                <a16:creationId xmlns:a16="http://schemas.microsoft.com/office/drawing/2014/main" id="{007D89B8-8611-4A29-BB79-9EBE3198F6F4}"/>
              </a:ext>
            </a:extLst>
          </p:cNvPr>
          <p:cNvSpPr/>
          <p:nvPr/>
        </p:nvSpPr>
        <p:spPr>
          <a:xfrm>
            <a:off x="5059246" y="5019907"/>
            <a:ext cx="84841" cy="84841"/>
          </a:xfrm>
          <a:prstGeom prst="ellipse">
            <a:avLst/>
          </a:prstGeom>
          <a:solidFill>
            <a:schemeClr val="accent2">
              <a:alpha val="81000"/>
            </a:schemeClr>
          </a:solidFill>
          <a:ln w="12700" cap="rnd">
            <a:solidFill>
              <a:schemeClr val="bg1">
                <a:alpha val="77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400" name="ïṧḻîḋê">
            <a:extLst>
              <a:ext uri="{FF2B5EF4-FFF2-40B4-BE49-F238E27FC236}">
                <a16:creationId xmlns:a16="http://schemas.microsoft.com/office/drawing/2014/main" id="{CF45EB7B-4193-4E61-B8A8-203F4683F0E2}"/>
              </a:ext>
            </a:extLst>
          </p:cNvPr>
          <p:cNvSpPr/>
          <p:nvPr/>
        </p:nvSpPr>
        <p:spPr>
          <a:xfrm>
            <a:off x="5127826" y="4821929"/>
            <a:ext cx="84841" cy="84841"/>
          </a:xfrm>
          <a:prstGeom prst="ellipse">
            <a:avLst/>
          </a:prstGeom>
          <a:solidFill>
            <a:schemeClr val="accent2">
              <a:alpha val="81000"/>
            </a:schemeClr>
          </a:solidFill>
          <a:ln w="12700" cap="rnd">
            <a:solidFill>
              <a:schemeClr val="bg1">
                <a:alpha val="77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401" name="iṡḻîḋè">
            <a:extLst>
              <a:ext uri="{FF2B5EF4-FFF2-40B4-BE49-F238E27FC236}">
                <a16:creationId xmlns:a16="http://schemas.microsoft.com/office/drawing/2014/main" id="{FB914243-75E6-47F7-B13C-D9FAADA6DC1B}"/>
              </a:ext>
            </a:extLst>
          </p:cNvPr>
          <p:cNvSpPr/>
          <p:nvPr/>
        </p:nvSpPr>
        <p:spPr>
          <a:xfrm>
            <a:off x="4411334" y="4009856"/>
            <a:ext cx="84841" cy="84841"/>
          </a:xfrm>
          <a:prstGeom prst="ellipse">
            <a:avLst/>
          </a:prstGeom>
          <a:solidFill>
            <a:schemeClr val="accent2">
              <a:alpha val="81000"/>
            </a:schemeClr>
          </a:solidFill>
          <a:ln w="12700" cap="rnd">
            <a:solidFill>
              <a:schemeClr val="bg1">
                <a:alpha val="77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402" name="íšḻiḑe">
            <a:extLst>
              <a:ext uri="{FF2B5EF4-FFF2-40B4-BE49-F238E27FC236}">
                <a16:creationId xmlns:a16="http://schemas.microsoft.com/office/drawing/2014/main" id="{9D03CA35-34FC-41FA-83A3-6A381E8A937A}"/>
              </a:ext>
            </a:extLst>
          </p:cNvPr>
          <p:cNvSpPr/>
          <p:nvPr/>
        </p:nvSpPr>
        <p:spPr>
          <a:xfrm>
            <a:off x="4541441" y="4118785"/>
            <a:ext cx="84841" cy="84841"/>
          </a:xfrm>
          <a:prstGeom prst="ellipse">
            <a:avLst/>
          </a:prstGeom>
          <a:solidFill>
            <a:schemeClr val="accent2">
              <a:alpha val="81000"/>
            </a:schemeClr>
          </a:solidFill>
          <a:ln w="12700" cap="rnd">
            <a:solidFill>
              <a:schemeClr val="bg1">
                <a:alpha val="77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403" name="íšḷïḑe">
            <a:extLst>
              <a:ext uri="{FF2B5EF4-FFF2-40B4-BE49-F238E27FC236}">
                <a16:creationId xmlns:a16="http://schemas.microsoft.com/office/drawing/2014/main" id="{277AC8E1-1C80-44C4-ACF2-1DF8854634D7}"/>
              </a:ext>
            </a:extLst>
          </p:cNvPr>
          <p:cNvGrpSpPr/>
          <p:nvPr/>
        </p:nvGrpSpPr>
        <p:grpSpPr>
          <a:xfrm>
            <a:off x="5416902" y="5770434"/>
            <a:ext cx="1329272" cy="290514"/>
            <a:chOff x="4500376" y="5848351"/>
            <a:chExt cx="1329272" cy="290514"/>
          </a:xfrm>
        </p:grpSpPr>
        <p:sp>
          <p:nvSpPr>
            <p:cNvPr id="417" name="ïṡļïḑe">
              <a:extLst>
                <a:ext uri="{FF2B5EF4-FFF2-40B4-BE49-F238E27FC236}">
                  <a16:creationId xmlns:a16="http://schemas.microsoft.com/office/drawing/2014/main" id="{7296A41F-44E4-4C76-BD00-E8DD18FB2B82}"/>
                </a:ext>
              </a:extLst>
            </p:cNvPr>
            <p:cNvSpPr txBox="1"/>
            <p:nvPr/>
          </p:nvSpPr>
          <p:spPr>
            <a:xfrm>
              <a:off x="4642198" y="5848351"/>
              <a:ext cx="1187450" cy="290514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defTabSz="913765">
                <a:buSzPct val="25000"/>
                <a:defRPr/>
              </a:pPr>
              <a:r>
                <a:rPr lang="en-US" altLang="zh-CN" sz="1200"/>
                <a:t>Text</a:t>
              </a:r>
            </a:p>
          </p:txBody>
        </p:sp>
        <p:sp>
          <p:nvSpPr>
            <p:cNvPr id="418" name="îšḻïḋe">
              <a:extLst>
                <a:ext uri="{FF2B5EF4-FFF2-40B4-BE49-F238E27FC236}">
                  <a16:creationId xmlns:a16="http://schemas.microsoft.com/office/drawing/2014/main" id="{06585ECB-CB83-4D66-A8D2-9AB5848BD21A}"/>
                </a:ext>
              </a:extLst>
            </p:cNvPr>
            <p:cNvSpPr/>
            <p:nvPr/>
          </p:nvSpPr>
          <p:spPr bwMode="auto">
            <a:xfrm>
              <a:off x="4500376" y="5889116"/>
              <a:ext cx="140509" cy="206739"/>
            </a:xfrm>
            <a:custGeom>
              <a:avLst/>
              <a:gdLst>
                <a:gd name="T0" fmla="*/ 88862 h 440259"/>
                <a:gd name="T1" fmla="*/ 88862 h 440259"/>
                <a:gd name="T2" fmla="*/ 278945 h 440259"/>
                <a:gd name="T3" fmla="*/ 278945 h 440259"/>
                <a:gd name="T4" fmla="*/ 278945 h 440259"/>
                <a:gd name="T5" fmla="*/ 278945 h 440259"/>
                <a:gd name="T6" fmla="*/ 278945 h 440259"/>
                <a:gd name="T7" fmla="*/ 278945 h 440259"/>
                <a:gd name="T8" fmla="*/ 278945 h 440259"/>
                <a:gd name="T9" fmla="*/ 278945 h 440259"/>
                <a:gd name="T10" fmla="*/ 278945 h 440259"/>
                <a:gd name="T11" fmla="*/ 278945 h 440259"/>
                <a:gd name="T12" fmla="*/ 278945 h 440259"/>
                <a:gd name="T13" fmla="*/ 278945 h 440259"/>
                <a:gd name="T14" fmla="*/ 88862 h 440259"/>
                <a:gd name="T15" fmla="*/ 88862 h 440259"/>
                <a:gd name="T16" fmla="*/ 278945 h 440259"/>
                <a:gd name="T17" fmla="*/ 278945 h 440259"/>
                <a:gd name="T18" fmla="*/ 278945 h 440259"/>
                <a:gd name="T19" fmla="*/ 278945 h 440259"/>
                <a:gd name="T20" fmla="*/ 278945 h 440259"/>
                <a:gd name="T21" fmla="*/ 278945 h 440259"/>
                <a:gd name="T22" fmla="*/ 278945 h 440259"/>
                <a:gd name="T23" fmla="*/ 278945 h 440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470">
                  <a:moveTo>
                    <a:pt x="160" y="0"/>
                  </a:moveTo>
                  <a:cubicBezTo>
                    <a:pt x="72" y="0"/>
                    <a:pt x="0" y="71"/>
                    <a:pt x="0" y="158"/>
                  </a:cubicBezTo>
                  <a:cubicBezTo>
                    <a:pt x="0" y="203"/>
                    <a:pt x="44" y="283"/>
                    <a:pt x="44" y="283"/>
                  </a:cubicBezTo>
                  <a:lnTo>
                    <a:pt x="154" y="470"/>
                  </a:lnTo>
                  <a:lnTo>
                    <a:pt x="268" y="286"/>
                  </a:lnTo>
                  <a:cubicBezTo>
                    <a:pt x="268" y="286"/>
                    <a:pt x="319" y="209"/>
                    <a:pt x="319" y="158"/>
                  </a:cubicBezTo>
                  <a:cubicBezTo>
                    <a:pt x="319" y="71"/>
                    <a:pt x="248" y="0"/>
                    <a:pt x="160" y="0"/>
                  </a:cubicBezTo>
                  <a:close/>
                  <a:moveTo>
                    <a:pt x="159" y="246"/>
                  </a:moveTo>
                  <a:cubicBezTo>
                    <a:pt x="109" y="246"/>
                    <a:pt x="68" y="205"/>
                    <a:pt x="68" y="154"/>
                  </a:cubicBezTo>
                  <a:cubicBezTo>
                    <a:pt x="68" y="104"/>
                    <a:pt x="109" y="63"/>
                    <a:pt x="159" y="63"/>
                  </a:cubicBezTo>
                  <a:cubicBezTo>
                    <a:pt x="210" y="63"/>
                    <a:pt x="250" y="104"/>
                    <a:pt x="250" y="154"/>
                  </a:cubicBezTo>
                  <a:cubicBezTo>
                    <a:pt x="250" y="205"/>
                    <a:pt x="210" y="246"/>
                    <a:pt x="159" y="24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404" name="iṥlîdé">
            <a:extLst>
              <a:ext uri="{FF2B5EF4-FFF2-40B4-BE49-F238E27FC236}">
                <a16:creationId xmlns:a16="http://schemas.microsoft.com/office/drawing/2014/main" id="{B0D66838-1859-4D90-B2A3-8214C385A4F0}"/>
              </a:ext>
            </a:extLst>
          </p:cNvPr>
          <p:cNvGrpSpPr/>
          <p:nvPr/>
        </p:nvGrpSpPr>
        <p:grpSpPr>
          <a:xfrm>
            <a:off x="6434377" y="5770434"/>
            <a:ext cx="1291943" cy="290514"/>
            <a:chOff x="5517851" y="5848351"/>
            <a:chExt cx="1291943" cy="290514"/>
          </a:xfrm>
        </p:grpSpPr>
        <p:sp>
          <p:nvSpPr>
            <p:cNvPr id="415" name="îṩ1íḓé">
              <a:extLst>
                <a:ext uri="{FF2B5EF4-FFF2-40B4-BE49-F238E27FC236}">
                  <a16:creationId xmlns:a16="http://schemas.microsoft.com/office/drawing/2014/main" id="{AC21D961-1B1C-4845-8E8F-573DEBFE58C1}"/>
                </a:ext>
              </a:extLst>
            </p:cNvPr>
            <p:cNvSpPr txBox="1"/>
            <p:nvPr/>
          </p:nvSpPr>
          <p:spPr>
            <a:xfrm>
              <a:off x="5622344" y="5848351"/>
              <a:ext cx="1187450" cy="290514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defTabSz="913765">
                <a:buSzPct val="25000"/>
                <a:defRPr/>
              </a:pPr>
              <a:r>
                <a:rPr lang="en-US" altLang="zh-CN" sz="1200"/>
                <a:t>Text</a:t>
              </a:r>
            </a:p>
          </p:txBody>
        </p:sp>
        <p:sp>
          <p:nvSpPr>
            <p:cNvPr id="416" name="ï$lïḑe">
              <a:extLst>
                <a:ext uri="{FF2B5EF4-FFF2-40B4-BE49-F238E27FC236}">
                  <a16:creationId xmlns:a16="http://schemas.microsoft.com/office/drawing/2014/main" id="{A7792656-6B4D-4668-97D7-58A14412939C}"/>
                </a:ext>
              </a:extLst>
            </p:cNvPr>
            <p:cNvSpPr/>
            <p:nvPr/>
          </p:nvSpPr>
          <p:spPr>
            <a:xfrm>
              <a:off x="5517851" y="5946783"/>
              <a:ext cx="84841" cy="84841"/>
            </a:xfrm>
            <a:prstGeom prst="ellipse">
              <a:avLst/>
            </a:prstGeom>
            <a:solidFill>
              <a:schemeClr val="accent2">
                <a:alpha val="81000"/>
              </a:schemeClr>
            </a:solidFill>
            <a:ln w="12700" cap="rnd">
              <a:solidFill>
                <a:schemeClr val="bg1">
                  <a:alpha val="77000"/>
                </a:schemeClr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05" name="iśḷíďè">
            <a:extLst>
              <a:ext uri="{FF2B5EF4-FFF2-40B4-BE49-F238E27FC236}">
                <a16:creationId xmlns:a16="http://schemas.microsoft.com/office/drawing/2014/main" id="{8DDB6916-D964-4499-A2CC-413BAB270C97}"/>
              </a:ext>
            </a:extLst>
          </p:cNvPr>
          <p:cNvGrpSpPr/>
          <p:nvPr/>
        </p:nvGrpSpPr>
        <p:grpSpPr>
          <a:xfrm>
            <a:off x="1663576" y="3420937"/>
            <a:ext cx="615950" cy="615948"/>
            <a:chOff x="6319119" y="1785939"/>
            <a:chExt cx="594360" cy="594360"/>
          </a:xfrm>
        </p:grpSpPr>
        <p:sp>
          <p:nvSpPr>
            <p:cNvPr id="413" name="î$ḻïḑé">
              <a:extLst>
                <a:ext uri="{FF2B5EF4-FFF2-40B4-BE49-F238E27FC236}">
                  <a16:creationId xmlns:a16="http://schemas.microsoft.com/office/drawing/2014/main" id="{88082BC2-0218-4EB3-9534-8FAE255C3EB4}"/>
                </a:ext>
              </a:extLst>
            </p:cNvPr>
            <p:cNvSpPr/>
            <p:nvPr/>
          </p:nvSpPr>
          <p:spPr>
            <a:xfrm>
              <a:off x="6319119" y="1785939"/>
              <a:ext cx="594360" cy="594360"/>
            </a:xfrm>
            <a:prstGeom prst="ellipse">
              <a:avLst/>
            </a:prstGeom>
            <a:solidFill>
              <a:schemeClr val="accent1"/>
            </a:solidFill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414" name="îṣliḓe">
              <a:extLst>
                <a:ext uri="{FF2B5EF4-FFF2-40B4-BE49-F238E27FC236}">
                  <a16:creationId xmlns:a16="http://schemas.microsoft.com/office/drawing/2014/main" id="{23FDD73C-E365-4D5D-B36B-5C8732979C66}"/>
                </a:ext>
              </a:extLst>
            </p:cNvPr>
            <p:cNvSpPr/>
            <p:nvPr/>
          </p:nvSpPr>
          <p:spPr>
            <a:xfrm>
              <a:off x="6484831" y="1939771"/>
              <a:ext cx="262933" cy="286692"/>
            </a:xfrm>
            <a:custGeom>
              <a:avLst/>
              <a:gdLst>
                <a:gd name="T0" fmla="*/ 156 w 208"/>
                <a:gd name="T1" fmla="*/ 0 h 224"/>
                <a:gd name="T2" fmla="*/ 156 w 208"/>
                <a:gd name="T3" fmla="*/ 8 h 224"/>
                <a:gd name="T4" fmla="*/ 144 w 208"/>
                <a:gd name="T5" fmla="*/ 8 h 224"/>
                <a:gd name="T6" fmla="*/ 144 w 208"/>
                <a:gd name="T7" fmla="*/ 59 h 224"/>
                <a:gd name="T8" fmla="*/ 208 w 208"/>
                <a:gd name="T9" fmla="*/ 204 h 224"/>
                <a:gd name="T10" fmla="*/ 201 w 208"/>
                <a:gd name="T11" fmla="*/ 224 h 224"/>
                <a:gd name="T12" fmla="*/ 7 w 208"/>
                <a:gd name="T13" fmla="*/ 224 h 224"/>
                <a:gd name="T14" fmla="*/ 0 w 208"/>
                <a:gd name="T15" fmla="*/ 204 h 224"/>
                <a:gd name="T16" fmla="*/ 64 w 208"/>
                <a:gd name="T17" fmla="*/ 59 h 224"/>
                <a:gd name="T18" fmla="*/ 64 w 208"/>
                <a:gd name="T19" fmla="*/ 8 h 224"/>
                <a:gd name="T20" fmla="*/ 52 w 208"/>
                <a:gd name="T21" fmla="*/ 8 h 224"/>
                <a:gd name="T22" fmla="*/ 52 w 208"/>
                <a:gd name="T23" fmla="*/ 0 h 224"/>
                <a:gd name="T24" fmla="*/ 156 w 208"/>
                <a:gd name="T25" fmla="*/ 0 h 224"/>
                <a:gd name="T26" fmla="*/ 108 w 208"/>
                <a:gd name="T27" fmla="*/ 174 h 224"/>
                <a:gd name="T28" fmla="*/ 106 w 208"/>
                <a:gd name="T29" fmla="*/ 175 h 224"/>
                <a:gd name="T30" fmla="*/ 22 w 208"/>
                <a:gd name="T31" fmla="*/ 174 h 224"/>
                <a:gd name="T32" fmla="*/ 8 w 208"/>
                <a:gd name="T33" fmla="*/ 204 h 224"/>
                <a:gd name="T34" fmla="*/ 13 w 208"/>
                <a:gd name="T35" fmla="*/ 216 h 224"/>
                <a:gd name="T36" fmla="*/ 195 w 208"/>
                <a:gd name="T37" fmla="*/ 216 h 224"/>
                <a:gd name="T38" fmla="*/ 200 w 208"/>
                <a:gd name="T39" fmla="*/ 204 h 224"/>
                <a:gd name="T40" fmla="*/ 185 w 208"/>
                <a:gd name="T41" fmla="*/ 171 h 224"/>
                <a:gd name="T42" fmla="*/ 108 w 208"/>
                <a:gd name="T43" fmla="*/ 174 h 224"/>
                <a:gd name="T44" fmla="*/ 136 w 208"/>
                <a:gd name="T45" fmla="*/ 8 h 224"/>
                <a:gd name="T46" fmla="*/ 72 w 208"/>
                <a:gd name="T47" fmla="*/ 8 h 224"/>
                <a:gd name="T48" fmla="*/ 72 w 208"/>
                <a:gd name="T49" fmla="*/ 61 h 224"/>
                <a:gd name="T50" fmla="*/ 25 w 208"/>
                <a:gd name="T51" fmla="*/ 166 h 224"/>
                <a:gd name="T52" fmla="*/ 101 w 208"/>
                <a:gd name="T53" fmla="*/ 170 h 224"/>
                <a:gd name="T54" fmla="*/ 102 w 208"/>
                <a:gd name="T55" fmla="*/ 169 h 224"/>
                <a:gd name="T56" fmla="*/ 180 w 208"/>
                <a:gd name="T57" fmla="*/ 160 h 224"/>
                <a:gd name="T58" fmla="*/ 136 w 208"/>
                <a:gd name="T59" fmla="*/ 61 h 224"/>
                <a:gd name="T60" fmla="*/ 136 w 208"/>
                <a:gd name="T61" fmla="*/ 8 h 224"/>
                <a:gd name="T62" fmla="*/ 130 w 208"/>
                <a:gd name="T63" fmla="*/ 104 h 224"/>
                <a:gd name="T64" fmla="*/ 148 w 208"/>
                <a:gd name="T65" fmla="*/ 122 h 224"/>
                <a:gd name="T66" fmla="*/ 130 w 208"/>
                <a:gd name="T67" fmla="*/ 140 h 224"/>
                <a:gd name="T68" fmla="*/ 112 w 208"/>
                <a:gd name="T69" fmla="*/ 122 h 224"/>
                <a:gd name="T70" fmla="*/ 130 w 208"/>
                <a:gd name="T71" fmla="*/ 104 h 224"/>
                <a:gd name="T72" fmla="*/ 130 w 208"/>
                <a:gd name="T73" fmla="*/ 112 h 224"/>
                <a:gd name="T74" fmla="*/ 120 w 208"/>
                <a:gd name="T75" fmla="*/ 122 h 224"/>
                <a:gd name="T76" fmla="*/ 130 w 208"/>
                <a:gd name="T77" fmla="*/ 132 h 224"/>
                <a:gd name="T78" fmla="*/ 140 w 208"/>
                <a:gd name="T79" fmla="*/ 122 h 224"/>
                <a:gd name="T80" fmla="*/ 130 w 208"/>
                <a:gd name="T81" fmla="*/ 112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8" h="224">
                  <a:moveTo>
                    <a:pt x="156" y="0"/>
                  </a:moveTo>
                  <a:cubicBezTo>
                    <a:pt x="156" y="8"/>
                    <a:pt x="156" y="8"/>
                    <a:pt x="156" y="8"/>
                  </a:cubicBezTo>
                  <a:cubicBezTo>
                    <a:pt x="144" y="8"/>
                    <a:pt x="144" y="8"/>
                    <a:pt x="144" y="8"/>
                  </a:cubicBezTo>
                  <a:cubicBezTo>
                    <a:pt x="144" y="59"/>
                    <a:pt x="144" y="59"/>
                    <a:pt x="144" y="59"/>
                  </a:cubicBezTo>
                  <a:cubicBezTo>
                    <a:pt x="208" y="204"/>
                    <a:pt x="208" y="204"/>
                    <a:pt x="208" y="204"/>
                  </a:cubicBezTo>
                  <a:cubicBezTo>
                    <a:pt x="201" y="224"/>
                    <a:pt x="201" y="224"/>
                    <a:pt x="201" y="224"/>
                  </a:cubicBezTo>
                  <a:cubicBezTo>
                    <a:pt x="7" y="224"/>
                    <a:pt x="7" y="224"/>
                    <a:pt x="7" y="224"/>
                  </a:cubicBezTo>
                  <a:cubicBezTo>
                    <a:pt x="0" y="204"/>
                    <a:pt x="0" y="204"/>
                    <a:pt x="0" y="204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2" y="0"/>
                    <a:pt x="52" y="0"/>
                    <a:pt x="52" y="0"/>
                  </a:cubicBezTo>
                  <a:lnTo>
                    <a:pt x="156" y="0"/>
                  </a:lnTo>
                  <a:close/>
                  <a:moveTo>
                    <a:pt x="108" y="174"/>
                  </a:moveTo>
                  <a:cubicBezTo>
                    <a:pt x="106" y="175"/>
                    <a:pt x="106" y="175"/>
                    <a:pt x="106" y="175"/>
                  </a:cubicBezTo>
                  <a:cubicBezTo>
                    <a:pt x="83" y="192"/>
                    <a:pt x="50" y="191"/>
                    <a:pt x="22" y="174"/>
                  </a:cubicBezTo>
                  <a:cubicBezTo>
                    <a:pt x="8" y="204"/>
                    <a:pt x="8" y="204"/>
                    <a:pt x="8" y="204"/>
                  </a:cubicBezTo>
                  <a:cubicBezTo>
                    <a:pt x="13" y="216"/>
                    <a:pt x="13" y="216"/>
                    <a:pt x="13" y="216"/>
                  </a:cubicBezTo>
                  <a:cubicBezTo>
                    <a:pt x="195" y="216"/>
                    <a:pt x="195" y="216"/>
                    <a:pt x="195" y="216"/>
                  </a:cubicBezTo>
                  <a:cubicBezTo>
                    <a:pt x="200" y="204"/>
                    <a:pt x="200" y="204"/>
                    <a:pt x="200" y="204"/>
                  </a:cubicBezTo>
                  <a:cubicBezTo>
                    <a:pt x="185" y="171"/>
                    <a:pt x="185" y="171"/>
                    <a:pt x="185" y="171"/>
                  </a:cubicBezTo>
                  <a:cubicBezTo>
                    <a:pt x="159" y="159"/>
                    <a:pt x="128" y="160"/>
                    <a:pt x="108" y="174"/>
                  </a:cubicBezTo>
                  <a:close/>
                  <a:moveTo>
                    <a:pt x="136" y="8"/>
                  </a:moveTo>
                  <a:cubicBezTo>
                    <a:pt x="72" y="8"/>
                    <a:pt x="72" y="8"/>
                    <a:pt x="72" y="8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25" y="166"/>
                    <a:pt x="25" y="166"/>
                    <a:pt x="25" y="166"/>
                  </a:cubicBezTo>
                  <a:cubicBezTo>
                    <a:pt x="50" y="182"/>
                    <a:pt x="80" y="183"/>
                    <a:pt x="101" y="170"/>
                  </a:cubicBezTo>
                  <a:cubicBezTo>
                    <a:pt x="102" y="169"/>
                    <a:pt x="102" y="169"/>
                    <a:pt x="102" y="169"/>
                  </a:cubicBezTo>
                  <a:cubicBezTo>
                    <a:pt x="123" y="154"/>
                    <a:pt x="153" y="151"/>
                    <a:pt x="180" y="160"/>
                  </a:cubicBezTo>
                  <a:cubicBezTo>
                    <a:pt x="136" y="61"/>
                    <a:pt x="136" y="61"/>
                    <a:pt x="136" y="61"/>
                  </a:cubicBezTo>
                  <a:lnTo>
                    <a:pt x="136" y="8"/>
                  </a:lnTo>
                  <a:close/>
                  <a:moveTo>
                    <a:pt x="130" y="104"/>
                  </a:moveTo>
                  <a:cubicBezTo>
                    <a:pt x="140" y="104"/>
                    <a:pt x="148" y="112"/>
                    <a:pt x="148" y="122"/>
                  </a:cubicBezTo>
                  <a:cubicBezTo>
                    <a:pt x="148" y="132"/>
                    <a:pt x="140" y="140"/>
                    <a:pt x="130" y="140"/>
                  </a:cubicBezTo>
                  <a:cubicBezTo>
                    <a:pt x="120" y="140"/>
                    <a:pt x="112" y="132"/>
                    <a:pt x="112" y="122"/>
                  </a:cubicBezTo>
                  <a:cubicBezTo>
                    <a:pt x="112" y="112"/>
                    <a:pt x="120" y="104"/>
                    <a:pt x="130" y="104"/>
                  </a:cubicBezTo>
                  <a:close/>
                  <a:moveTo>
                    <a:pt x="130" y="112"/>
                  </a:moveTo>
                  <a:cubicBezTo>
                    <a:pt x="124" y="112"/>
                    <a:pt x="120" y="116"/>
                    <a:pt x="120" y="122"/>
                  </a:cubicBezTo>
                  <a:cubicBezTo>
                    <a:pt x="120" y="128"/>
                    <a:pt x="124" y="132"/>
                    <a:pt x="130" y="132"/>
                  </a:cubicBezTo>
                  <a:cubicBezTo>
                    <a:pt x="136" y="132"/>
                    <a:pt x="140" y="128"/>
                    <a:pt x="140" y="122"/>
                  </a:cubicBezTo>
                  <a:cubicBezTo>
                    <a:pt x="140" y="116"/>
                    <a:pt x="136" y="112"/>
                    <a:pt x="130" y="112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7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</p:grpSp>
      <p:sp>
        <p:nvSpPr>
          <p:cNvPr id="406" name="íSlïdè">
            <a:extLst>
              <a:ext uri="{FF2B5EF4-FFF2-40B4-BE49-F238E27FC236}">
                <a16:creationId xmlns:a16="http://schemas.microsoft.com/office/drawing/2014/main" id="{C2A089C1-EEA5-4EE7-904B-BAAF898F85A2}"/>
              </a:ext>
            </a:extLst>
          </p:cNvPr>
          <p:cNvSpPr txBox="1"/>
          <p:nvPr/>
        </p:nvSpPr>
        <p:spPr>
          <a:xfrm>
            <a:off x="660400" y="4170666"/>
            <a:ext cx="2622302" cy="432521"/>
          </a:xfrm>
          <a:prstGeom prst="rect">
            <a:avLst/>
          </a:prstGeom>
          <a:noFill/>
          <a:ln w="3175">
            <a:noFill/>
          </a:ln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600" b="1"/>
              <a:t>... </a:t>
            </a:r>
            <a:r>
              <a:rPr lang="zh-CN" altLang="en-US" sz="1600" b="1"/>
              <a:t>￥ </a:t>
            </a:r>
            <a:r>
              <a:rPr lang="en-US" altLang="zh-CN" sz="1600" b="1"/>
              <a:t>| 27 %</a:t>
            </a:r>
            <a:endParaRPr lang="en-US" altLang="zh-CN" sz="1600" b="1" dirty="0"/>
          </a:p>
        </p:txBody>
      </p:sp>
      <p:sp>
        <p:nvSpPr>
          <p:cNvPr id="407" name="ïṡlïdê">
            <a:extLst>
              <a:ext uri="{FF2B5EF4-FFF2-40B4-BE49-F238E27FC236}">
                <a16:creationId xmlns:a16="http://schemas.microsoft.com/office/drawing/2014/main" id="{3D91FA3C-4FD8-4434-A3E1-CBA44A3D1B60}"/>
              </a:ext>
            </a:extLst>
          </p:cNvPr>
          <p:cNvSpPr/>
          <p:nvPr/>
        </p:nvSpPr>
        <p:spPr bwMode="auto">
          <a:xfrm>
            <a:off x="664432" y="4603187"/>
            <a:ext cx="2614238" cy="966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/>
              <a:t>Copy paste fonts. Choose the only option to </a:t>
            </a:r>
            <a:r>
              <a:rPr lang="en-US" altLang="zh-CN" sz="1100"/>
              <a:t>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/>
              <a:t>……</a:t>
            </a:r>
            <a:endParaRPr lang="en-US" altLang="zh-CN" sz="1100" dirty="0"/>
          </a:p>
        </p:txBody>
      </p:sp>
      <p:grpSp>
        <p:nvGrpSpPr>
          <p:cNvPr id="408" name="işḻîḑé">
            <a:extLst>
              <a:ext uri="{FF2B5EF4-FFF2-40B4-BE49-F238E27FC236}">
                <a16:creationId xmlns:a16="http://schemas.microsoft.com/office/drawing/2014/main" id="{7A134086-705D-4772-9662-6E1E773D8A29}"/>
              </a:ext>
            </a:extLst>
          </p:cNvPr>
          <p:cNvGrpSpPr/>
          <p:nvPr/>
        </p:nvGrpSpPr>
        <p:grpSpPr>
          <a:xfrm>
            <a:off x="9890738" y="3420937"/>
            <a:ext cx="615950" cy="615948"/>
            <a:chOff x="6319119" y="1785939"/>
            <a:chExt cx="594360" cy="594360"/>
          </a:xfrm>
        </p:grpSpPr>
        <p:sp>
          <p:nvSpPr>
            <p:cNvPr id="411" name="íş1íḍè">
              <a:extLst>
                <a:ext uri="{FF2B5EF4-FFF2-40B4-BE49-F238E27FC236}">
                  <a16:creationId xmlns:a16="http://schemas.microsoft.com/office/drawing/2014/main" id="{31A3142C-1D0B-4FF1-A2B4-131587487392}"/>
                </a:ext>
              </a:extLst>
            </p:cNvPr>
            <p:cNvSpPr/>
            <p:nvPr/>
          </p:nvSpPr>
          <p:spPr>
            <a:xfrm>
              <a:off x="6319119" y="1785939"/>
              <a:ext cx="594360" cy="594360"/>
            </a:xfrm>
            <a:prstGeom prst="ellipse">
              <a:avLst/>
            </a:prstGeom>
            <a:solidFill>
              <a:schemeClr val="accent1"/>
            </a:solidFill>
            <a:ln w="28575" cap="rnd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412" name="ïṧḷíḋè">
              <a:extLst>
                <a:ext uri="{FF2B5EF4-FFF2-40B4-BE49-F238E27FC236}">
                  <a16:creationId xmlns:a16="http://schemas.microsoft.com/office/drawing/2014/main" id="{C87C0644-9DF4-4CA4-8B02-C2FF5C5A09E1}"/>
                </a:ext>
              </a:extLst>
            </p:cNvPr>
            <p:cNvSpPr/>
            <p:nvPr/>
          </p:nvSpPr>
          <p:spPr>
            <a:xfrm>
              <a:off x="6472952" y="1963461"/>
              <a:ext cx="286692" cy="239311"/>
            </a:xfrm>
            <a:custGeom>
              <a:avLst/>
              <a:gdLst>
                <a:gd name="T0" fmla="*/ 224 w 224"/>
                <a:gd name="T1" fmla="*/ 0 h 184"/>
                <a:gd name="T2" fmla="*/ 224 w 224"/>
                <a:gd name="T3" fmla="*/ 156 h 184"/>
                <a:gd name="T4" fmla="*/ 86 w 224"/>
                <a:gd name="T5" fmla="*/ 156 h 184"/>
                <a:gd name="T6" fmla="*/ 48 w 224"/>
                <a:gd name="T7" fmla="*/ 184 h 184"/>
                <a:gd name="T8" fmla="*/ 48 w 224"/>
                <a:gd name="T9" fmla="*/ 156 h 184"/>
                <a:gd name="T10" fmla="*/ 0 w 224"/>
                <a:gd name="T11" fmla="*/ 156 h 184"/>
                <a:gd name="T12" fmla="*/ 0 w 224"/>
                <a:gd name="T13" fmla="*/ 0 h 184"/>
                <a:gd name="T14" fmla="*/ 224 w 224"/>
                <a:gd name="T15" fmla="*/ 0 h 184"/>
                <a:gd name="T16" fmla="*/ 216 w 224"/>
                <a:gd name="T17" fmla="*/ 8 h 184"/>
                <a:gd name="T18" fmla="*/ 8 w 224"/>
                <a:gd name="T19" fmla="*/ 8 h 184"/>
                <a:gd name="T20" fmla="*/ 8 w 224"/>
                <a:gd name="T21" fmla="*/ 148 h 184"/>
                <a:gd name="T22" fmla="*/ 56 w 224"/>
                <a:gd name="T23" fmla="*/ 148 h 184"/>
                <a:gd name="T24" fmla="*/ 56 w 224"/>
                <a:gd name="T25" fmla="*/ 168 h 184"/>
                <a:gd name="T26" fmla="*/ 83 w 224"/>
                <a:gd name="T27" fmla="*/ 148 h 184"/>
                <a:gd name="T28" fmla="*/ 216 w 224"/>
                <a:gd name="T29" fmla="*/ 148 h 184"/>
                <a:gd name="T30" fmla="*/ 216 w 224"/>
                <a:gd name="T31" fmla="*/ 8 h 184"/>
                <a:gd name="T32" fmla="*/ 56 w 224"/>
                <a:gd name="T33" fmla="*/ 60 h 184"/>
                <a:gd name="T34" fmla="*/ 74 w 224"/>
                <a:gd name="T35" fmla="*/ 78 h 184"/>
                <a:gd name="T36" fmla="*/ 56 w 224"/>
                <a:gd name="T37" fmla="*/ 96 h 184"/>
                <a:gd name="T38" fmla="*/ 38 w 224"/>
                <a:gd name="T39" fmla="*/ 78 h 184"/>
                <a:gd name="T40" fmla="*/ 56 w 224"/>
                <a:gd name="T41" fmla="*/ 60 h 184"/>
                <a:gd name="T42" fmla="*/ 112 w 224"/>
                <a:gd name="T43" fmla="*/ 60 h 184"/>
                <a:gd name="T44" fmla="*/ 130 w 224"/>
                <a:gd name="T45" fmla="*/ 78 h 184"/>
                <a:gd name="T46" fmla="*/ 112 w 224"/>
                <a:gd name="T47" fmla="*/ 96 h 184"/>
                <a:gd name="T48" fmla="*/ 94 w 224"/>
                <a:gd name="T49" fmla="*/ 78 h 184"/>
                <a:gd name="T50" fmla="*/ 112 w 224"/>
                <a:gd name="T51" fmla="*/ 60 h 184"/>
                <a:gd name="T52" fmla="*/ 168 w 224"/>
                <a:gd name="T53" fmla="*/ 60 h 184"/>
                <a:gd name="T54" fmla="*/ 186 w 224"/>
                <a:gd name="T55" fmla="*/ 78 h 184"/>
                <a:gd name="T56" fmla="*/ 168 w 224"/>
                <a:gd name="T57" fmla="*/ 96 h 184"/>
                <a:gd name="T58" fmla="*/ 150 w 224"/>
                <a:gd name="T59" fmla="*/ 78 h 184"/>
                <a:gd name="T60" fmla="*/ 168 w 224"/>
                <a:gd name="T61" fmla="*/ 60 h 184"/>
                <a:gd name="T62" fmla="*/ 56 w 224"/>
                <a:gd name="T63" fmla="*/ 68 h 184"/>
                <a:gd name="T64" fmla="*/ 46 w 224"/>
                <a:gd name="T65" fmla="*/ 78 h 184"/>
                <a:gd name="T66" fmla="*/ 56 w 224"/>
                <a:gd name="T67" fmla="*/ 88 h 184"/>
                <a:gd name="T68" fmla="*/ 66 w 224"/>
                <a:gd name="T69" fmla="*/ 78 h 184"/>
                <a:gd name="T70" fmla="*/ 56 w 224"/>
                <a:gd name="T71" fmla="*/ 68 h 184"/>
                <a:gd name="T72" fmla="*/ 112 w 224"/>
                <a:gd name="T73" fmla="*/ 68 h 184"/>
                <a:gd name="T74" fmla="*/ 102 w 224"/>
                <a:gd name="T75" fmla="*/ 78 h 184"/>
                <a:gd name="T76" fmla="*/ 112 w 224"/>
                <a:gd name="T77" fmla="*/ 88 h 184"/>
                <a:gd name="T78" fmla="*/ 122 w 224"/>
                <a:gd name="T79" fmla="*/ 78 h 184"/>
                <a:gd name="T80" fmla="*/ 112 w 224"/>
                <a:gd name="T81" fmla="*/ 68 h 184"/>
                <a:gd name="T82" fmla="*/ 168 w 224"/>
                <a:gd name="T83" fmla="*/ 68 h 184"/>
                <a:gd name="T84" fmla="*/ 158 w 224"/>
                <a:gd name="T85" fmla="*/ 78 h 184"/>
                <a:gd name="T86" fmla="*/ 168 w 224"/>
                <a:gd name="T87" fmla="*/ 88 h 184"/>
                <a:gd name="T88" fmla="*/ 178 w 224"/>
                <a:gd name="T89" fmla="*/ 78 h 184"/>
                <a:gd name="T90" fmla="*/ 168 w 224"/>
                <a:gd name="T91" fmla="*/ 68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4" h="184">
                  <a:moveTo>
                    <a:pt x="224" y="0"/>
                  </a:moveTo>
                  <a:cubicBezTo>
                    <a:pt x="224" y="156"/>
                    <a:pt x="224" y="156"/>
                    <a:pt x="224" y="156"/>
                  </a:cubicBezTo>
                  <a:cubicBezTo>
                    <a:pt x="86" y="156"/>
                    <a:pt x="86" y="156"/>
                    <a:pt x="86" y="156"/>
                  </a:cubicBezTo>
                  <a:cubicBezTo>
                    <a:pt x="48" y="184"/>
                    <a:pt x="48" y="184"/>
                    <a:pt x="48" y="184"/>
                  </a:cubicBezTo>
                  <a:cubicBezTo>
                    <a:pt x="48" y="156"/>
                    <a:pt x="48" y="156"/>
                    <a:pt x="48" y="156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24" y="0"/>
                  </a:lnTo>
                  <a:close/>
                  <a:moveTo>
                    <a:pt x="216" y="8"/>
                  </a:moveTo>
                  <a:cubicBezTo>
                    <a:pt x="8" y="8"/>
                    <a:pt x="8" y="8"/>
                    <a:pt x="8" y="8"/>
                  </a:cubicBezTo>
                  <a:cubicBezTo>
                    <a:pt x="8" y="148"/>
                    <a:pt x="8" y="148"/>
                    <a:pt x="8" y="148"/>
                  </a:cubicBezTo>
                  <a:cubicBezTo>
                    <a:pt x="56" y="148"/>
                    <a:pt x="56" y="148"/>
                    <a:pt x="56" y="148"/>
                  </a:cubicBezTo>
                  <a:cubicBezTo>
                    <a:pt x="56" y="168"/>
                    <a:pt x="56" y="168"/>
                    <a:pt x="56" y="168"/>
                  </a:cubicBezTo>
                  <a:cubicBezTo>
                    <a:pt x="83" y="148"/>
                    <a:pt x="83" y="148"/>
                    <a:pt x="83" y="148"/>
                  </a:cubicBezTo>
                  <a:cubicBezTo>
                    <a:pt x="216" y="148"/>
                    <a:pt x="216" y="148"/>
                    <a:pt x="216" y="148"/>
                  </a:cubicBezTo>
                  <a:lnTo>
                    <a:pt x="216" y="8"/>
                  </a:lnTo>
                  <a:close/>
                  <a:moveTo>
                    <a:pt x="56" y="60"/>
                  </a:moveTo>
                  <a:cubicBezTo>
                    <a:pt x="66" y="60"/>
                    <a:pt x="74" y="68"/>
                    <a:pt x="74" y="78"/>
                  </a:cubicBezTo>
                  <a:cubicBezTo>
                    <a:pt x="74" y="88"/>
                    <a:pt x="66" y="96"/>
                    <a:pt x="56" y="96"/>
                  </a:cubicBezTo>
                  <a:cubicBezTo>
                    <a:pt x="46" y="96"/>
                    <a:pt x="38" y="88"/>
                    <a:pt x="38" y="78"/>
                  </a:cubicBezTo>
                  <a:cubicBezTo>
                    <a:pt x="38" y="68"/>
                    <a:pt x="46" y="60"/>
                    <a:pt x="56" y="60"/>
                  </a:cubicBezTo>
                  <a:close/>
                  <a:moveTo>
                    <a:pt x="112" y="60"/>
                  </a:moveTo>
                  <a:cubicBezTo>
                    <a:pt x="122" y="60"/>
                    <a:pt x="130" y="68"/>
                    <a:pt x="130" y="78"/>
                  </a:cubicBezTo>
                  <a:cubicBezTo>
                    <a:pt x="130" y="88"/>
                    <a:pt x="122" y="96"/>
                    <a:pt x="112" y="96"/>
                  </a:cubicBezTo>
                  <a:cubicBezTo>
                    <a:pt x="102" y="96"/>
                    <a:pt x="94" y="88"/>
                    <a:pt x="94" y="78"/>
                  </a:cubicBezTo>
                  <a:cubicBezTo>
                    <a:pt x="94" y="68"/>
                    <a:pt x="102" y="60"/>
                    <a:pt x="112" y="60"/>
                  </a:cubicBezTo>
                  <a:close/>
                  <a:moveTo>
                    <a:pt x="168" y="60"/>
                  </a:moveTo>
                  <a:cubicBezTo>
                    <a:pt x="178" y="60"/>
                    <a:pt x="186" y="68"/>
                    <a:pt x="186" y="78"/>
                  </a:cubicBezTo>
                  <a:cubicBezTo>
                    <a:pt x="186" y="88"/>
                    <a:pt x="178" y="96"/>
                    <a:pt x="168" y="96"/>
                  </a:cubicBezTo>
                  <a:cubicBezTo>
                    <a:pt x="158" y="96"/>
                    <a:pt x="150" y="88"/>
                    <a:pt x="150" y="78"/>
                  </a:cubicBezTo>
                  <a:cubicBezTo>
                    <a:pt x="150" y="68"/>
                    <a:pt x="158" y="60"/>
                    <a:pt x="168" y="60"/>
                  </a:cubicBezTo>
                  <a:close/>
                  <a:moveTo>
                    <a:pt x="56" y="68"/>
                  </a:moveTo>
                  <a:cubicBezTo>
                    <a:pt x="50" y="68"/>
                    <a:pt x="46" y="72"/>
                    <a:pt x="46" y="78"/>
                  </a:cubicBezTo>
                  <a:cubicBezTo>
                    <a:pt x="46" y="84"/>
                    <a:pt x="50" y="88"/>
                    <a:pt x="56" y="88"/>
                  </a:cubicBezTo>
                  <a:cubicBezTo>
                    <a:pt x="62" y="88"/>
                    <a:pt x="66" y="84"/>
                    <a:pt x="66" y="78"/>
                  </a:cubicBezTo>
                  <a:cubicBezTo>
                    <a:pt x="66" y="72"/>
                    <a:pt x="62" y="68"/>
                    <a:pt x="56" y="68"/>
                  </a:cubicBezTo>
                  <a:close/>
                  <a:moveTo>
                    <a:pt x="112" y="68"/>
                  </a:moveTo>
                  <a:cubicBezTo>
                    <a:pt x="106" y="68"/>
                    <a:pt x="102" y="72"/>
                    <a:pt x="102" y="78"/>
                  </a:cubicBezTo>
                  <a:cubicBezTo>
                    <a:pt x="102" y="84"/>
                    <a:pt x="106" y="88"/>
                    <a:pt x="112" y="88"/>
                  </a:cubicBezTo>
                  <a:cubicBezTo>
                    <a:pt x="118" y="88"/>
                    <a:pt x="122" y="84"/>
                    <a:pt x="122" y="78"/>
                  </a:cubicBezTo>
                  <a:cubicBezTo>
                    <a:pt x="122" y="72"/>
                    <a:pt x="118" y="68"/>
                    <a:pt x="112" y="68"/>
                  </a:cubicBezTo>
                  <a:close/>
                  <a:moveTo>
                    <a:pt x="168" y="68"/>
                  </a:moveTo>
                  <a:cubicBezTo>
                    <a:pt x="162" y="68"/>
                    <a:pt x="158" y="72"/>
                    <a:pt x="158" y="78"/>
                  </a:cubicBezTo>
                  <a:cubicBezTo>
                    <a:pt x="158" y="84"/>
                    <a:pt x="162" y="88"/>
                    <a:pt x="168" y="88"/>
                  </a:cubicBezTo>
                  <a:cubicBezTo>
                    <a:pt x="174" y="88"/>
                    <a:pt x="178" y="84"/>
                    <a:pt x="178" y="78"/>
                  </a:cubicBezTo>
                  <a:cubicBezTo>
                    <a:pt x="178" y="72"/>
                    <a:pt x="174" y="68"/>
                    <a:pt x="168" y="68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</p:grpSp>
      <p:sp>
        <p:nvSpPr>
          <p:cNvPr id="409" name="iṧľídé">
            <a:extLst>
              <a:ext uri="{FF2B5EF4-FFF2-40B4-BE49-F238E27FC236}">
                <a16:creationId xmlns:a16="http://schemas.microsoft.com/office/drawing/2014/main" id="{49B7838E-11B3-47BD-890A-0350F4447E0B}"/>
              </a:ext>
            </a:extLst>
          </p:cNvPr>
          <p:cNvSpPr txBox="1"/>
          <p:nvPr/>
        </p:nvSpPr>
        <p:spPr>
          <a:xfrm>
            <a:off x="8887562" y="4170666"/>
            <a:ext cx="2622302" cy="432521"/>
          </a:xfrm>
          <a:prstGeom prst="rect">
            <a:avLst/>
          </a:prstGeom>
          <a:noFill/>
          <a:ln w="3175">
            <a:noFill/>
          </a:ln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600" b="1"/>
              <a:t>... </a:t>
            </a:r>
            <a:r>
              <a:rPr lang="zh-CN" altLang="en-US" sz="1600" b="1"/>
              <a:t>￥ </a:t>
            </a:r>
            <a:r>
              <a:rPr lang="en-US" altLang="zh-CN" sz="1600" b="1"/>
              <a:t>| 27 %</a:t>
            </a:r>
            <a:endParaRPr lang="en-US" altLang="zh-CN" sz="1600" b="1" dirty="0"/>
          </a:p>
        </p:txBody>
      </p:sp>
      <p:sp>
        <p:nvSpPr>
          <p:cNvPr id="410" name="ïṩḷiḋé">
            <a:extLst>
              <a:ext uri="{FF2B5EF4-FFF2-40B4-BE49-F238E27FC236}">
                <a16:creationId xmlns:a16="http://schemas.microsoft.com/office/drawing/2014/main" id="{5AD2B41F-734A-408C-BD58-DBE32A70542B}"/>
              </a:ext>
            </a:extLst>
          </p:cNvPr>
          <p:cNvSpPr/>
          <p:nvPr/>
        </p:nvSpPr>
        <p:spPr bwMode="auto">
          <a:xfrm>
            <a:off x="8891594" y="4603187"/>
            <a:ext cx="2614238" cy="966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/>
              <a:t>Copy paste fonts. Choose the only option to </a:t>
            </a:r>
            <a:r>
              <a:rPr lang="en-US" altLang="zh-CN" sz="1100"/>
              <a:t>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/>
              <a:t>……</a:t>
            </a:r>
            <a:endParaRPr lang="en-US" altLang="zh-CN" sz="11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1395451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6CFA6A3-AC3A-499C-ACAA-27DECA1785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33B3CCDB-C8F4-4A30-A5A5-F89E9957D4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2BA1917-384F-4AA5-A3C5-72F7658DB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/>
          </a:p>
        </p:txBody>
      </p:sp>
      <p:grpSp>
        <p:nvGrpSpPr>
          <p:cNvPr id="5" name="25982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424C5B6-F94D-4815-95DB-FBBCB6AA78C0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979603" y="1683272"/>
            <a:ext cx="10220094" cy="3897855"/>
            <a:chOff x="979603" y="1683272"/>
            <a:chExt cx="10220094" cy="3897855"/>
          </a:xfrm>
        </p:grpSpPr>
        <p:grpSp>
          <p:nvGrpSpPr>
            <p:cNvPr id="7" name="î$ḷíḑê">
              <a:extLst>
                <a:ext uri="{FF2B5EF4-FFF2-40B4-BE49-F238E27FC236}">
                  <a16:creationId xmlns:a16="http://schemas.microsoft.com/office/drawing/2014/main" id="{5491A293-C848-4A1E-8341-BAAD0105E726}"/>
                </a:ext>
              </a:extLst>
            </p:cNvPr>
            <p:cNvGrpSpPr/>
            <p:nvPr/>
          </p:nvGrpSpPr>
          <p:grpSpPr>
            <a:xfrm>
              <a:off x="979603" y="1683272"/>
              <a:ext cx="2888558" cy="3897855"/>
              <a:chOff x="660400" y="1325020"/>
              <a:chExt cx="2888558" cy="3897855"/>
            </a:xfrm>
          </p:grpSpPr>
          <p:sp>
            <p:nvSpPr>
              <p:cNvPr id="22" name="íSḻîḓè">
                <a:extLst>
                  <a:ext uri="{FF2B5EF4-FFF2-40B4-BE49-F238E27FC236}">
                    <a16:creationId xmlns:a16="http://schemas.microsoft.com/office/drawing/2014/main" id="{11DACBA8-30CE-499A-A7A5-BB94DC3CD249}"/>
                  </a:ext>
                </a:extLst>
              </p:cNvPr>
              <p:cNvSpPr/>
              <p:nvPr/>
            </p:nvSpPr>
            <p:spPr>
              <a:xfrm>
                <a:off x="660400" y="2041525"/>
                <a:ext cx="2888558" cy="318135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grpSp>
            <p:nvGrpSpPr>
              <p:cNvPr id="23" name="ïṥ1ïḑe">
                <a:extLst>
                  <a:ext uri="{FF2B5EF4-FFF2-40B4-BE49-F238E27FC236}">
                    <a16:creationId xmlns:a16="http://schemas.microsoft.com/office/drawing/2014/main" id="{8E6C5564-3BDB-45B1-9873-C7AC862EC4AE}"/>
                  </a:ext>
                </a:extLst>
              </p:cNvPr>
              <p:cNvGrpSpPr/>
              <p:nvPr/>
            </p:nvGrpSpPr>
            <p:grpSpPr>
              <a:xfrm>
                <a:off x="664370" y="2558697"/>
                <a:ext cx="2880618" cy="2547901"/>
                <a:chOff x="663843" y="2268543"/>
                <a:chExt cx="2498189" cy="2547901"/>
              </a:xfrm>
            </p:grpSpPr>
            <p:sp>
              <p:nvSpPr>
                <p:cNvPr id="25" name="ïṩlïḓè">
                  <a:extLst>
                    <a:ext uri="{FF2B5EF4-FFF2-40B4-BE49-F238E27FC236}">
                      <a16:creationId xmlns:a16="http://schemas.microsoft.com/office/drawing/2014/main" id="{3933CFBE-9888-4020-8176-6AB8B781C44D}"/>
                    </a:ext>
                  </a:extLst>
                </p:cNvPr>
                <p:cNvSpPr txBox="1"/>
                <p:nvPr/>
              </p:nvSpPr>
              <p:spPr bwMode="auto">
                <a:xfrm>
                  <a:off x="663843" y="2268543"/>
                  <a:ext cx="2498189" cy="52012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 eaLnBrk="1" hangingPunct="1">
                    <a:lnSpc>
                      <a:spcPct val="100000"/>
                    </a:lnSpc>
                    <a:spcBef>
                      <a:spcPct val="0"/>
                    </a:spcBef>
                  </a:pPr>
                  <a:r>
                    <a:rPr lang="en-US" altLang="zh-CN" b="1" dirty="0"/>
                    <a:t>Text here</a:t>
                  </a:r>
                </a:p>
              </p:txBody>
            </p:sp>
            <p:sp>
              <p:nvSpPr>
                <p:cNvPr id="26" name="ïśļîde">
                  <a:extLst>
                    <a:ext uri="{FF2B5EF4-FFF2-40B4-BE49-F238E27FC236}">
                      <a16:creationId xmlns:a16="http://schemas.microsoft.com/office/drawing/2014/main" id="{97F5B129-193C-41B2-ACD1-BAE056CE49B3}"/>
                    </a:ext>
                  </a:extLst>
                </p:cNvPr>
                <p:cNvSpPr/>
                <p:nvPr/>
              </p:nvSpPr>
              <p:spPr bwMode="auto">
                <a:xfrm>
                  <a:off x="663843" y="2980250"/>
                  <a:ext cx="2498189" cy="91809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Copy paste fonts. Choose the only option to retain text.</a:t>
                  </a:r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……</a:t>
                  </a:r>
                </a:p>
              </p:txBody>
            </p:sp>
            <p:sp>
              <p:nvSpPr>
                <p:cNvPr id="27" name="îsľîḑé">
                  <a:extLst>
                    <a:ext uri="{FF2B5EF4-FFF2-40B4-BE49-F238E27FC236}">
                      <a16:creationId xmlns:a16="http://schemas.microsoft.com/office/drawing/2014/main" id="{97F5B129-193C-41B2-ACD1-BAE056CE49B3}"/>
                    </a:ext>
                  </a:extLst>
                </p:cNvPr>
                <p:cNvSpPr/>
                <p:nvPr/>
              </p:nvSpPr>
              <p:spPr bwMode="auto">
                <a:xfrm>
                  <a:off x="663843" y="3898347"/>
                  <a:ext cx="2498189" cy="91809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Copy paste fonts. Choose the only option to retain text.</a:t>
                  </a:r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……</a:t>
                  </a:r>
                </a:p>
              </p:txBody>
            </p:sp>
          </p:grpSp>
          <p:sp>
            <p:nvSpPr>
              <p:cNvPr id="24" name="iṣlíḓé">
                <a:extLst>
                  <a:ext uri="{FF2B5EF4-FFF2-40B4-BE49-F238E27FC236}">
                    <a16:creationId xmlns:a16="http://schemas.microsoft.com/office/drawing/2014/main" id="{A5A6FDCC-9D87-4AFE-A57B-8977F1197217}"/>
                  </a:ext>
                </a:extLst>
              </p:cNvPr>
              <p:cNvSpPr/>
              <p:nvPr/>
            </p:nvSpPr>
            <p:spPr>
              <a:xfrm>
                <a:off x="1508441" y="1325020"/>
                <a:ext cx="1192476" cy="1192476"/>
              </a:xfrm>
              <a:prstGeom prst="ellipse">
                <a:avLst/>
              </a:prstGeom>
              <a:blipFill>
                <a:blip r:embed="rId3" cstate="screen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  <a:ln w="38100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77"/>
                <a:endParaRPr lang="zh-CN" altLang="en-US"/>
              </a:p>
            </p:txBody>
          </p:sp>
        </p:grpSp>
        <p:grpSp>
          <p:nvGrpSpPr>
            <p:cNvPr id="8" name="iśļíḑê">
              <a:extLst>
                <a:ext uri="{FF2B5EF4-FFF2-40B4-BE49-F238E27FC236}">
                  <a16:creationId xmlns:a16="http://schemas.microsoft.com/office/drawing/2014/main" id="{57A4AD76-F68C-4A04-80D8-A16883134B70}"/>
                </a:ext>
              </a:extLst>
            </p:cNvPr>
            <p:cNvGrpSpPr/>
            <p:nvPr/>
          </p:nvGrpSpPr>
          <p:grpSpPr>
            <a:xfrm>
              <a:off x="4645371" y="1683272"/>
              <a:ext cx="2888558" cy="3897855"/>
              <a:chOff x="660400" y="1325020"/>
              <a:chExt cx="2888558" cy="3897855"/>
            </a:xfrm>
          </p:grpSpPr>
          <p:sp>
            <p:nvSpPr>
              <p:cNvPr id="16" name="ïśļîḋe">
                <a:extLst>
                  <a:ext uri="{FF2B5EF4-FFF2-40B4-BE49-F238E27FC236}">
                    <a16:creationId xmlns:a16="http://schemas.microsoft.com/office/drawing/2014/main" id="{11DACBA8-30CE-499A-A7A5-BB94DC3CD249}"/>
                  </a:ext>
                </a:extLst>
              </p:cNvPr>
              <p:cNvSpPr/>
              <p:nvPr/>
            </p:nvSpPr>
            <p:spPr>
              <a:xfrm>
                <a:off x="660400" y="2041525"/>
                <a:ext cx="2888558" cy="318135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grpSp>
            <p:nvGrpSpPr>
              <p:cNvPr id="17" name="iṡ1iḋê">
                <a:extLst>
                  <a:ext uri="{FF2B5EF4-FFF2-40B4-BE49-F238E27FC236}">
                    <a16:creationId xmlns:a16="http://schemas.microsoft.com/office/drawing/2014/main" id="{2A5D3F1B-8D25-4DE0-B901-84DDE0BDAA03}"/>
                  </a:ext>
                </a:extLst>
              </p:cNvPr>
              <p:cNvGrpSpPr/>
              <p:nvPr/>
            </p:nvGrpSpPr>
            <p:grpSpPr>
              <a:xfrm>
                <a:off x="664370" y="2558697"/>
                <a:ext cx="2880618" cy="2547901"/>
                <a:chOff x="663843" y="2268543"/>
                <a:chExt cx="2498189" cy="2547901"/>
              </a:xfrm>
            </p:grpSpPr>
            <p:sp>
              <p:nvSpPr>
                <p:cNvPr id="19" name="îṡļîḍé">
                  <a:extLst>
                    <a:ext uri="{FF2B5EF4-FFF2-40B4-BE49-F238E27FC236}">
                      <a16:creationId xmlns:a16="http://schemas.microsoft.com/office/drawing/2014/main" id="{3933CFBE-9888-4020-8176-6AB8B781C44D}"/>
                    </a:ext>
                  </a:extLst>
                </p:cNvPr>
                <p:cNvSpPr txBox="1"/>
                <p:nvPr/>
              </p:nvSpPr>
              <p:spPr bwMode="auto">
                <a:xfrm>
                  <a:off x="663843" y="2268543"/>
                  <a:ext cx="2498189" cy="52012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 eaLnBrk="1" hangingPunct="1">
                    <a:lnSpc>
                      <a:spcPct val="100000"/>
                    </a:lnSpc>
                    <a:spcBef>
                      <a:spcPct val="0"/>
                    </a:spcBef>
                  </a:pPr>
                  <a:r>
                    <a:rPr lang="en-US" altLang="zh-CN" b="1" dirty="0"/>
                    <a:t>Text here</a:t>
                  </a:r>
                </a:p>
              </p:txBody>
            </p:sp>
            <p:sp>
              <p:nvSpPr>
                <p:cNvPr id="20" name="i$líḑè">
                  <a:extLst>
                    <a:ext uri="{FF2B5EF4-FFF2-40B4-BE49-F238E27FC236}">
                      <a16:creationId xmlns:a16="http://schemas.microsoft.com/office/drawing/2014/main" id="{97F5B129-193C-41B2-ACD1-BAE056CE49B3}"/>
                    </a:ext>
                  </a:extLst>
                </p:cNvPr>
                <p:cNvSpPr/>
                <p:nvPr/>
              </p:nvSpPr>
              <p:spPr bwMode="auto">
                <a:xfrm>
                  <a:off x="663843" y="2980250"/>
                  <a:ext cx="2498189" cy="91809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Copy paste fonts. Choose the only option to retain text.</a:t>
                  </a:r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……</a:t>
                  </a:r>
                </a:p>
              </p:txBody>
            </p:sp>
            <p:sp>
              <p:nvSpPr>
                <p:cNvPr id="21" name="ïṣḻidê">
                  <a:extLst>
                    <a:ext uri="{FF2B5EF4-FFF2-40B4-BE49-F238E27FC236}">
                      <a16:creationId xmlns:a16="http://schemas.microsoft.com/office/drawing/2014/main" id="{97F5B129-193C-41B2-ACD1-BAE056CE49B3}"/>
                    </a:ext>
                  </a:extLst>
                </p:cNvPr>
                <p:cNvSpPr/>
                <p:nvPr/>
              </p:nvSpPr>
              <p:spPr bwMode="auto">
                <a:xfrm>
                  <a:off x="663843" y="3898347"/>
                  <a:ext cx="2498189" cy="91809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Copy paste fonts. Choose the only option to retain text.</a:t>
                  </a:r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……</a:t>
                  </a:r>
                </a:p>
              </p:txBody>
            </p:sp>
          </p:grpSp>
          <p:sp>
            <p:nvSpPr>
              <p:cNvPr id="18" name="iṣľíḑe">
                <a:extLst>
                  <a:ext uri="{FF2B5EF4-FFF2-40B4-BE49-F238E27FC236}">
                    <a16:creationId xmlns:a16="http://schemas.microsoft.com/office/drawing/2014/main" id="{A5A6FDCC-9D87-4AFE-A57B-8977F1197217}"/>
                  </a:ext>
                </a:extLst>
              </p:cNvPr>
              <p:cNvSpPr/>
              <p:nvPr/>
            </p:nvSpPr>
            <p:spPr>
              <a:xfrm>
                <a:off x="1508441" y="1325020"/>
                <a:ext cx="1192476" cy="1192476"/>
              </a:xfrm>
              <a:prstGeom prst="ellipse">
                <a:avLst/>
              </a:prstGeom>
              <a:blipFill>
                <a:blip r:embed="rId4" cstate="screen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  <a:ln w="38100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77"/>
                <a:endParaRPr lang="zh-CN" altLang="en-US"/>
              </a:p>
            </p:txBody>
          </p:sp>
        </p:grpSp>
        <p:grpSp>
          <p:nvGrpSpPr>
            <p:cNvPr id="9" name="išlîḓè">
              <a:extLst>
                <a:ext uri="{FF2B5EF4-FFF2-40B4-BE49-F238E27FC236}">
                  <a16:creationId xmlns:a16="http://schemas.microsoft.com/office/drawing/2014/main" id="{3DBC1E48-D7E0-4B6C-9A8B-964F3EC77FEB}"/>
                </a:ext>
              </a:extLst>
            </p:cNvPr>
            <p:cNvGrpSpPr/>
            <p:nvPr/>
          </p:nvGrpSpPr>
          <p:grpSpPr>
            <a:xfrm>
              <a:off x="8311139" y="1683272"/>
              <a:ext cx="2888558" cy="3897855"/>
              <a:chOff x="660400" y="1325020"/>
              <a:chExt cx="2888558" cy="3897855"/>
            </a:xfrm>
          </p:grpSpPr>
          <p:sp>
            <p:nvSpPr>
              <p:cNvPr id="10" name="ïṣḷîdè">
                <a:extLst>
                  <a:ext uri="{FF2B5EF4-FFF2-40B4-BE49-F238E27FC236}">
                    <a16:creationId xmlns:a16="http://schemas.microsoft.com/office/drawing/2014/main" id="{11DACBA8-30CE-499A-A7A5-BB94DC3CD249}"/>
                  </a:ext>
                </a:extLst>
              </p:cNvPr>
              <p:cNvSpPr/>
              <p:nvPr/>
            </p:nvSpPr>
            <p:spPr>
              <a:xfrm>
                <a:off x="660400" y="2041525"/>
                <a:ext cx="2888558" cy="318135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grpSp>
            <p:nvGrpSpPr>
              <p:cNvPr id="11" name="is1îdê">
                <a:extLst>
                  <a:ext uri="{FF2B5EF4-FFF2-40B4-BE49-F238E27FC236}">
                    <a16:creationId xmlns:a16="http://schemas.microsoft.com/office/drawing/2014/main" id="{BF3DA0B5-4A83-4E94-99DF-E3D0D0507B0B}"/>
                  </a:ext>
                </a:extLst>
              </p:cNvPr>
              <p:cNvGrpSpPr/>
              <p:nvPr/>
            </p:nvGrpSpPr>
            <p:grpSpPr>
              <a:xfrm>
                <a:off x="664370" y="2558697"/>
                <a:ext cx="2880618" cy="2547901"/>
                <a:chOff x="663843" y="2268543"/>
                <a:chExt cx="2498189" cy="2547901"/>
              </a:xfrm>
            </p:grpSpPr>
            <p:sp>
              <p:nvSpPr>
                <p:cNvPr id="13" name="ïṩ1îďé">
                  <a:extLst>
                    <a:ext uri="{FF2B5EF4-FFF2-40B4-BE49-F238E27FC236}">
                      <a16:creationId xmlns:a16="http://schemas.microsoft.com/office/drawing/2014/main" id="{3933CFBE-9888-4020-8176-6AB8B781C44D}"/>
                    </a:ext>
                  </a:extLst>
                </p:cNvPr>
                <p:cNvSpPr txBox="1"/>
                <p:nvPr/>
              </p:nvSpPr>
              <p:spPr bwMode="auto">
                <a:xfrm>
                  <a:off x="663843" y="2268543"/>
                  <a:ext cx="2498189" cy="52012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 eaLnBrk="1" hangingPunct="1">
                    <a:lnSpc>
                      <a:spcPct val="100000"/>
                    </a:lnSpc>
                    <a:spcBef>
                      <a:spcPct val="0"/>
                    </a:spcBef>
                  </a:pPr>
                  <a:r>
                    <a:rPr lang="en-US" altLang="zh-CN" b="1" dirty="0"/>
                    <a:t>Text here</a:t>
                  </a:r>
                </a:p>
              </p:txBody>
            </p:sp>
            <p:sp>
              <p:nvSpPr>
                <p:cNvPr id="14" name="îsḷïḑè">
                  <a:extLst>
                    <a:ext uri="{FF2B5EF4-FFF2-40B4-BE49-F238E27FC236}">
                      <a16:creationId xmlns:a16="http://schemas.microsoft.com/office/drawing/2014/main" id="{97F5B129-193C-41B2-ACD1-BAE056CE49B3}"/>
                    </a:ext>
                  </a:extLst>
                </p:cNvPr>
                <p:cNvSpPr/>
                <p:nvPr/>
              </p:nvSpPr>
              <p:spPr bwMode="auto">
                <a:xfrm>
                  <a:off x="663843" y="2980250"/>
                  <a:ext cx="2498189" cy="91809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Copy paste fonts. Choose the only option to retain text.</a:t>
                  </a:r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……</a:t>
                  </a:r>
                </a:p>
              </p:txBody>
            </p:sp>
            <p:sp>
              <p:nvSpPr>
                <p:cNvPr id="15" name="íṣ1iḍe">
                  <a:extLst>
                    <a:ext uri="{FF2B5EF4-FFF2-40B4-BE49-F238E27FC236}">
                      <a16:creationId xmlns:a16="http://schemas.microsoft.com/office/drawing/2014/main" id="{97F5B129-193C-41B2-ACD1-BAE056CE49B3}"/>
                    </a:ext>
                  </a:extLst>
                </p:cNvPr>
                <p:cNvSpPr/>
                <p:nvPr/>
              </p:nvSpPr>
              <p:spPr bwMode="auto">
                <a:xfrm>
                  <a:off x="663843" y="3898347"/>
                  <a:ext cx="2498189" cy="91809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Copy paste fonts. Choose the only option to retain text.</a:t>
                  </a:r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……</a:t>
                  </a:r>
                </a:p>
              </p:txBody>
            </p:sp>
          </p:grpSp>
          <p:sp>
            <p:nvSpPr>
              <p:cNvPr id="12" name="ïŝlîḋé">
                <a:extLst>
                  <a:ext uri="{FF2B5EF4-FFF2-40B4-BE49-F238E27FC236}">
                    <a16:creationId xmlns:a16="http://schemas.microsoft.com/office/drawing/2014/main" id="{A5A6FDCC-9D87-4AFE-A57B-8977F1197217}"/>
                  </a:ext>
                </a:extLst>
              </p:cNvPr>
              <p:cNvSpPr/>
              <p:nvPr/>
            </p:nvSpPr>
            <p:spPr>
              <a:xfrm>
                <a:off x="1508441" y="1325020"/>
                <a:ext cx="1192476" cy="1192476"/>
              </a:xfrm>
              <a:prstGeom prst="ellipse">
                <a:avLst/>
              </a:prstGeom>
              <a:blipFill>
                <a:blip r:embed="rId5" cstate="screen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  <a:ln w="38100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77"/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0362314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10C1ECB-A536-4E7B-BF24-98F67F4603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8E22E68-36E1-4C2D-A90D-D2DED690FF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B0D4916-83F2-4CF7-B3C5-7C34240CB7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/>
          </a:p>
        </p:txBody>
      </p:sp>
      <p:grpSp>
        <p:nvGrpSpPr>
          <p:cNvPr id="5" name="25585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E19548AD-F45B-4E90-9C40-793E9809B3A1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037326" y="1777206"/>
            <a:ext cx="10104648" cy="3709988"/>
            <a:chOff x="1037326" y="1777206"/>
            <a:chExt cx="10104648" cy="3709988"/>
          </a:xfrm>
        </p:grpSpPr>
        <p:grpSp>
          <p:nvGrpSpPr>
            <p:cNvPr id="6" name="işľîde">
              <a:extLst>
                <a:ext uri="{FF2B5EF4-FFF2-40B4-BE49-F238E27FC236}">
                  <a16:creationId xmlns:a16="http://schemas.microsoft.com/office/drawing/2014/main" id="{3FA815BF-DD16-43BF-92D7-AADF1BE559E6}"/>
                </a:ext>
              </a:extLst>
            </p:cNvPr>
            <p:cNvGrpSpPr/>
            <p:nvPr/>
          </p:nvGrpSpPr>
          <p:grpSpPr>
            <a:xfrm>
              <a:off x="4035103" y="2191361"/>
              <a:ext cx="4109094" cy="2881679"/>
              <a:chOff x="4035103" y="2191361"/>
              <a:chExt cx="4109094" cy="2881679"/>
            </a:xfrm>
          </p:grpSpPr>
          <p:grpSp>
            <p:nvGrpSpPr>
              <p:cNvPr id="13" name="îsľïḍe">
                <a:extLst>
                  <a:ext uri="{FF2B5EF4-FFF2-40B4-BE49-F238E27FC236}">
                    <a16:creationId xmlns:a16="http://schemas.microsoft.com/office/drawing/2014/main" id="{AE655889-5F9E-40D8-935D-1D20CF63EF04}"/>
                  </a:ext>
                </a:extLst>
              </p:cNvPr>
              <p:cNvGrpSpPr/>
              <p:nvPr/>
            </p:nvGrpSpPr>
            <p:grpSpPr>
              <a:xfrm>
                <a:off x="7345684" y="2191361"/>
                <a:ext cx="798513" cy="2881679"/>
                <a:chOff x="7339013" y="2190964"/>
                <a:chExt cx="798513" cy="2881679"/>
              </a:xfrm>
            </p:grpSpPr>
            <p:sp>
              <p:nvSpPr>
                <p:cNvPr id="26" name="î$liḓè">
                  <a:extLst>
                    <a:ext uri="{FF2B5EF4-FFF2-40B4-BE49-F238E27FC236}">
                      <a16:creationId xmlns:a16="http://schemas.microsoft.com/office/drawing/2014/main" id="{12773F9E-6D43-4B87-A416-9322D6349B65}"/>
                    </a:ext>
                  </a:extLst>
                </p:cNvPr>
                <p:cNvSpPr/>
                <p:nvPr/>
              </p:nvSpPr>
              <p:spPr bwMode="auto">
                <a:xfrm>
                  <a:off x="7345363" y="2190964"/>
                  <a:ext cx="792163" cy="519113"/>
                </a:xfrm>
                <a:custGeom>
                  <a:avLst/>
                  <a:gdLst>
                    <a:gd name="T0" fmla="*/ 458 w 499"/>
                    <a:gd name="T1" fmla="*/ 0 h 327"/>
                    <a:gd name="T2" fmla="*/ 474 w 499"/>
                    <a:gd name="T3" fmla="*/ 3 h 327"/>
                    <a:gd name="T4" fmla="*/ 488 w 499"/>
                    <a:gd name="T5" fmla="*/ 13 h 327"/>
                    <a:gd name="T6" fmla="*/ 496 w 499"/>
                    <a:gd name="T7" fmla="*/ 27 h 327"/>
                    <a:gd name="T8" fmla="*/ 499 w 499"/>
                    <a:gd name="T9" fmla="*/ 43 h 327"/>
                    <a:gd name="T10" fmla="*/ 496 w 499"/>
                    <a:gd name="T11" fmla="*/ 58 h 327"/>
                    <a:gd name="T12" fmla="*/ 488 w 499"/>
                    <a:gd name="T13" fmla="*/ 71 h 327"/>
                    <a:gd name="T14" fmla="*/ 474 w 499"/>
                    <a:gd name="T15" fmla="*/ 81 h 327"/>
                    <a:gd name="T16" fmla="*/ 458 w 499"/>
                    <a:gd name="T17" fmla="*/ 84 h 327"/>
                    <a:gd name="T18" fmla="*/ 440 w 499"/>
                    <a:gd name="T19" fmla="*/ 81 h 327"/>
                    <a:gd name="T20" fmla="*/ 427 w 499"/>
                    <a:gd name="T21" fmla="*/ 69 h 327"/>
                    <a:gd name="T22" fmla="*/ 418 w 499"/>
                    <a:gd name="T23" fmla="*/ 55 h 327"/>
                    <a:gd name="T24" fmla="*/ 379 w 499"/>
                    <a:gd name="T25" fmla="*/ 63 h 327"/>
                    <a:gd name="T26" fmla="*/ 341 w 499"/>
                    <a:gd name="T27" fmla="*/ 76 h 327"/>
                    <a:gd name="T28" fmla="*/ 305 w 499"/>
                    <a:gd name="T29" fmla="*/ 94 h 327"/>
                    <a:gd name="T30" fmla="*/ 272 w 499"/>
                    <a:gd name="T31" fmla="*/ 117 h 327"/>
                    <a:gd name="T32" fmla="*/ 79 w 499"/>
                    <a:gd name="T33" fmla="*/ 267 h 327"/>
                    <a:gd name="T34" fmla="*/ 82 w 499"/>
                    <a:gd name="T35" fmla="*/ 276 h 327"/>
                    <a:gd name="T36" fmla="*/ 84 w 499"/>
                    <a:gd name="T37" fmla="*/ 284 h 327"/>
                    <a:gd name="T38" fmla="*/ 80 w 499"/>
                    <a:gd name="T39" fmla="*/ 300 h 327"/>
                    <a:gd name="T40" fmla="*/ 71 w 499"/>
                    <a:gd name="T41" fmla="*/ 314 h 327"/>
                    <a:gd name="T42" fmla="*/ 57 w 499"/>
                    <a:gd name="T43" fmla="*/ 324 h 327"/>
                    <a:gd name="T44" fmla="*/ 41 w 499"/>
                    <a:gd name="T45" fmla="*/ 327 h 327"/>
                    <a:gd name="T46" fmla="*/ 24 w 499"/>
                    <a:gd name="T47" fmla="*/ 324 h 327"/>
                    <a:gd name="T48" fmla="*/ 11 w 499"/>
                    <a:gd name="T49" fmla="*/ 314 h 327"/>
                    <a:gd name="T50" fmla="*/ 3 w 499"/>
                    <a:gd name="T51" fmla="*/ 300 h 327"/>
                    <a:gd name="T52" fmla="*/ 0 w 499"/>
                    <a:gd name="T53" fmla="*/ 284 h 327"/>
                    <a:gd name="T54" fmla="*/ 3 w 499"/>
                    <a:gd name="T55" fmla="*/ 267 h 327"/>
                    <a:gd name="T56" fmla="*/ 11 w 499"/>
                    <a:gd name="T57" fmla="*/ 254 h 327"/>
                    <a:gd name="T58" fmla="*/ 24 w 499"/>
                    <a:gd name="T59" fmla="*/ 246 h 327"/>
                    <a:gd name="T60" fmla="*/ 41 w 499"/>
                    <a:gd name="T61" fmla="*/ 243 h 327"/>
                    <a:gd name="T62" fmla="*/ 51 w 499"/>
                    <a:gd name="T63" fmla="*/ 244 h 327"/>
                    <a:gd name="T64" fmla="*/ 59 w 499"/>
                    <a:gd name="T65" fmla="*/ 246 h 327"/>
                    <a:gd name="T66" fmla="*/ 67 w 499"/>
                    <a:gd name="T67" fmla="*/ 251 h 327"/>
                    <a:gd name="T68" fmla="*/ 258 w 499"/>
                    <a:gd name="T69" fmla="*/ 101 h 327"/>
                    <a:gd name="T70" fmla="*/ 295 w 499"/>
                    <a:gd name="T71" fmla="*/ 76 h 327"/>
                    <a:gd name="T72" fmla="*/ 333 w 499"/>
                    <a:gd name="T73" fmla="*/ 56 h 327"/>
                    <a:gd name="T74" fmla="*/ 374 w 499"/>
                    <a:gd name="T75" fmla="*/ 43 h 327"/>
                    <a:gd name="T76" fmla="*/ 417 w 499"/>
                    <a:gd name="T77" fmla="*/ 35 h 327"/>
                    <a:gd name="T78" fmla="*/ 423 w 499"/>
                    <a:gd name="T79" fmla="*/ 17 h 327"/>
                    <a:gd name="T80" fmla="*/ 438 w 499"/>
                    <a:gd name="T81" fmla="*/ 5 h 327"/>
                    <a:gd name="T82" fmla="*/ 458 w 499"/>
                    <a:gd name="T83" fmla="*/ 0 h 3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499" h="327">
                      <a:moveTo>
                        <a:pt x="458" y="0"/>
                      </a:moveTo>
                      <a:lnTo>
                        <a:pt x="474" y="3"/>
                      </a:lnTo>
                      <a:lnTo>
                        <a:pt x="488" y="13"/>
                      </a:lnTo>
                      <a:lnTo>
                        <a:pt x="496" y="27"/>
                      </a:lnTo>
                      <a:lnTo>
                        <a:pt x="499" y="43"/>
                      </a:lnTo>
                      <a:lnTo>
                        <a:pt x="496" y="58"/>
                      </a:lnTo>
                      <a:lnTo>
                        <a:pt x="488" y="71"/>
                      </a:lnTo>
                      <a:lnTo>
                        <a:pt x="474" y="81"/>
                      </a:lnTo>
                      <a:lnTo>
                        <a:pt x="458" y="84"/>
                      </a:lnTo>
                      <a:lnTo>
                        <a:pt x="440" y="81"/>
                      </a:lnTo>
                      <a:lnTo>
                        <a:pt x="427" y="69"/>
                      </a:lnTo>
                      <a:lnTo>
                        <a:pt x="418" y="55"/>
                      </a:lnTo>
                      <a:lnTo>
                        <a:pt x="379" y="63"/>
                      </a:lnTo>
                      <a:lnTo>
                        <a:pt x="341" y="76"/>
                      </a:lnTo>
                      <a:lnTo>
                        <a:pt x="305" y="94"/>
                      </a:lnTo>
                      <a:lnTo>
                        <a:pt x="272" y="117"/>
                      </a:lnTo>
                      <a:lnTo>
                        <a:pt x="79" y="267"/>
                      </a:lnTo>
                      <a:lnTo>
                        <a:pt x="82" y="276"/>
                      </a:lnTo>
                      <a:lnTo>
                        <a:pt x="84" y="284"/>
                      </a:lnTo>
                      <a:lnTo>
                        <a:pt x="80" y="300"/>
                      </a:lnTo>
                      <a:lnTo>
                        <a:pt x="71" y="314"/>
                      </a:lnTo>
                      <a:lnTo>
                        <a:pt x="57" y="324"/>
                      </a:lnTo>
                      <a:lnTo>
                        <a:pt x="41" y="327"/>
                      </a:lnTo>
                      <a:lnTo>
                        <a:pt x="24" y="324"/>
                      </a:lnTo>
                      <a:lnTo>
                        <a:pt x="11" y="314"/>
                      </a:lnTo>
                      <a:lnTo>
                        <a:pt x="3" y="300"/>
                      </a:lnTo>
                      <a:lnTo>
                        <a:pt x="0" y="284"/>
                      </a:lnTo>
                      <a:lnTo>
                        <a:pt x="3" y="267"/>
                      </a:lnTo>
                      <a:lnTo>
                        <a:pt x="11" y="254"/>
                      </a:lnTo>
                      <a:lnTo>
                        <a:pt x="24" y="246"/>
                      </a:lnTo>
                      <a:lnTo>
                        <a:pt x="41" y="243"/>
                      </a:lnTo>
                      <a:lnTo>
                        <a:pt x="51" y="244"/>
                      </a:lnTo>
                      <a:lnTo>
                        <a:pt x="59" y="246"/>
                      </a:lnTo>
                      <a:lnTo>
                        <a:pt x="67" y="251"/>
                      </a:lnTo>
                      <a:lnTo>
                        <a:pt x="258" y="101"/>
                      </a:lnTo>
                      <a:lnTo>
                        <a:pt x="295" y="76"/>
                      </a:lnTo>
                      <a:lnTo>
                        <a:pt x="333" y="56"/>
                      </a:lnTo>
                      <a:lnTo>
                        <a:pt x="374" y="43"/>
                      </a:lnTo>
                      <a:lnTo>
                        <a:pt x="417" y="35"/>
                      </a:lnTo>
                      <a:lnTo>
                        <a:pt x="423" y="17"/>
                      </a:lnTo>
                      <a:lnTo>
                        <a:pt x="438" y="5"/>
                      </a:lnTo>
                      <a:lnTo>
                        <a:pt x="458" y="0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27" name="îṧ1iḋê">
                  <a:extLst>
                    <a:ext uri="{FF2B5EF4-FFF2-40B4-BE49-F238E27FC236}">
                      <a16:creationId xmlns:a16="http://schemas.microsoft.com/office/drawing/2014/main" id="{54F685A0-903D-4DCF-B7F5-ED82165C9C30}"/>
                    </a:ext>
                  </a:extLst>
                </p:cNvPr>
                <p:cNvSpPr/>
                <p:nvPr/>
              </p:nvSpPr>
              <p:spPr bwMode="auto">
                <a:xfrm>
                  <a:off x="7450138" y="3566319"/>
                  <a:ext cx="677863" cy="131763"/>
                </a:xfrm>
                <a:custGeom>
                  <a:avLst/>
                  <a:gdLst>
                    <a:gd name="T0" fmla="*/ 42 w 427"/>
                    <a:gd name="T1" fmla="*/ 0 h 83"/>
                    <a:gd name="T2" fmla="*/ 61 w 427"/>
                    <a:gd name="T3" fmla="*/ 3 h 83"/>
                    <a:gd name="T4" fmla="*/ 74 w 427"/>
                    <a:gd name="T5" fmla="*/ 15 h 83"/>
                    <a:gd name="T6" fmla="*/ 82 w 427"/>
                    <a:gd name="T7" fmla="*/ 32 h 83"/>
                    <a:gd name="T8" fmla="*/ 344 w 427"/>
                    <a:gd name="T9" fmla="*/ 32 h 83"/>
                    <a:gd name="T10" fmla="*/ 352 w 427"/>
                    <a:gd name="T11" fmla="*/ 15 h 83"/>
                    <a:gd name="T12" fmla="*/ 367 w 427"/>
                    <a:gd name="T13" fmla="*/ 3 h 83"/>
                    <a:gd name="T14" fmla="*/ 385 w 427"/>
                    <a:gd name="T15" fmla="*/ 0 h 83"/>
                    <a:gd name="T16" fmla="*/ 402 w 427"/>
                    <a:gd name="T17" fmla="*/ 3 h 83"/>
                    <a:gd name="T18" fmla="*/ 415 w 427"/>
                    <a:gd name="T19" fmla="*/ 12 h 83"/>
                    <a:gd name="T20" fmla="*/ 423 w 427"/>
                    <a:gd name="T21" fmla="*/ 25 h 83"/>
                    <a:gd name="T22" fmla="*/ 427 w 427"/>
                    <a:gd name="T23" fmla="*/ 41 h 83"/>
                    <a:gd name="T24" fmla="*/ 423 w 427"/>
                    <a:gd name="T25" fmla="*/ 58 h 83"/>
                    <a:gd name="T26" fmla="*/ 415 w 427"/>
                    <a:gd name="T27" fmla="*/ 71 h 83"/>
                    <a:gd name="T28" fmla="*/ 402 w 427"/>
                    <a:gd name="T29" fmla="*/ 79 h 83"/>
                    <a:gd name="T30" fmla="*/ 385 w 427"/>
                    <a:gd name="T31" fmla="*/ 83 h 83"/>
                    <a:gd name="T32" fmla="*/ 367 w 427"/>
                    <a:gd name="T33" fmla="*/ 79 h 83"/>
                    <a:gd name="T34" fmla="*/ 352 w 427"/>
                    <a:gd name="T35" fmla="*/ 68 h 83"/>
                    <a:gd name="T36" fmla="*/ 344 w 427"/>
                    <a:gd name="T37" fmla="*/ 51 h 83"/>
                    <a:gd name="T38" fmla="*/ 82 w 427"/>
                    <a:gd name="T39" fmla="*/ 51 h 83"/>
                    <a:gd name="T40" fmla="*/ 74 w 427"/>
                    <a:gd name="T41" fmla="*/ 68 h 83"/>
                    <a:gd name="T42" fmla="*/ 61 w 427"/>
                    <a:gd name="T43" fmla="*/ 79 h 83"/>
                    <a:gd name="T44" fmla="*/ 42 w 427"/>
                    <a:gd name="T45" fmla="*/ 83 h 83"/>
                    <a:gd name="T46" fmla="*/ 26 w 427"/>
                    <a:gd name="T47" fmla="*/ 79 h 83"/>
                    <a:gd name="T48" fmla="*/ 13 w 427"/>
                    <a:gd name="T49" fmla="*/ 71 h 83"/>
                    <a:gd name="T50" fmla="*/ 3 w 427"/>
                    <a:gd name="T51" fmla="*/ 58 h 83"/>
                    <a:gd name="T52" fmla="*/ 0 w 427"/>
                    <a:gd name="T53" fmla="*/ 41 h 83"/>
                    <a:gd name="T54" fmla="*/ 3 w 427"/>
                    <a:gd name="T55" fmla="*/ 25 h 83"/>
                    <a:gd name="T56" fmla="*/ 13 w 427"/>
                    <a:gd name="T57" fmla="*/ 12 h 83"/>
                    <a:gd name="T58" fmla="*/ 26 w 427"/>
                    <a:gd name="T59" fmla="*/ 3 h 83"/>
                    <a:gd name="T60" fmla="*/ 42 w 427"/>
                    <a:gd name="T61" fmla="*/ 0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427" h="83">
                      <a:moveTo>
                        <a:pt x="42" y="0"/>
                      </a:moveTo>
                      <a:lnTo>
                        <a:pt x="61" y="3"/>
                      </a:lnTo>
                      <a:lnTo>
                        <a:pt x="74" y="15"/>
                      </a:lnTo>
                      <a:lnTo>
                        <a:pt x="82" y="32"/>
                      </a:lnTo>
                      <a:lnTo>
                        <a:pt x="344" y="32"/>
                      </a:lnTo>
                      <a:lnTo>
                        <a:pt x="352" y="15"/>
                      </a:lnTo>
                      <a:lnTo>
                        <a:pt x="367" y="3"/>
                      </a:lnTo>
                      <a:lnTo>
                        <a:pt x="385" y="0"/>
                      </a:lnTo>
                      <a:lnTo>
                        <a:pt x="402" y="3"/>
                      </a:lnTo>
                      <a:lnTo>
                        <a:pt x="415" y="12"/>
                      </a:lnTo>
                      <a:lnTo>
                        <a:pt x="423" y="25"/>
                      </a:lnTo>
                      <a:lnTo>
                        <a:pt x="427" y="41"/>
                      </a:lnTo>
                      <a:lnTo>
                        <a:pt x="423" y="58"/>
                      </a:lnTo>
                      <a:lnTo>
                        <a:pt x="415" y="71"/>
                      </a:lnTo>
                      <a:lnTo>
                        <a:pt x="402" y="79"/>
                      </a:lnTo>
                      <a:lnTo>
                        <a:pt x="385" y="83"/>
                      </a:lnTo>
                      <a:lnTo>
                        <a:pt x="367" y="79"/>
                      </a:lnTo>
                      <a:lnTo>
                        <a:pt x="352" y="68"/>
                      </a:lnTo>
                      <a:lnTo>
                        <a:pt x="344" y="51"/>
                      </a:lnTo>
                      <a:lnTo>
                        <a:pt x="82" y="51"/>
                      </a:lnTo>
                      <a:lnTo>
                        <a:pt x="74" y="68"/>
                      </a:lnTo>
                      <a:lnTo>
                        <a:pt x="61" y="79"/>
                      </a:lnTo>
                      <a:lnTo>
                        <a:pt x="42" y="83"/>
                      </a:lnTo>
                      <a:lnTo>
                        <a:pt x="26" y="79"/>
                      </a:lnTo>
                      <a:lnTo>
                        <a:pt x="13" y="71"/>
                      </a:lnTo>
                      <a:lnTo>
                        <a:pt x="3" y="58"/>
                      </a:lnTo>
                      <a:lnTo>
                        <a:pt x="0" y="41"/>
                      </a:lnTo>
                      <a:lnTo>
                        <a:pt x="3" y="25"/>
                      </a:lnTo>
                      <a:lnTo>
                        <a:pt x="13" y="12"/>
                      </a:lnTo>
                      <a:lnTo>
                        <a:pt x="26" y="3"/>
                      </a:lnTo>
                      <a:lnTo>
                        <a:pt x="42" y="0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25000" lnSpcReduction="20000"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28" name="îŝľiḍè">
                  <a:extLst>
                    <a:ext uri="{FF2B5EF4-FFF2-40B4-BE49-F238E27FC236}">
                      <a16:creationId xmlns:a16="http://schemas.microsoft.com/office/drawing/2014/main" id="{2D78B0A8-F4B1-464D-B7C6-FCF8C51012B3}"/>
                    </a:ext>
                  </a:extLst>
                </p:cNvPr>
                <p:cNvSpPr/>
                <p:nvPr/>
              </p:nvSpPr>
              <p:spPr bwMode="auto">
                <a:xfrm>
                  <a:off x="7339013" y="4555118"/>
                  <a:ext cx="793750" cy="517525"/>
                </a:xfrm>
                <a:custGeom>
                  <a:avLst/>
                  <a:gdLst>
                    <a:gd name="T0" fmla="*/ 42 w 500"/>
                    <a:gd name="T1" fmla="*/ 0 h 326"/>
                    <a:gd name="T2" fmla="*/ 58 w 500"/>
                    <a:gd name="T3" fmla="*/ 3 h 326"/>
                    <a:gd name="T4" fmla="*/ 71 w 500"/>
                    <a:gd name="T5" fmla="*/ 13 h 326"/>
                    <a:gd name="T6" fmla="*/ 81 w 500"/>
                    <a:gd name="T7" fmla="*/ 26 h 326"/>
                    <a:gd name="T8" fmla="*/ 84 w 500"/>
                    <a:gd name="T9" fmla="*/ 43 h 326"/>
                    <a:gd name="T10" fmla="*/ 83 w 500"/>
                    <a:gd name="T11" fmla="*/ 51 h 326"/>
                    <a:gd name="T12" fmla="*/ 81 w 500"/>
                    <a:gd name="T13" fmla="*/ 59 h 326"/>
                    <a:gd name="T14" fmla="*/ 272 w 500"/>
                    <a:gd name="T15" fmla="*/ 209 h 326"/>
                    <a:gd name="T16" fmla="*/ 305 w 500"/>
                    <a:gd name="T17" fmla="*/ 232 h 326"/>
                    <a:gd name="T18" fmla="*/ 342 w 500"/>
                    <a:gd name="T19" fmla="*/ 251 h 326"/>
                    <a:gd name="T20" fmla="*/ 379 w 500"/>
                    <a:gd name="T21" fmla="*/ 264 h 326"/>
                    <a:gd name="T22" fmla="*/ 419 w 500"/>
                    <a:gd name="T23" fmla="*/ 272 h 326"/>
                    <a:gd name="T24" fmla="*/ 427 w 500"/>
                    <a:gd name="T25" fmla="*/ 257 h 326"/>
                    <a:gd name="T26" fmla="*/ 440 w 500"/>
                    <a:gd name="T27" fmla="*/ 246 h 326"/>
                    <a:gd name="T28" fmla="*/ 459 w 500"/>
                    <a:gd name="T29" fmla="*/ 242 h 326"/>
                    <a:gd name="T30" fmla="*/ 475 w 500"/>
                    <a:gd name="T31" fmla="*/ 246 h 326"/>
                    <a:gd name="T32" fmla="*/ 488 w 500"/>
                    <a:gd name="T33" fmla="*/ 256 h 326"/>
                    <a:gd name="T34" fmla="*/ 497 w 500"/>
                    <a:gd name="T35" fmla="*/ 269 h 326"/>
                    <a:gd name="T36" fmla="*/ 500 w 500"/>
                    <a:gd name="T37" fmla="*/ 284 h 326"/>
                    <a:gd name="T38" fmla="*/ 497 w 500"/>
                    <a:gd name="T39" fmla="*/ 300 h 326"/>
                    <a:gd name="T40" fmla="*/ 488 w 500"/>
                    <a:gd name="T41" fmla="*/ 313 h 326"/>
                    <a:gd name="T42" fmla="*/ 475 w 500"/>
                    <a:gd name="T43" fmla="*/ 323 h 326"/>
                    <a:gd name="T44" fmla="*/ 459 w 500"/>
                    <a:gd name="T45" fmla="*/ 326 h 326"/>
                    <a:gd name="T46" fmla="*/ 439 w 500"/>
                    <a:gd name="T47" fmla="*/ 322 h 326"/>
                    <a:gd name="T48" fmla="*/ 426 w 500"/>
                    <a:gd name="T49" fmla="*/ 310 h 326"/>
                    <a:gd name="T50" fmla="*/ 417 w 500"/>
                    <a:gd name="T51" fmla="*/ 292 h 326"/>
                    <a:gd name="T52" fmla="*/ 375 w 500"/>
                    <a:gd name="T53" fmla="*/ 284 h 326"/>
                    <a:gd name="T54" fmla="*/ 333 w 500"/>
                    <a:gd name="T55" fmla="*/ 269 h 326"/>
                    <a:gd name="T56" fmla="*/ 295 w 500"/>
                    <a:gd name="T57" fmla="*/ 251 h 326"/>
                    <a:gd name="T58" fmla="*/ 259 w 500"/>
                    <a:gd name="T59" fmla="*/ 226 h 326"/>
                    <a:gd name="T60" fmla="*/ 68 w 500"/>
                    <a:gd name="T61" fmla="*/ 76 h 326"/>
                    <a:gd name="T62" fmla="*/ 60 w 500"/>
                    <a:gd name="T63" fmla="*/ 81 h 326"/>
                    <a:gd name="T64" fmla="*/ 51 w 500"/>
                    <a:gd name="T65" fmla="*/ 82 h 326"/>
                    <a:gd name="T66" fmla="*/ 42 w 500"/>
                    <a:gd name="T67" fmla="*/ 84 h 326"/>
                    <a:gd name="T68" fmla="*/ 27 w 500"/>
                    <a:gd name="T69" fmla="*/ 81 h 326"/>
                    <a:gd name="T70" fmla="*/ 12 w 500"/>
                    <a:gd name="T71" fmla="*/ 72 h 326"/>
                    <a:gd name="T72" fmla="*/ 4 w 500"/>
                    <a:gd name="T73" fmla="*/ 59 h 326"/>
                    <a:gd name="T74" fmla="*/ 0 w 500"/>
                    <a:gd name="T75" fmla="*/ 43 h 326"/>
                    <a:gd name="T76" fmla="*/ 4 w 500"/>
                    <a:gd name="T77" fmla="*/ 26 h 326"/>
                    <a:gd name="T78" fmla="*/ 12 w 500"/>
                    <a:gd name="T79" fmla="*/ 13 h 326"/>
                    <a:gd name="T80" fmla="*/ 27 w 500"/>
                    <a:gd name="T81" fmla="*/ 3 h 326"/>
                    <a:gd name="T82" fmla="*/ 42 w 500"/>
                    <a:gd name="T83" fmla="*/ 0 h 3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500" h="326">
                      <a:moveTo>
                        <a:pt x="42" y="0"/>
                      </a:moveTo>
                      <a:lnTo>
                        <a:pt x="58" y="3"/>
                      </a:lnTo>
                      <a:lnTo>
                        <a:pt x="71" y="13"/>
                      </a:lnTo>
                      <a:lnTo>
                        <a:pt x="81" y="26"/>
                      </a:lnTo>
                      <a:lnTo>
                        <a:pt x="84" y="43"/>
                      </a:lnTo>
                      <a:lnTo>
                        <a:pt x="83" y="51"/>
                      </a:lnTo>
                      <a:lnTo>
                        <a:pt x="81" y="59"/>
                      </a:lnTo>
                      <a:lnTo>
                        <a:pt x="272" y="209"/>
                      </a:lnTo>
                      <a:lnTo>
                        <a:pt x="305" y="232"/>
                      </a:lnTo>
                      <a:lnTo>
                        <a:pt x="342" y="251"/>
                      </a:lnTo>
                      <a:lnTo>
                        <a:pt x="379" y="264"/>
                      </a:lnTo>
                      <a:lnTo>
                        <a:pt x="419" y="272"/>
                      </a:lnTo>
                      <a:lnTo>
                        <a:pt x="427" y="257"/>
                      </a:lnTo>
                      <a:lnTo>
                        <a:pt x="440" y="246"/>
                      </a:lnTo>
                      <a:lnTo>
                        <a:pt x="459" y="242"/>
                      </a:lnTo>
                      <a:lnTo>
                        <a:pt x="475" y="246"/>
                      </a:lnTo>
                      <a:lnTo>
                        <a:pt x="488" y="256"/>
                      </a:lnTo>
                      <a:lnTo>
                        <a:pt x="497" y="269"/>
                      </a:lnTo>
                      <a:lnTo>
                        <a:pt x="500" y="284"/>
                      </a:lnTo>
                      <a:lnTo>
                        <a:pt x="497" y="300"/>
                      </a:lnTo>
                      <a:lnTo>
                        <a:pt x="488" y="313"/>
                      </a:lnTo>
                      <a:lnTo>
                        <a:pt x="475" y="323"/>
                      </a:lnTo>
                      <a:lnTo>
                        <a:pt x="459" y="326"/>
                      </a:lnTo>
                      <a:lnTo>
                        <a:pt x="439" y="322"/>
                      </a:lnTo>
                      <a:lnTo>
                        <a:pt x="426" y="310"/>
                      </a:lnTo>
                      <a:lnTo>
                        <a:pt x="417" y="292"/>
                      </a:lnTo>
                      <a:lnTo>
                        <a:pt x="375" y="284"/>
                      </a:lnTo>
                      <a:lnTo>
                        <a:pt x="333" y="269"/>
                      </a:lnTo>
                      <a:lnTo>
                        <a:pt x="295" y="251"/>
                      </a:lnTo>
                      <a:lnTo>
                        <a:pt x="259" y="226"/>
                      </a:lnTo>
                      <a:lnTo>
                        <a:pt x="68" y="76"/>
                      </a:lnTo>
                      <a:lnTo>
                        <a:pt x="60" y="81"/>
                      </a:lnTo>
                      <a:lnTo>
                        <a:pt x="51" y="82"/>
                      </a:lnTo>
                      <a:lnTo>
                        <a:pt x="42" y="84"/>
                      </a:lnTo>
                      <a:lnTo>
                        <a:pt x="27" y="81"/>
                      </a:lnTo>
                      <a:lnTo>
                        <a:pt x="12" y="72"/>
                      </a:lnTo>
                      <a:lnTo>
                        <a:pt x="4" y="59"/>
                      </a:lnTo>
                      <a:lnTo>
                        <a:pt x="0" y="43"/>
                      </a:lnTo>
                      <a:lnTo>
                        <a:pt x="4" y="26"/>
                      </a:lnTo>
                      <a:lnTo>
                        <a:pt x="12" y="13"/>
                      </a:lnTo>
                      <a:lnTo>
                        <a:pt x="27" y="3"/>
                      </a:lnTo>
                      <a:lnTo>
                        <a:pt x="42" y="0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/>
                </a:p>
              </p:txBody>
            </p:sp>
          </p:grpSp>
          <p:grpSp>
            <p:nvGrpSpPr>
              <p:cNvPr id="14" name="íṡḷídê">
                <a:extLst>
                  <a:ext uri="{FF2B5EF4-FFF2-40B4-BE49-F238E27FC236}">
                    <a16:creationId xmlns:a16="http://schemas.microsoft.com/office/drawing/2014/main" id="{6B9E1248-D244-4642-84E3-3D94E38A5496}"/>
                  </a:ext>
                </a:extLst>
              </p:cNvPr>
              <p:cNvGrpSpPr/>
              <p:nvPr/>
            </p:nvGrpSpPr>
            <p:grpSpPr>
              <a:xfrm>
                <a:off x="4035103" y="2191361"/>
                <a:ext cx="800101" cy="2881679"/>
                <a:chOff x="4070351" y="2190964"/>
                <a:chExt cx="800101" cy="2881679"/>
              </a:xfrm>
            </p:grpSpPr>
            <p:sp>
              <p:nvSpPr>
                <p:cNvPr id="23" name="iṩļîḑé">
                  <a:extLst>
                    <a:ext uri="{FF2B5EF4-FFF2-40B4-BE49-F238E27FC236}">
                      <a16:creationId xmlns:a16="http://schemas.microsoft.com/office/drawing/2014/main" id="{E68BA71E-4F95-4156-901F-78E10CA3EC3C}"/>
                    </a:ext>
                  </a:extLst>
                </p:cNvPr>
                <p:cNvSpPr/>
                <p:nvPr/>
              </p:nvSpPr>
              <p:spPr bwMode="auto">
                <a:xfrm>
                  <a:off x="4078289" y="2190964"/>
                  <a:ext cx="792163" cy="519113"/>
                </a:xfrm>
                <a:custGeom>
                  <a:avLst/>
                  <a:gdLst>
                    <a:gd name="connsiteX0" fmla="*/ 66675 w 793750"/>
                    <a:gd name="connsiteY0" fmla="*/ 0 h 515937"/>
                    <a:gd name="connsiteX1" fmla="*/ 92075 w 793750"/>
                    <a:gd name="connsiteY1" fmla="*/ 4762 h 515937"/>
                    <a:gd name="connsiteX2" fmla="*/ 112712 w 793750"/>
                    <a:gd name="connsiteY2" fmla="*/ 19050 h 515937"/>
                    <a:gd name="connsiteX3" fmla="*/ 128587 w 793750"/>
                    <a:gd name="connsiteY3" fmla="*/ 39687 h 515937"/>
                    <a:gd name="connsiteX4" fmla="*/ 131499 w 793750"/>
                    <a:gd name="connsiteY4" fmla="*/ 55214 h 515937"/>
                    <a:gd name="connsiteX5" fmla="*/ 152400 w 793750"/>
                    <a:gd name="connsiteY5" fmla="*/ 57149 h 515937"/>
                    <a:gd name="connsiteX6" fmla="*/ 233362 w 793750"/>
                    <a:gd name="connsiteY6" fmla="*/ 79374 h 515937"/>
                    <a:gd name="connsiteX7" fmla="*/ 311150 w 793750"/>
                    <a:gd name="connsiteY7" fmla="*/ 112712 h 515937"/>
                    <a:gd name="connsiteX8" fmla="*/ 382588 w 793750"/>
                    <a:gd name="connsiteY8" fmla="*/ 160337 h 515937"/>
                    <a:gd name="connsiteX9" fmla="*/ 688000 w 793750"/>
                    <a:gd name="connsiteY9" fmla="*/ 398940 h 515937"/>
                    <a:gd name="connsiteX10" fmla="*/ 701675 w 793750"/>
                    <a:gd name="connsiteY10" fmla="*/ 390525 h 515937"/>
                    <a:gd name="connsiteX11" fmla="*/ 728663 w 793750"/>
                    <a:gd name="connsiteY11" fmla="*/ 385762 h 515937"/>
                    <a:gd name="connsiteX12" fmla="*/ 754063 w 793750"/>
                    <a:gd name="connsiteY12" fmla="*/ 390525 h 515937"/>
                    <a:gd name="connsiteX13" fmla="*/ 774700 w 793750"/>
                    <a:gd name="connsiteY13" fmla="*/ 403225 h 515937"/>
                    <a:gd name="connsiteX14" fmla="*/ 788988 w 793750"/>
                    <a:gd name="connsiteY14" fmla="*/ 423862 h 515937"/>
                    <a:gd name="connsiteX15" fmla="*/ 793750 w 793750"/>
                    <a:gd name="connsiteY15" fmla="*/ 450850 h 515937"/>
                    <a:gd name="connsiteX16" fmla="*/ 788988 w 793750"/>
                    <a:gd name="connsiteY16" fmla="*/ 476250 h 515937"/>
                    <a:gd name="connsiteX17" fmla="*/ 774700 w 793750"/>
                    <a:gd name="connsiteY17" fmla="*/ 498475 h 515937"/>
                    <a:gd name="connsiteX18" fmla="*/ 754063 w 793750"/>
                    <a:gd name="connsiteY18" fmla="*/ 511175 h 515937"/>
                    <a:gd name="connsiteX19" fmla="*/ 728663 w 793750"/>
                    <a:gd name="connsiteY19" fmla="*/ 515937 h 515937"/>
                    <a:gd name="connsiteX20" fmla="*/ 701675 w 793750"/>
                    <a:gd name="connsiteY20" fmla="*/ 511175 h 515937"/>
                    <a:gd name="connsiteX21" fmla="*/ 681038 w 793750"/>
                    <a:gd name="connsiteY21" fmla="*/ 498475 h 515937"/>
                    <a:gd name="connsiteX22" fmla="*/ 665163 w 793750"/>
                    <a:gd name="connsiteY22" fmla="*/ 476250 h 515937"/>
                    <a:gd name="connsiteX23" fmla="*/ 660400 w 793750"/>
                    <a:gd name="connsiteY23" fmla="*/ 450850 h 515937"/>
                    <a:gd name="connsiteX24" fmla="*/ 665163 w 793750"/>
                    <a:gd name="connsiteY24" fmla="*/ 423862 h 515937"/>
                    <a:gd name="connsiteX25" fmla="*/ 665759 w 793750"/>
                    <a:gd name="connsiteY25" fmla="*/ 423088 h 515937"/>
                    <a:gd name="connsiteX26" fmla="*/ 361950 w 793750"/>
                    <a:gd name="connsiteY26" fmla="*/ 185737 h 515937"/>
                    <a:gd name="connsiteX27" fmla="*/ 296862 w 793750"/>
                    <a:gd name="connsiteY27" fmla="*/ 141287 h 515937"/>
                    <a:gd name="connsiteX28" fmla="*/ 222250 w 793750"/>
                    <a:gd name="connsiteY28" fmla="*/ 109537 h 515937"/>
                    <a:gd name="connsiteX29" fmla="*/ 147637 w 793750"/>
                    <a:gd name="connsiteY29" fmla="*/ 88899 h 515937"/>
                    <a:gd name="connsiteX30" fmla="*/ 129462 w 793750"/>
                    <a:gd name="connsiteY30" fmla="*/ 87118 h 515937"/>
                    <a:gd name="connsiteX31" fmla="*/ 128587 w 793750"/>
                    <a:gd name="connsiteY31" fmla="*/ 92075 h 515937"/>
                    <a:gd name="connsiteX32" fmla="*/ 112712 w 793750"/>
                    <a:gd name="connsiteY32" fmla="*/ 112712 h 515937"/>
                    <a:gd name="connsiteX33" fmla="*/ 92075 w 793750"/>
                    <a:gd name="connsiteY33" fmla="*/ 128587 h 515937"/>
                    <a:gd name="connsiteX34" fmla="*/ 66675 w 793750"/>
                    <a:gd name="connsiteY34" fmla="*/ 133350 h 515937"/>
                    <a:gd name="connsiteX35" fmla="*/ 39687 w 793750"/>
                    <a:gd name="connsiteY35" fmla="*/ 128587 h 515937"/>
                    <a:gd name="connsiteX36" fmla="*/ 19050 w 793750"/>
                    <a:gd name="connsiteY36" fmla="*/ 112712 h 515937"/>
                    <a:gd name="connsiteX37" fmla="*/ 6350 w 793750"/>
                    <a:gd name="connsiteY37" fmla="*/ 92075 h 515937"/>
                    <a:gd name="connsiteX38" fmla="*/ 0 w 793750"/>
                    <a:gd name="connsiteY38" fmla="*/ 65087 h 515937"/>
                    <a:gd name="connsiteX39" fmla="*/ 6350 w 793750"/>
                    <a:gd name="connsiteY39" fmla="*/ 39687 h 515937"/>
                    <a:gd name="connsiteX40" fmla="*/ 19050 w 793750"/>
                    <a:gd name="connsiteY40" fmla="*/ 19050 h 515937"/>
                    <a:gd name="connsiteX41" fmla="*/ 39687 w 793750"/>
                    <a:gd name="connsiteY41" fmla="*/ 4762 h 5159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793750" h="515937">
                      <a:moveTo>
                        <a:pt x="66675" y="0"/>
                      </a:moveTo>
                      <a:lnTo>
                        <a:pt x="92075" y="4762"/>
                      </a:lnTo>
                      <a:lnTo>
                        <a:pt x="112712" y="19050"/>
                      </a:lnTo>
                      <a:lnTo>
                        <a:pt x="128587" y="39687"/>
                      </a:lnTo>
                      <a:lnTo>
                        <a:pt x="131499" y="55214"/>
                      </a:lnTo>
                      <a:lnTo>
                        <a:pt x="152400" y="57149"/>
                      </a:lnTo>
                      <a:lnTo>
                        <a:pt x="233362" y="79374"/>
                      </a:lnTo>
                      <a:lnTo>
                        <a:pt x="311150" y="112712"/>
                      </a:lnTo>
                      <a:lnTo>
                        <a:pt x="382588" y="160337"/>
                      </a:lnTo>
                      <a:lnTo>
                        <a:pt x="688000" y="398940"/>
                      </a:lnTo>
                      <a:lnTo>
                        <a:pt x="701675" y="390525"/>
                      </a:lnTo>
                      <a:lnTo>
                        <a:pt x="728663" y="385762"/>
                      </a:lnTo>
                      <a:lnTo>
                        <a:pt x="754063" y="390525"/>
                      </a:lnTo>
                      <a:lnTo>
                        <a:pt x="774700" y="403225"/>
                      </a:lnTo>
                      <a:lnTo>
                        <a:pt x="788988" y="423862"/>
                      </a:lnTo>
                      <a:lnTo>
                        <a:pt x="793750" y="450850"/>
                      </a:lnTo>
                      <a:lnTo>
                        <a:pt x="788988" y="476250"/>
                      </a:lnTo>
                      <a:lnTo>
                        <a:pt x="774700" y="498475"/>
                      </a:lnTo>
                      <a:lnTo>
                        <a:pt x="754063" y="511175"/>
                      </a:lnTo>
                      <a:lnTo>
                        <a:pt x="728663" y="515937"/>
                      </a:lnTo>
                      <a:lnTo>
                        <a:pt x="701675" y="511175"/>
                      </a:lnTo>
                      <a:lnTo>
                        <a:pt x="681038" y="498475"/>
                      </a:lnTo>
                      <a:lnTo>
                        <a:pt x="665163" y="476250"/>
                      </a:lnTo>
                      <a:lnTo>
                        <a:pt x="660400" y="450850"/>
                      </a:lnTo>
                      <a:lnTo>
                        <a:pt x="665163" y="423862"/>
                      </a:lnTo>
                      <a:lnTo>
                        <a:pt x="665759" y="423088"/>
                      </a:lnTo>
                      <a:lnTo>
                        <a:pt x="361950" y="185737"/>
                      </a:lnTo>
                      <a:lnTo>
                        <a:pt x="296862" y="141287"/>
                      </a:lnTo>
                      <a:lnTo>
                        <a:pt x="222250" y="109537"/>
                      </a:lnTo>
                      <a:lnTo>
                        <a:pt x="147637" y="88899"/>
                      </a:lnTo>
                      <a:lnTo>
                        <a:pt x="129462" y="87118"/>
                      </a:lnTo>
                      <a:lnTo>
                        <a:pt x="128587" y="92075"/>
                      </a:lnTo>
                      <a:lnTo>
                        <a:pt x="112712" y="112712"/>
                      </a:lnTo>
                      <a:lnTo>
                        <a:pt x="92075" y="128587"/>
                      </a:lnTo>
                      <a:lnTo>
                        <a:pt x="66675" y="133350"/>
                      </a:lnTo>
                      <a:lnTo>
                        <a:pt x="39687" y="128587"/>
                      </a:lnTo>
                      <a:lnTo>
                        <a:pt x="19050" y="112712"/>
                      </a:lnTo>
                      <a:lnTo>
                        <a:pt x="6350" y="92075"/>
                      </a:lnTo>
                      <a:lnTo>
                        <a:pt x="0" y="65087"/>
                      </a:lnTo>
                      <a:lnTo>
                        <a:pt x="6350" y="39687"/>
                      </a:lnTo>
                      <a:lnTo>
                        <a:pt x="19050" y="19050"/>
                      </a:lnTo>
                      <a:lnTo>
                        <a:pt x="39687" y="4762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24" name="iš1îḍè">
                  <a:extLst>
                    <a:ext uri="{FF2B5EF4-FFF2-40B4-BE49-F238E27FC236}">
                      <a16:creationId xmlns:a16="http://schemas.microsoft.com/office/drawing/2014/main" id="{F13A1D91-2A40-49A0-91BF-6EB0570B1AD4}"/>
                    </a:ext>
                  </a:extLst>
                </p:cNvPr>
                <p:cNvSpPr/>
                <p:nvPr/>
              </p:nvSpPr>
              <p:spPr bwMode="auto">
                <a:xfrm>
                  <a:off x="4078288" y="3566319"/>
                  <a:ext cx="677863" cy="131763"/>
                </a:xfrm>
                <a:custGeom>
                  <a:avLst/>
                  <a:gdLst>
                    <a:gd name="T0" fmla="*/ 42 w 427"/>
                    <a:gd name="T1" fmla="*/ 0 h 83"/>
                    <a:gd name="T2" fmla="*/ 60 w 427"/>
                    <a:gd name="T3" fmla="*/ 3 h 83"/>
                    <a:gd name="T4" fmla="*/ 74 w 427"/>
                    <a:gd name="T5" fmla="*/ 15 h 83"/>
                    <a:gd name="T6" fmla="*/ 83 w 427"/>
                    <a:gd name="T7" fmla="*/ 32 h 83"/>
                    <a:gd name="T8" fmla="*/ 345 w 427"/>
                    <a:gd name="T9" fmla="*/ 32 h 83"/>
                    <a:gd name="T10" fmla="*/ 353 w 427"/>
                    <a:gd name="T11" fmla="*/ 15 h 83"/>
                    <a:gd name="T12" fmla="*/ 366 w 427"/>
                    <a:gd name="T13" fmla="*/ 3 h 83"/>
                    <a:gd name="T14" fmla="*/ 384 w 427"/>
                    <a:gd name="T15" fmla="*/ 0 h 83"/>
                    <a:gd name="T16" fmla="*/ 401 w 427"/>
                    <a:gd name="T17" fmla="*/ 3 h 83"/>
                    <a:gd name="T18" fmla="*/ 414 w 427"/>
                    <a:gd name="T19" fmla="*/ 12 h 83"/>
                    <a:gd name="T20" fmla="*/ 424 w 427"/>
                    <a:gd name="T21" fmla="*/ 25 h 83"/>
                    <a:gd name="T22" fmla="*/ 427 w 427"/>
                    <a:gd name="T23" fmla="*/ 41 h 83"/>
                    <a:gd name="T24" fmla="*/ 424 w 427"/>
                    <a:gd name="T25" fmla="*/ 58 h 83"/>
                    <a:gd name="T26" fmla="*/ 414 w 427"/>
                    <a:gd name="T27" fmla="*/ 71 h 83"/>
                    <a:gd name="T28" fmla="*/ 401 w 427"/>
                    <a:gd name="T29" fmla="*/ 79 h 83"/>
                    <a:gd name="T30" fmla="*/ 384 w 427"/>
                    <a:gd name="T31" fmla="*/ 83 h 83"/>
                    <a:gd name="T32" fmla="*/ 366 w 427"/>
                    <a:gd name="T33" fmla="*/ 79 h 83"/>
                    <a:gd name="T34" fmla="*/ 353 w 427"/>
                    <a:gd name="T35" fmla="*/ 68 h 83"/>
                    <a:gd name="T36" fmla="*/ 345 w 427"/>
                    <a:gd name="T37" fmla="*/ 51 h 83"/>
                    <a:gd name="T38" fmla="*/ 83 w 427"/>
                    <a:gd name="T39" fmla="*/ 51 h 83"/>
                    <a:gd name="T40" fmla="*/ 74 w 427"/>
                    <a:gd name="T41" fmla="*/ 68 h 83"/>
                    <a:gd name="T42" fmla="*/ 60 w 427"/>
                    <a:gd name="T43" fmla="*/ 79 h 83"/>
                    <a:gd name="T44" fmla="*/ 42 w 427"/>
                    <a:gd name="T45" fmla="*/ 83 h 83"/>
                    <a:gd name="T46" fmla="*/ 25 w 427"/>
                    <a:gd name="T47" fmla="*/ 79 h 83"/>
                    <a:gd name="T48" fmla="*/ 12 w 427"/>
                    <a:gd name="T49" fmla="*/ 71 h 83"/>
                    <a:gd name="T50" fmla="*/ 4 w 427"/>
                    <a:gd name="T51" fmla="*/ 58 h 83"/>
                    <a:gd name="T52" fmla="*/ 0 w 427"/>
                    <a:gd name="T53" fmla="*/ 41 h 83"/>
                    <a:gd name="T54" fmla="*/ 4 w 427"/>
                    <a:gd name="T55" fmla="*/ 25 h 83"/>
                    <a:gd name="T56" fmla="*/ 12 w 427"/>
                    <a:gd name="T57" fmla="*/ 12 h 83"/>
                    <a:gd name="T58" fmla="*/ 25 w 427"/>
                    <a:gd name="T59" fmla="*/ 3 h 83"/>
                    <a:gd name="T60" fmla="*/ 42 w 427"/>
                    <a:gd name="T61" fmla="*/ 0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427" h="83">
                      <a:moveTo>
                        <a:pt x="42" y="0"/>
                      </a:moveTo>
                      <a:lnTo>
                        <a:pt x="60" y="3"/>
                      </a:lnTo>
                      <a:lnTo>
                        <a:pt x="74" y="15"/>
                      </a:lnTo>
                      <a:lnTo>
                        <a:pt x="83" y="32"/>
                      </a:lnTo>
                      <a:lnTo>
                        <a:pt x="345" y="32"/>
                      </a:lnTo>
                      <a:lnTo>
                        <a:pt x="353" y="15"/>
                      </a:lnTo>
                      <a:lnTo>
                        <a:pt x="366" y="3"/>
                      </a:lnTo>
                      <a:lnTo>
                        <a:pt x="384" y="0"/>
                      </a:lnTo>
                      <a:lnTo>
                        <a:pt x="401" y="3"/>
                      </a:lnTo>
                      <a:lnTo>
                        <a:pt x="414" y="12"/>
                      </a:lnTo>
                      <a:lnTo>
                        <a:pt x="424" y="25"/>
                      </a:lnTo>
                      <a:lnTo>
                        <a:pt x="427" y="41"/>
                      </a:lnTo>
                      <a:lnTo>
                        <a:pt x="424" y="58"/>
                      </a:lnTo>
                      <a:lnTo>
                        <a:pt x="414" y="71"/>
                      </a:lnTo>
                      <a:lnTo>
                        <a:pt x="401" y="79"/>
                      </a:lnTo>
                      <a:lnTo>
                        <a:pt x="384" y="83"/>
                      </a:lnTo>
                      <a:lnTo>
                        <a:pt x="366" y="79"/>
                      </a:lnTo>
                      <a:lnTo>
                        <a:pt x="353" y="68"/>
                      </a:lnTo>
                      <a:lnTo>
                        <a:pt x="345" y="51"/>
                      </a:lnTo>
                      <a:lnTo>
                        <a:pt x="83" y="51"/>
                      </a:lnTo>
                      <a:lnTo>
                        <a:pt x="74" y="68"/>
                      </a:lnTo>
                      <a:lnTo>
                        <a:pt x="60" y="79"/>
                      </a:lnTo>
                      <a:lnTo>
                        <a:pt x="42" y="83"/>
                      </a:lnTo>
                      <a:lnTo>
                        <a:pt x="25" y="79"/>
                      </a:lnTo>
                      <a:lnTo>
                        <a:pt x="12" y="71"/>
                      </a:lnTo>
                      <a:lnTo>
                        <a:pt x="4" y="58"/>
                      </a:lnTo>
                      <a:lnTo>
                        <a:pt x="0" y="41"/>
                      </a:lnTo>
                      <a:lnTo>
                        <a:pt x="4" y="25"/>
                      </a:lnTo>
                      <a:lnTo>
                        <a:pt x="12" y="12"/>
                      </a:lnTo>
                      <a:lnTo>
                        <a:pt x="25" y="3"/>
                      </a:lnTo>
                      <a:lnTo>
                        <a:pt x="42" y="0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25000" lnSpcReduction="20000"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25" name="ïṡḻiďé">
                  <a:extLst>
                    <a:ext uri="{FF2B5EF4-FFF2-40B4-BE49-F238E27FC236}">
                      <a16:creationId xmlns:a16="http://schemas.microsoft.com/office/drawing/2014/main" id="{96CF636C-5A5F-4756-91AF-4FF39E34A5E0}"/>
                    </a:ext>
                  </a:extLst>
                </p:cNvPr>
                <p:cNvSpPr/>
                <p:nvPr/>
              </p:nvSpPr>
              <p:spPr bwMode="auto">
                <a:xfrm>
                  <a:off x="4070351" y="4555118"/>
                  <a:ext cx="793750" cy="517525"/>
                </a:xfrm>
                <a:custGeom>
                  <a:avLst/>
                  <a:gdLst>
                    <a:gd name="T0" fmla="*/ 459 w 500"/>
                    <a:gd name="T1" fmla="*/ 0 h 327"/>
                    <a:gd name="T2" fmla="*/ 475 w 500"/>
                    <a:gd name="T3" fmla="*/ 4 h 327"/>
                    <a:gd name="T4" fmla="*/ 488 w 500"/>
                    <a:gd name="T5" fmla="*/ 14 h 327"/>
                    <a:gd name="T6" fmla="*/ 497 w 500"/>
                    <a:gd name="T7" fmla="*/ 27 h 327"/>
                    <a:gd name="T8" fmla="*/ 500 w 500"/>
                    <a:gd name="T9" fmla="*/ 43 h 327"/>
                    <a:gd name="T10" fmla="*/ 497 w 500"/>
                    <a:gd name="T11" fmla="*/ 60 h 327"/>
                    <a:gd name="T12" fmla="*/ 488 w 500"/>
                    <a:gd name="T13" fmla="*/ 73 h 327"/>
                    <a:gd name="T14" fmla="*/ 475 w 500"/>
                    <a:gd name="T15" fmla="*/ 81 h 327"/>
                    <a:gd name="T16" fmla="*/ 459 w 500"/>
                    <a:gd name="T17" fmla="*/ 84 h 327"/>
                    <a:gd name="T18" fmla="*/ 449 w 500"/>
                    <a:gd name="T19" fmla="*/ 83 h 327"/>
                    <a:gd name="T20" fmla="*/ 441 w 500"/>
                    <a:gd name="T21" fmla="*/ 81 h 327"/>
                    <a:gd name="T22" fmla="*/ 434 w 500"/>
                    <a:gd name="T23" fmla="*/ 76 h 327"/>
                    <a:gd name="T24" fmla="*/ 241 w 500"/>
                    <a:gd name="T25" fmla="*/ 226 h 327"/>
                    <a:gd name="T26" fmla="*/ 206 w 500"/>
                    <a:gd name="T27" fmla="*/ 251 h 327"/>
                    <a:gd name="T28" fmla="*/ 167 w 500"/>
                    <a:gd name="T29" fmla="*/ 269 h 327"/>
                    <a:gd name="T30" fmla="*/ 126 w 500"/>
                    <a:gd name="T31" fmla="*/ 284 h 327"/>
                    <a:gd name="T32" fmla="*/ 84 w 500"/>
                    <a:gd name="T33" fmla="*/ 292 h 327"/>
                    <a:gd name="T34" fmla="*/ 76 w 500"/>
                    <a:gd name="T35" fmla="*/ 311 h 327"/>
                    <a:gd name="T36" fmla="*/ 61 w 500"/>
                    <a:gd name="T37" fmla="*/ 322 h 327"/>
                    <a:gd name="T38" fmla="*/ 43 w 500"/>
                    <a:gd name="T39" fmla="*/ 327 h 327"/>
                    <a:gd name="T40" fmla="*/ 27 w 500"/>
                    <a:gd name="T41" fmla="*/ 324 h 327"/>
                    <a:gd name="T42" fmla="*/ 14 w 500"/>
                    <a:gd name="T43" fmla="*/ 314 h 327"/>
                    <a:gd name="T44" fmla="*/ 4 w 500"/>
                    <a:gd name="T45" fmla="*/ 301 h 327"/>
                    <a:gd name="T46" fmla="*/ 0 w 500"/>
                    <a:gd name="T47" fmla="*/ 284 h 327"/>
                    <a:gd name="T48" fmla="*/ 4 w 500"/>
                    <a:gd name="T49" fmla="*/ 269 h 327"/>
                    <a:gd name="T50" fmla="*/ 14 w 500"/>
                    <a:gd name="T51" fmla="*/ 254 h 327"/>
                    <a:gd name="T52" fmla="*/ 27 w 500"/>
                    <a:gd name="T53" fmla="*/ 246 h 327"/>
                    <a:gd name="T54" fmla="*/ 43 w 500"/>
                    <a:gd name="T55" fmla="*/ 243 h 327"/>
                    <a:gd name="T56" fmla="*/ 60 w 500"/>
                    <a:gd name="T57" fmla="*/ 246 h 327"/>
                    <a:gd name="T58" fmla="*/ 75 w 500"/>
                    <a:gd name="T59" fmla="*/ 258 h 327"/>
                    <a:gd name="T60" fmla="*/ 83 w 500"/>
                    <a:gd name="T61" fmla="*/ 273 h 327"/>
                    <a:gd name="T62" fmla="*/ 122 w 500"/>
                    <a:gd name="T63" fmla="*/ 264 h 327"/>
                    <a:gd name="T64" fmla="*/ 160 w 500"/>
                    <a:gd name="T65" fmla="*/ 251 h 327"/>
                    <a:gd name="T66" fmla="*/ 195 w 500"/>
                    <a:gd name="T67" fmla="*/ 233 h 327"/>
                    <a:gd name="T68" fmla="*/ 230 w 500"/>
                    <a:gd name="T69" fmla="*/ 210 h 327"/>
                    <a:gd name="T70" fmla="*/ 421 w 500"/>
                    <a:gd name="T71" fmla="*/ 60 h 327"/>
                    <a:gd name="T72" fmla="*/ 417 w 500"/>
                    <a:gd name="T73" fmla="*/ 51 h 327"/>
                    <a:gd name="T74" fmla="*/ 417 w 500"/>
                    <a:gd name="T75" fmla="*/ 43 h 327"/>
                    <a:gd name="T76" fmla="*/ 421 w 500"/>
                    <a:gd name="T77" fmla="*/ 27 h 327"/>
                    <a:gd name="T78" fmla="*/ 429 w 500"/>
                    <a:gd name="T79" fmla="*/ 14 h 327"/>
                    <a:gd name="T80" fmla="*/ 442 w 500"/>
                    <a:gd name="T81" fmla="*/ 4 h 327"/>
                    <a:gd name="T82" fmla="*/ 459 w 500"/>
                    <a:gd name="T83" fmla="*/ 0 h 3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500" h="327">
                      <a:moveTo>
                        <a:pt x="459" y="0"/>
                      </a:moveTo>
                      <a:lnTo>
                        <a:pt x="475" y="4"/>
                      </a:lnTo>
                      <a:lnTo>
                        <a:pt x="488" y="14"/>
                      </a:lnTo>
                      <a:lnTo>
                        <a:pt x="497" y="27"/>
                      </a:lnTo>
                      <a:lnTo>
                        <a:pt x="500" y="43"/>
                      </a:lnTo>
                      <a:lnTo>
                        <a:pt x="497" y="60"/>
                      </a:lnTo>
                      <a:lnTo>
                        <a:pt x="488" y="73"/>
                      </a:lnTo>
                      <a:lnTo>
                        <a:pt x="475" y="81"/>
                      </a:lnTo>
                      <a:lnTo>
                        <a:pt x="459" y="84"/>
                      </a:lnTo>
                      <a:lnTo>
                        <a:pt x="449" y="83"/>
                      </a:lnTo>
                      <a:lnTo>
                        <a:pt x="441" y="81"/>
                      </a:lnTo>
                      <a:lnTo>
                        <a:pt x="434" y="76"/>
                      </a:lnTo>
                      <a:lnTo>
                        <a:pt x="241" y="226"/>
                      </a:lnTo>
                      <a:lnTo>
                        <a:pt x="206" y="251"/>
                      </a:lnTo>
                      <a:lnTo>
                        <a:pt x="167" y="269"/>
                      </a:lnTo>
                      <a:lnTo>
                        <a:pt x="126" y="284"/>
                      </a:lnTo>
                      <a:lnTo>
                        <a:pt x="84" y="292"/>
                      </a:lnTo>
                      <a:lnTo>
                        <a:pt x="76" y="311"/>
                      </a:lnTo>
                      <a:lnTo>
                        <a:pt x="61" y="322"/>
                      </a:lnTo>
                      <a:lnTo>
                        <a:pt x="43" y="327"/>
                      </a:lnTo>
                      <a:lnTo>
                        <a:pt x="27" y="324"/>
                      </a:lnTo>
                      <a:lnTo>
                        <a:pt x="14" y="314"/>
                      </a:lnTo>
                      <a:lnTo>
                        <a:pt x="4" y="301"/>
                      </a:lnTo>
                      <a:lnTo>
                        <a:pt x="0" y="284"/>
                      </a:lnTo>
                      <a:lnTo>
                        <a:pt x="4" y="269"/>
                      </a:lnTo>
                      <a:lnTo>
                        <a:pt x="14" y="254"/>
                      </a:lnTo>
                      <a:lnTo>
                        <a:pt x="27" y="246"/>
                      </a:lnTo>
                      <a:lnTo>
                        <a:pt x="43" y="243"/>
                      </a:lnTo>
                      <a:lnTo>
                        <a:pt x="60" y="246"/>
                      </a:lnTo>
                      <a:lnTo>
                        <a:pt x="75" y="258"/>
                      </a:lnTo>
                      <a:lnTo>
                        <a:pt x="83" y="273"/>
                      </a:lnTo>
                      <a:lnTo>
                        <a:pt x="122" y="264"/>
                      </a:lnTo>
                      <a:lnTo>
                        <a:pt x="160" y="251"/>
                      </a:lnTo>
                      <a:lnTo>
                        <a:pt x="195" y="233"/>
                      </a:lnTo>
                      <a:lnTo>
                        <a:pt x="230" y="210"/>
                      </a:lnTo>
                      <a:lnTo>
                        <a:pt x="421" y="60"/>
                      </a:lnTo>
                      <a:lnTo>
                        <a:pt x="417" y="51"/>
                      </a:lnTo>
                      <a:lnTo>
                        <a:pt x="417" y="43"/>
                      </a:lnTo>
                      <a:lnTo>
                        <a:pt x="421" y="27"/>
                      </a:lnTo>
                      <a:lnTo>
                        <a:pt x="429" y="14"/>
                      </a:lnTo>
                      <a:lnTo>
                        <a:pt x="442" y="4"/>
                      </a:lnTo>
                      <a:lnTo>
                        <a:pt x="459" y="0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/>
                </a:p>
              </p:txBody>
            </p:sp>
          </p:grpSp>
          <p:grpSp>
            <p:nvGrpSpPr>
              <p:cNvPr id="15" name="îṣḷiḋé">
                <a:extLst>
                  <a:ext uri="{FF2B5EF4-FFF2-40B4-BE49-F238E27FC236}">
                    <a16:creationId xmlns:a16="http://schemas.microsoft.com/office/drawing/2014/main" id="{24C1C044-E93C-444C-A79A-6A7021A2EE36}"/>
                  </a:ext>
                </a:extLst>
              </p:cNvPr>
              <p:cNvGrpSpPr/>
              <p:nvPr/>
            </p:nvGrpSpPr>
            <p:grpSpPr>
              <a:xfrm>
                <a:off x="4962526" y="2507456"/>
                <a:ext cx="2255838" cy="2249488"/>
                <a:chOff x="4961731" y="2507456"/>
                <a:chExt cx="2255838" cy="2249488"/>
              </a:xfrm>
            </p:grpSpPr>
            <p:sp>
              <p:nvSpPr>
                <p:cNvPr id="16" name="ïSḻíḍê">
                  <a:extLst>
                    <a:ext uri="{FF2B5EF4-FFF2-40B4-BE49-F238E27FC236}">
                      <a16:creationId xmlns:a16="http://schemas.microsoft.com/office/drawing/2014/main" id="{F45B77E6-8925-4F7A-9F70-100B2BEC06BE}"/>
                    </a:ext>
                  </a:extLst>
                </p:cNvPr>
                <p:cNvSpPr/>
                <p:nvPr/>
              </p:nvSpPr>
              <p:spPr bwMode="auto">
                <a:xfrm>
                  <a:off x="6111081" y="2507456"/>
                  <a:ext cx="942975" cy="649288"/>
                </a:xfrm>
                <a:custGeom>
                  <a:avLst/>
                  <a:gdLst>
                    <a:gd name="T0" fmla="*/ 0 w 594"/>
                    <a:gd name="T1" fmla="*/ 0 h 409"/>
                    <a:gd name="T2" fmla="*/ 83 w 594"/>
                    <a:gd name="T3" fmla="*/ 5 h 409"/>
                    <a:gd name="T4" fmla="*/ 162 w 594"/>
                    <a:gd name="T5" fmla="*/ 19 h 409"/>
                    <a:gd name="T6" fmla="*/ 238 w 594"/>
                    <a:gd name="T7" fmla="*/ 43 h 409"/>
                    <a:gd name="T8" fmla="*/ 308 w 594"/>
                    <a:gd name="T9" fmla="*/ 74 h 409"/>
                    <a:gd name="T10" fmla="*/ 376 w 594"/>
                    <a:gd name="T11" fmla="*/ 112 h 409"/>
                    <a:gd name="T12" fmla="*/ 439 w 594"/>
                    <a:gd name="T13" fmla="*/ 158 h 409"/>
                    <a:gd name="T14" fmla="*/ 496 w 594"/>
                    <a:gd name="T15" fmla="*/ 212 h 409"/>
                    <a:gd name="T16" fmla="*/ 547 w 594"/>
                    <a:gd name="T17" fmla="*/ 274 h 409"/>
                    <a:gd name="T18" fmla="*/ 594 w 594"/>
                    <a:gd name="T19" fmla="*/ 341 h 409"/>
                    <a:gd name="T20" fmla="*/ 478 w 594"/>
                    <a:gd name="T21" fmla="*/ 409 h 409"/>
                    <a:gd name="T22" fmla="*/ 437 w 594"/>
                    <a:gd name="T23" fmla="*/ 351 h 409"/>
                    <a:gd name="T24" fmla="*/ 391 w 594"/>
                    <a:gd name="T25" fmla="*/ 298 h 409"/>
                    <a:gd name="T26" fmla="*/ 336 w 594"/>
                    <a:gd name="T27" fmla="*/ 252 h 409"/>
                    <a:gd name="T28" fmla="*/ 279 w 594"/>
                    <a:gd name="T29" fmla="*/ 212 h 409"/>
                    <a:gd name="T30" fmla="*/ 214 w 594"/>
                    <a:gd name="T31" fmla="*/ 179 h 409"/>
                    <a:gd name="T32" fmla="*/ 147 w 594"/>
                    <a:gd name="T33" fmla="*/ 155 h 409"/>
                    <a:gd name="T34" fmla="*/ 76 w 594"/>
                    <a:gd name="T35" fmla="*/ 140 h 409"/>
                    <a:gd name="T36" fmla="*/ 0 w 594"/>
                    <a:gd name="T37" fmla="*/ 133 h 409"/>
                    <a:gd name="T38" fmla="*/ 0 w 594"/>
                    <a:gd name="T39" fmla="*/ 0 h 4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594" h="409">
                      <a:moveTo>
                        <a:pt x="0" y="0"/>
                      </a:moveTo>
                      <a:lnTo>
                        <a:pt x="83" y="5"/>
                      </a:lnTo>
                      <a:lnTo>
                        <a:pt x="162" y="19"/>
                      </a:lnTo>
                      <a:lnTo>
                        <a:pt x="238" y="43"/>
                      </a:lnTo>
                      <a:lnTo>
                        <a:pt x="308" y="74"/>
                      </a:lnTo>
                      <a:lnTo>
                        <a:pt x="376" y="112"/>
                      </a:lnTo>
                      <a:lnTo>
                        <a:pt x="439" y="158"/>
                      </a:lnTo>
                      <a:lnTo>
                        <a:pt x="496" y="212"/>
                      </a:lnTo>
                      <a:lnTo>
                        <a:pt x="547" y="274"/>
                      </a:lnTo>
                      <a:lnTo>
                        <a:pt x="594" y="341"/>
                      </a:lnTo>
                      <a:lnTo>
                        <a:pt x="478" y="409"/>
                      </a:lnTo>
                      <a:lnTo>
                        <a:pt x="437" y="351"/>
                      </a:lnTo>
                      <a:lnTo>
                        <a:pt x="391" y="298"/>
                      </a:lnTo>
                      <a:lnTo>
                        <a:pt x="336" y="252"/>
                      </a:lnTo>
                      <a:lnTo>
                        <a:pt x="279" y="212"/>
                      </a:lnTo>
                      <a:lnTo>
                        <a:pt x="214" y="179"/>
                      </a:lnTo>
                      <a:lnTo>
                        <a:pt x="147" y="155"/>
                      </a:lnTo>
                      <a:lnTo>
                        <a:pt x="76" y="140"/>
                      </a:lnTo>
                      <a:lnTo>
                        <a:pt x="0" y="13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17" name="iSḻídê">
                  <a:extLst>
                    <a:ext uri="{FF2B5EF4-FFF2-40B4-BE49-F238E27FC236}">
                      <a16:creationId xmlns:a16="http://schemas.microsoft.com/office/drawing/2014/main" id="{B2AE74D8-BE90-4953-B668-0486AF37A311}"/>
                    </a:ext>
                  </a:extLst>
                </p:cNvPr>
                <p:cNvSpPr/>
                <p:nvPr/>
              </p:nvSpPr>
              <p:spPr bwMode="auto">
                <a:xfrm>
                  <a:off x="6890544" y="3088481"/>
                  <a:ext cx="327025" cy="1087438"/>
                </a:xfrm>
                <a:custGeom>
                  <a:avLst/>
                  <a:gdLst>
                    <a:gd name="T0" fmla="*/ 117 w 206"/>
                    <a:gd name="T1" fmla="*/ 0 h 685"/>
                    <a:gd name="T2" fmla="*/ 152 w 206"/>
                    <a:gd name="T3" fmla="*/ 74 h 685"/>
                    <a:gd name="T4" fmla="*/ 180 w 206"/>
                    <a:gd name="T5" fmla="*/ 148 h 685"/>
                    <a:gd name="T6" fmla="*/ 198 w 206"/>
                    <a:gd name="T7" fmla="*/ 226 h 685"/>
                    <a:gd name="T8" fmla="*/ 206 w 206"/>
                    <a:gd name="T9" fmla="*/ 304 h 685"/>
                    <a:gd name="T10" fmla="*/ 206 w 206"/>
                    <a:gd name="T11" fmla="*/ 381 h 685"/>
                    <a:gd name="T12" fmla="*/ 198 w 206"/>
                    <a:gd name="T13" fmla="*/ 459 h 685"/>
                    <a:gd name="T14" fmla="*/ 180 w 206"/>
                    <a:gd name="T15" fmla="*/ 536 h 685"/>
                    <a:gd name="T16" fmla="*/ 152 w 206"/>
                    <a:gd name="T17" fmla="*/ 610 h 685"/>
                    <a:gd name="T18" fmla="*/ 117 w 206"/>
                    <a:gd name="T19" fmla="*/ 685 h 685"/>
                    <a:gd name="T20" fmla="*/ 0 w 206"/>
                    <a:gd name="T21" fmla="*/ 619 h 685"/>
                    <a:gd name="T22" fmla="*/ 30 w 206"/>
                    <a:gd name="T23" fmla="*/ 554 h 685"/>
                    <a:gd name="T24" fmla="*/ 53 w 206"/>
                    <a:gd name="T25" fmla="*/ 487 h 685"/>
                    <a:gd name="T26" fmla="*/ 66 w 206"/>
                    <a:gd name="T27" fmla="*/ 416 h 685"/>
                    <a:gd name="T28" fmla="*/ 71 w 206"/>
                    <a:gd name="T29" fmla="*/ 341 h 685"/>
                    <a:gd name="T30" fmla="*/ 66 w 206"/>
                    <a:gd name="T31" fmla="*/ 269 h 685"/>
                    <a:gd name="T32" fmla="*/ 53 w 206"/>
                    <a:gd name="T33" fmla="*/ 198 h 685"/>
                    <a:gd name="T34" fmla="*/ 30 w 206"/>
                    <a:gd name="T35" fmla="*/ 130 h 685"/>
                    <a:gd name="T36" fmla="*/ 0 w 206"/>
                    <a:gd name="T37" fmla="*/ 66 h 685"/>
                    <a:gd name="T38" fmla="*/ 117 w 206"/>
                    <a:gd name="T39" fmla="*/ 0 h 6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06" h="685">
                      <a:moveTo>
                        <a:pt x="117" y="0"/>
                      </a:moveTo>
                      <a:lnTo>
                        <a:pt x="152" y="74"/>
                      </a:lnTo>
                      <a:lnTo>
                        <a:pt x="180" y="148"/>
                      </a:lnTo>
                      <a:lnTo>
                        <a:pt x="198" y="226"/>
                      </a:lnTo>
                      <a:lnTo>
                        <a:pt x="206" y="304"/>
                      </a:lnTo>
                      <a:lnTo>
                        <a:pt x="206" y="381"/>
                      </a:lnTo>
                      <a:lnTo>
                        <a:pt x="198" y="459"/>
                      </a:lnTo>
                      <a:lnTo>
                        <a:pt x="180" y="536"/>
                      </a:lnTo>
                      <a:lnTo>
                        <a:pt x="152" y="610"/>
                      </a:lnTo>
                      <a:lnTo>
                        <a:pt x="117" y="685"/>
                      </a:lnTo>
                      <a:lnTo>
                        <a:pt x="0" y="619"/>
                      </a:lnTo>
                      <a:lnTo>
                        <a:pt x="30" y="554"/>
                      </a:lnTo>
                      <a:lnTo>
                        <a:pt x="53" y="487"/>
                      </a:lnTo>
                      <a:lnTo>
                        <a:pt x="66" y="416"/>
                      </a:lnTo>
                      <a:lnTo>
                        <a:pt x="71" y="341"/>
                      </a:lnTo>
                      <a:lnTo>
                        <a:pt x="66" y="269"/>
                      </a:lnTo>
                      <a:lnTo>
                        <a:pt x="53" y="198"/>
                      </a:lnTo>
                      <a:lnTo>
                        <a:pt x="30" y="130"/>
                      </a:lnTo>
                      <a:lnTo>
                        <a:pt x="0" y="66"/>
                      </a:lnTo>
                      <a:lnTo>
                        <a:pt x="117" y="0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18" name="íṩḻïde">
                  <a:extLst>
                    <a:ext uri="{FF2B5EF4-FFF2-40B4-BE49-F238E27FC236}">
                      <a16:creationId xmlns:a16="http://schemas.microsoft.com/office/drawing/2014/main" id="{A6505FD4-F090-4AB8-9B7B-1CD02A3E563F}"/>
                    </a:ext>
                  </a:extLst>
                </p:cNvPr>
                <p:cNvSpPr/>
                <p:nvPr/>
              </p:nvSpPr>
              <p:spPr bwMode="auto">
                <a:xfrm>
                  <a:off x="6111081" y="4107656"/>
                  <a:ext cx="942975" cy="649288"/>
                </a:xfrm>
                <a:custGeom>
                  <a:avLst/>
                  <a:gdLst>
                    <a:gd name="T0" fmla="*/ 478 w 594"/>
                    <a:gd name="T1" fmla="*/ 0 h 409"/>
                    <a:gd name="T2" fmla="*/ 594 w 594"/>
                    <a:gd name="T3" fmla="*/ 67 h 409"/>
                    <a:gd name="T4" fmla="*/ 547 w 594"/>
                    <a:gd name="T5" fmla="*/ 135 h 409"/>
                    <a:gd name="T6" fmla="*/ 496 w 594"/>
                    <a:gd name="T7" fmla="*/ 196 h 409"/>
                    <a:gd name="T8" fmla="*/ 439 w 594"/>
                    <a:gd name="T9" fmla="*/ 251 h 409"/>
                    <a:gd name="T10" fmla="*/ 376 w 594"/>
                    <a:gd name="T11" fmla="*/ 297 h 409"/>
                    <a:gd name="T12" fmla="*/ 308 w 594"/>
                    <a:gd name="T13" fmla="*/ 335 h 409"/>
                    <a:gd name="T14" fmla="*/ 238 w 594"/>
                    <a:gd name="T15" fmla="*/ 366 h 409"/>
                    <a:gd name="T16" fmla="*/ 162 w 594"/>
                    <a:gd name="T17" fmla="*/ 389 h 409"/>
                    <a:gd name="T18" fmla="*/ 83 w 594"/>
                    <a:gd name="T19" fmla="*/ 404 h 409"/>
                    <a:gd name="T20" fmla="*/ 0 w 594"/>
                    <a:gd name="T21" fmla="*/ 409 h 409"/>
                    <a:gd name="T22" fmla="*/ 0 w 594"/>
                    <a:gd name="T23" fmla="*/ 275 h 409"/>
                    <a:gd name="T24" fmla="*/ 76 w 594"/>
                    <a:gd name="T25" fmla="*/ 269 h 409"/>
                    <a:gd name="T26" fmla="*/ 147 w 594"/>
                    <a:gd name="T27" fmla="*/ 252 h 409"/>
                    <a:gd name="T28" fmla="*/ 214 w 594"/>
                    <a:gd name="T29" fmla="*/ 229 h 409"/>
                    <a:gd name="T30" fmla="*/ 279 w 594"/>
                    <a:gd name="T31" fmla="*/ 196 h 409"/>
                    <a:gd name="T32" fmla="*/ 336 w 594"/>
                    <a:gd name="T33" fmla="*/ 157 h 409"/>
                    <a:gd name="T34" fmla="*/ 391 w 594"/>
                    <a:gd name="T35" fmla="*/ 110 h 409"/>
                    <a:gd name="T36" fmla="*/ 437 w 594"/>
                    <a:gd name="T37" fmla="*/ 58 h 409"/>
                    <a:gd name="T38" fmla="*/ 478 w 594"/>
                    <a:gd name="T39" fmla="*/ 0 h 4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594" h="409">
                      <a:moveTo>
                        <a:pt x="478" y="0"/>
                      </a:moveTo>
                      <a:lnTo>
                        <a:pt x="594" y="67"/>
                      </a:lnTo>
                      <a:lnTo>
                        <a:pt x="547" y="135"/>
                      </a:lnTo>
                      <a:lnTo>
                        <a:pt x="496" y="196"/>
                      </a:lnTo>
                      <a:lnTo>
                        <a:pt x="439" y="251"/>
                      </a:lnTo>
                      <a:lnTo>
                        <a:pt x="376" y="297"/>
                      </a:lnTo>
                      <a:lnTo>
                        <a:pt x="308" y="335"/>
                      </a:lnTo>
                      <a:lnTo>
                        <a:pt x="238" y="366"/>
                      </a:lnTo>
                      <a:lnTo>
                        <a:pt x="162" y="389"/>
                      </a:lnTo>
                      <a:lnTo>
                        <a:pt x="83" y="404"/>
                      </a:lnTo>
                      <a:lnTo>
                        <a:pt x="0" y="409"/>
                      </a:lnTo>
                      <a:lnTo>
                        <a:pt x="0" y="275"/>
                      </a:lnTo>
                      <a:lnTo>
                        <a:pt x="76" y="269"/>
                      </a:lnTo>
                      <a:lnTo>
                        <a:pt x="147" y="252"/>
                      </a:lnTo>
                      <a:lnTo>
                        <a:pt x="214" y="229"/>
                      </a:lnTo>
                      <a:lnTo>
                        <a:pt x="279" y="196"/>
                      </a:lnTo>
                      <a:lnTo>
                        <a:pt x="336" y="157"/>
                      </a:lnTo>
                      <a:lnTo>
                        <a:pt x="391" y="110"/>
                      </a:lnTo>
                      <a:lnTo>
                        <a:pt x="437" y="58"/>
                      </a:lnTo>
                      <a:lnTo>
                        <a:pt x="478" y="0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19" name="iSļîďê">
                  <a:extLst>
                    <a:ext uri="{FF2B5EF4-FFF2-40B4-BE49-F238E27FC236}">
                      <a16:creationId xmlns:a16="http://schemas.microsoft.com/office/drawing/2014/main" id="{9FD68AC6-2D07-4D6F-9335-EC50B9984EB4}"/>
                    </a:ext>
                  </a:extLst>
                </p:cNvPr>
                <p:cNvSpPr/>
                <p:nvPr/>
              </p:nvSpPr>
              <p:spPr bwMode="auto">
                <a:xfrm>
                  <a:off x="5126831" y="4107656"/>
                  <a:ext cx="942975" cy="649288"/>
                </a:xfrm>
                <a:custGeom>
                  <a:avLst/>
                  <a:gdLst>
                    <a:gd name="T0" fmla="*/ 116 w 594"/>
                    <a:gd name="T1" fmla="*/ 0 h 409"/>
                    <a:gd name="T2" fmla="*/ 157 w 594"/>
                    <a:gd name="T3" fmla="*/ 58 h 409"/>
                    <a:gd name="T4" fmla="*/ 205 w 594"/>
                    <a:gd name="T5" fmla="*/ 110 h 409"/>
                    <a:gd name="T6" fmla="*/ 257 w 594"/>
                    <a:gd name="T7" fmla="*/ 157 h 409"/>
                    <a:gd name="T8" fmla="*/ 317 w 594"/>
                    <a:gd name="T9" fmla="*/ 196 h 409"/>
                    <a:gd name="T10" fmla="*/ 379 w 594"/>
                    <a:gd name="T11" fmla="*/ 229 h 409"/>
                    <a:gd name="T12" fmla="*/ 447 w 594"/>
                    <a:gd name="T13" fmla="*/ 254 h 409"/>
                    <a:gd name="T14" fmla="*/ 520 w 594"/>
                    <a:gd name="T15" fmla="*/ 269 h 409"/>
                    <a:gd name="T16" fmla="*/ 594 w 594"/>
                    <a:gd name="T17" fmla="*/ 275 h 409"/>
                    <a:gd name="T18" fmla="*/ 594 w 594"/>
                    <a:gd name="T19" fmla="*/ 409 h 409"/>
                    <a:gd name="T20" fmla="*/ 511 w 594"/>
                    <a:gd name="T21" fmla="*/ 404 h 409"/>
                    <a:gd name="T22" fmla="*/ 432 w 594"/>
                    <a:gd name="T23" fmla="*/ 389 h 409"/>
                    <a:gd name="T24" fmla="*/ 358 w 594"/>
                    <a:gd name="T25" fmla="*/ 366 h 409"/>
                    <a:gd name="T26" fmla="*/ 285 w 594"/>
                    <a:gd name="T27" fmla="*/ 335 h 409"/>
                    <a:gd name="T28" fmla="*/ 218 w 594"/>
                    <a:gd name="T29" fmla="*/ 297 h 409"/>
                    <a:gd name="T30" fmla="*/ 155 w 594"/>
                    <a:gd name="T31" fmla="*/ 251 h 409"/>
                    <a:gd name="T32" fmla="*/ 98 w 594"/>
                    <a:gd name="T33" fmla="*/ 196 h 409"/>
                    <a:gd name="T34" fmla="*/ 46 w 594"/>
                    <a:gd name="T35" fmla="*/ 135 h 409"/>
                    <a:gd name="T36" fmla="*/ 0 w 594"/>
                    <a:gd name="T37" fmla="*/ 67 h 409"/>
                    <a:gd name="T38" fmla="*/ 116 w 594"/>
                    <a:gd name="T39" fmla="*/ 0 h 4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594" h="409">
                      <a:moveTo>
                        <a:pt x="116" y="0"/>
                      </a:moveTo>
                      <a:lnTo>
                        <a:pt x="157" y="58"/>
                      </a:lnTo>
                      <a:lnTo>
                        <a:pt x="205" y="110"/>
                      </a:lnTo>
                      <a:lnTo>
                        <a:pt x="257" y="157"/>
                      </a:lnTo>
                      <a:lnTo>
                        <a:pt x="317" y="196"/>
                      </a:lnTo>
                      <a:lnTo>
                        <a:pt x="379" y="229"/>
                      </a:lnTo>
                      <a:lnTo>
                        <a:pt x="447" y="254"/>
                      </a:lnTo>
                      <a:lnTo>
                        <a:pt x="520" y="269"/>
                      </a:lnTo>
                      <a:lnTo>
                        <a:pt x="594" y="275"/>
                      </a:lnTo>
                      <a:lnTo>
                        <a:pt x="594" y="409"/>
                      </a:lnTo>
                      <a:lnTo>
                        <a:pt x="511" y="404"/>
                      </a:lnTo>
                      <a:lnTo>
                        <a:pt x="432" y="389"/>
                      </a:lnTo>
                      <a:lnTo>
                        <a:pt x="358" y="366"/>
                      </a:lnTo>
                      <a:lnTo>
                        <a:pt x="285" y="335"/>
                      </a:lnTo>
                      <a:lnTo>
                        <a:pt x="218" y="297"/>
                      </a:lnTo>
                      <a:lnTo>
                        <a:pt x="155" y="251"/>
                      </a:lnTo>
                      <a:lnTo>
                        <a:pt x="98" y="196"/>
                      </a:lnTo>
                      <a:lnTo>
                        <a:pt x="46" y="135"/>
                      </a:lnTo>
                      <a:lnTo>
                        <a:pt x="0" y="67"/>
                      </a:lnTo>
                      <a:lnTo>
                        <a:pt x="116" y="0"/>
                      </a:ln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20" name="iṧľîḋê">
                  <a:extLst>
                    <a:ext uri="{FF2B5EF4-FFF2-40B4-BE49-F238E27FC236}">
                      <a16:creationId xmlns:a16="http://schemas.microsoft.com/office/drawing/2014/main" id="{AE1FC1DB-2288-4CC5-ADC6-C639F49D0770}"/>
                    </a:ext>
                  </a:extLst>
                </p:cNvPr>
                <p:cNvSpPr/>
                <p:nvPr/>
              </p:nvSpPr>
              <p:spPr bwMode="auto">
                <a:xfrm>
                  <a:off x="4961731" y="3088481"/>
                  <a:ext cx="328613" cy="1087438"/>
                </a:xfrm>
                <a:custGeom>
                  <a:avLst/>
                  <a:gdLst>
                    <a:gd name="T0" fmla="*/ 91 w 207"/>
                    <a:gd name="T1" fmla="*/ 0 h 685"/>
                    <a:gd name="T2" fmla="*/ 207 w 207"/>
                    <a:gd name="T3" fmla="*/ 66 h 685"/>
                    <a:gd name="T4" fmla="*/ 177 w 207"/>
                    <a:gd name="T5" fmla="*/ 130 h 685"/>
                    <a:gd name="T6" fmla="*/ 155 w 207"/>
                    <a:gd name="T7" fmla="*/ 198 h 685"/>
                    <a:gd name="T8" fmla="*/ 141 w 207"/>
                    <a:gd name="T9" fmla="*/ 269 h 685"/>
                    <a:gd name="T10" fmla="*/ 137 w 207"/>
                    <a:gd name="T11" fmla="*/ 341 h 685"/>
                    <a:gd name="T12" fmla="*/ 141 w 207"/>
                    <a:gd name="T13" fmla="*/ 416 h 685"/>
                    <a:gd name="T14" fmla="*/ 155 w 207"/>
                    <a:gd name="T15" fmla="*/ 487 h 685"/>
                    <a:gd name="T16" fmla="*/ 177 w 207"/>
                    <a:gd name="T17" fmla="*/ 554 h 685"/>
                    <a:gd name="T18" fmla="*/ 207 w 207"/>
                    <a:gd name="T19" fmla="*/ 619 h 685"/>
                    <a:gd name="T20" fmla="*/ 91 w 207"/>
                    <a:gd name="T21" fmla="*/ 685 h 685"/>
                    <a:gd name="T22" fmla="*/ 55 w 207"/>
                    <a:gd name="T23" fmla="*/ 610 h 685"/>
                    <a:gd name="T24" fmla="*/ 28 w 207"/>
                    <a:gd name="T25" fmla="*/ 536 h 685"/>
                    <a:gd name="T26" fmla="*/ 10 w 207"/>
                    <a:gd name="T27" fmla="*/ 459 h 685"/>
                    <a:gd name="T28" fmla="*/ 0 w 207"/>
                    <a:gd name="T29" fmla="*/ 381 h 685"/>
                    <a:gd name="T30" fmla="*/ 0 w 207"/>
                    <a:gd name="T31" fmla="*/ 304 h 685"/>
                    <a:gd name="T32" fmla="*/ 10 w 207"/>
                    <a:gd name="T33" fmla="*/ 226 h 685"/>
                    <a:gd name="T34" fmla="*/ 28 w 207"/>
                    <a:gd name="T35" fmla="*/ 148 h 685"/>
                    <a:gd name="T36" fmla="*/ 55 w 207"/>
                    <a:gd name="T37" fmla="*/ 74 h 685"/>
                    <a:gd name="T38" fmla="*/ 91 w 207"/>
                    <a:gd name="T39" fmla="*/ 0 h 6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07" h="685">
                      <a:moveTo>
                        <a:pt x="91" y="0"/>
                      </a:moveTo>
                      <a:lnTo>
                        <a:pt x="207" y="66"/>
                      </a:lnTo>
                      <a:lnTo>
                        <a:pt x="177" y="130"/>
                      </a:lnTo>
                      <a:lnTo>
                        <a:pt x="155" y="198"/>
                      </a:lnTo>
                      <a:lnTo>
                        <a:pt x="141" y="269"/>
                      </a:lnTo>
                      <a:lnTo>
                        <a:pt x="137" y="341"/>
                      </a:lnTo>
                      <a:lnTo>
                        <a:pt x="141" y="416"/>
                      </a:lnTo>
                      <a:lnTo>
                        <a:pt x="155" y="487"/>
                      </a:lnTo>
                      <a:lnTo>
                        <a:pt x="177" y="554"/>
                      </a:lnTo>
                      <a:lnTo>
                        <a:pt x="207" y="619"/>
                      </a:lnTo>
                      <a:lnTo>
                        <a:pt x="91" y="685"/>
                      </a:lnTo>
                      <a:lnTo>
                        <a:pt x="55" y="610"/>
                      </a:lnTo>
                      <a:lnTo>
                        <a:pt x="28" y="536"/>
                      </a:lnTo>
                      <a:lnTo>
                        <a:pt x="10" y="459"/>
                      </a:lnTo>
                      <a:lnTo>
                        <a:pt x="0" y="381"/>
                      </a:lnTo>
                      <a:lnTo>
                        <a:pt x="0" y="304"/>
                      </a:lnTo>
                      <a:lnTo>
                        <a:pt x="10" y="226"/>
                      </a:lnTo>
                      <a:lnTo>
                        <a:pt x="28" y="148"/>
                      </a:lnTo>
                      <a:lnTo>
                        <a:pt x="55" y="74"/>
                      </a:lnTo>
                      <a:lnTo>
                        <a:pt x="91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21" name="iṩḷîḋè">
                  <a:extLst>
                    <a:ext uri="{FF2B5EF4-FFF2-40B4-BE49-F238E27FC236}">
                      <a16:creationId xmlns:a16="http://schemas.microsoft.com/office/drawing/2014/main" id="{E3174FAA-2585-4171-8841-7215F786D7E7}"/>
                    </a:ext>
                  </a:extLst>
                </p:cNvPr>
                <p:cNvSpPr/>
                <p:nvPr/>
              </p:nvSpPr>
              <p:spPr bwMode="auto">
                <a:xfrm>
                  <a:off x="5126831" y="2507456"/>
                  <a:ext cx="942975" cy="649288"/>
                </a:xfrm>
                <a:custGeom>
                  <a:avLst/>
                  <a:gdLst>
                    <a:gd name="T0" fmla="*/ 594 w 594"/>
                    <a:gd name="T1" fmla="*/ 0 h 409"/>
                    <a:gd name="T2" fmla="*/ 594 w 594"/>
                    <a:gd name="T3" fmla="*/ 133 h 409"/>
                    <a:gd name="T4" fmla="*/ 520 w 594"/>
                    <a:gd name="T5" fmla="*/ 140 h 409"/>
                    <a:gd name="T6" fmla="*/ 447 w 594"/>
                    <a:gd name="T7" fmla="*/ 155 h 409"/>
                    <a:gd name="T8" fmla="*/ 379 w 594"/>
                    <a:gd name="T9" fmla="*/ 179 h 409"/>
                    <a:gd name="T10" fmla="*/ 317 w 594"/>
                    <a:gd name="T11" fmla="*/ 212 h 409"/>
                    <a:gd name="T12" fmla="*/ 257 w 594"/>
                    <a:gd name="T13" fmla="*/ 252 h 409"/>
                    <a:gd name="T14" fmla="*/ 205 w 594"/>
                    <a:gd name="T15" fmla="*/ 298 h 409"/>
                    <a:gd name="T16" fmla="*/ 157 w 594"/>
                    <a:gd name="T17" fmla="*/ 351 h 409"/>
                    <a:gd name="T18" fmla="*/ 116 w 594"/>
                    <a:gd name="T19" fmla="*/ 409 h 409"/>
                    <a:gd name="T20" fmla="*/ 0 w 594"/>
                    <a:gd name="T21" fmla="*/ 341 h 409"/>
                    <a:gd name="T22" fmla="*/ 46 w 594"/>
                    <a:gd name="T23" fmla="*/ 274 h 409"/>
                    <a:gd name="T24" fmla="*/ 98 w 594"/>
                    <a:gd name="T25" fmla="*/ 212 h 409"/>
                    <a:gd name="T26" fmla="*/ 155 w 594"/>
                    <a:gd name="T27" fmla="*/ 158 h 409"/>
                    <a:gd name="T28" fmla="*/ 218 w 594"/>
                    <a:gd name="T29" fmla="*/ 112 h 409"/>
                    <a:gd name="T30" fmla="*/ 285 w 594"/>
                    <a:gd name="T31" fmla="*/ 74 h 409"/>
                    <a:gd name="T32" fmla="*/ 358 w 594"/>
                    <a:gd name="T33" fmla="*/ 43 h 409"/>
                    <a:gd name="T34" fmla="*/ 432 w 594"/>
                    <a:gd name="T35" fmla="*/ 19 h 409"/>
                    <a:gd name="T36" fmla="*/ 511 w 594"/>
                    <a:gd name="T37" fmla="*/ 5 h 409"/>
                    <a:gd name="T38" fmla="*/ 594 w 594"/>
                    <a:gd name="T39" fmla="*/ 0 h 4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594" h="409">
                      <a:moveTo>
                        <a:pt x="594" y="0"/>
                      </a:moveTo>
                      <a:lnTo>
                        <a:pt x="594" y="133"/>
                      </a:lnTo>
                      <a:lnTo>
                        <a:pt x="520" y="140"/>
                      </a:lnTo>
                      <a:lnTo>
                        <a:pt x="447" y="155"/>
                      </a:lnTo>
                      <a:lnTo>
                        <a:pt x="379" y="179"/>
                      </a:lnTo>
                      <a:lnTo>
                        <a:pt x="317" y="212"/>
                      </a:lnTo>
                      <a:lnTo>
                        <a:pt x="257" y="252"/>
                      </a:lnTo>
                      <a:lnTo>
                        <a:pt x="205" y="298"/>
                      </a:lnTo>
                      <a:lnTo>
                        <a:pt x="157" y="351"/>
                      </a:lnTo>
                      <a:lnTo>
                        <a:pt x="116" y="409"/>
                      </a:lnTo>
                      <a:lnTo>
                        <a:pt x="0" y="341"/>
                      </a:lnTo>
                      <a:lnTo>
                        <a:pt x="46" y="274"/>
                      </a:lnTo>
                      <a:lnTo>
                        <a:pt x="98" y="212"/>
                      </a:lnTo>
                      <a:lnTo>
                        <a:pt x="155" y="158"/>
                      </a:lnTo>
                      <a:lnTo>
                        <a:pt x="218" y="112"/>
                      </a:lnTo>
                      <a:lnTo>
                        <a:pt x="285" y="74"/>
                      </a:lnTo>
                      <a:lnTo>
                        <a:pt x="358" y="43"/>
                      </a:lnTo>
                      <a:lnTo>
                        <a:pt x="432" y="19"/>
                      </a:lnTo>
                      <a:lnTo>
                        <a:pt x="511" y="5"/>
                      </a:lnTo>
                      <a:lnTo>
                        <a:pt x="594" y="0"/>
                      </a:lnTo>
                      <a:close/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/>
                </a:p>
              </p:txBody>
            </p:sp>
            <p:sp>
              <p:nvSpPr>
                <p:cNvPr id="22" name="íṧ1îḍé">
                  <a:extLst>
                    <a:ext uri="{FF2B5EF4-FFF2-40B4-BE49-F238E27FC236}">
                      <a16:creationId xmlns:a16="http://schemas.microsoft.com/office/drawing/2014/main" id="{62240993-7B16-4552-A317-69E3BECE77C5}"/>
                    </a:ext>
                  </a:extLst>
                </p:cNvPr>
                <p:cNvSpPr/>
                <p:nvPr/>
              </p:nvSpPr>
              <p:spPr bwMode="auto">
                <a:xfrm>
                  <a:off x="5281613" y="2822575"/>
                  <a:ext cx="1616075" cy="1619250"/>
                </a:xfrm>
                <a:custGeom>
                  <a:avLst/>
                  <a:gdLst>
                    <a:gd name="T0" fmla="*/ 509 w 1018"/>
                    <a:gd name="T1" fmla="*/ 0 h 1020"/>
                    <a:gd name="T2" fmla="*/ 578 w 1018"/>
                    <a:gd name="T3" fmla="*/ 5 h 1020"/>
                    <a:gd name="T4" fmla="*/ 644 w 1018"/>
                    <a:gd name="T5" fmla="*/ 18 h 1020"/>
                    <a:gd name="T6" fmla="*/ 707 w 1018"/>
                    <a:gd name="T7" fmla="*/ 40 h 1020"/>
                    <a:gd name="T8" fmla="*/ 766 w 1018"/>
                    <a:gd name="T9" fmla="*/ 69 h 1020"/>
                    <a:gd name="T10" fmla="*/ 821 w 1018"/>
                    <a:gd name="T11" fmla="*/ 107 h 1020"/>
                    <a:gd name="T12" fmla="*/ 870 w 1018"/>
                    <a:gd name="T13" fmla="*/ 150 h 1020"/>
                    <a:gd name="T14" fmla="*/ 913 w 1018"/>
                    <a:gd name="T15" fmla="*/ 198 h 1020"/>
                    <a:gd name="T16" fmla="*/ 949 w 1018"/>
                    <a:gd name="T17" fmla="*/ 252 h 1020"/>
                    <a:gd name="T18" fmla="*/ 979 w 1018"/>
                    <a:gd name="T19" fmla="*/ 312 h 1020"/>
                    <a:gd name="T20" fmla="*/ 1000 w 1018"/>
                    <a:gd name="T21" fmla="*/ 374 h 1020"/>
                    <a:gd name="T22" fmla="*/ 1013 w 1018"/>
                    <a:gd name="T23" fmla="*/ 440 h 1020"/>
                    <a:gd name="T24" fmla="*/ 1018 w 1018"/>
                    <a:gd name="T25" fmla="*/ 510 h 1020"/>
                    <a:gd name="T26" fmla="*/ 1013 w 1018"/>
                    <a:gd name="T27" fmla="*/ 579 h 1020"/>
                    <a:gd name="T28" fmla="*/ 1000 w 1018"/>
                    <a:gd name="T29" fmla="*/ 645 h 1020"/>
                    <a:gd name="T30" fmla="*/ 979 w 1018"/>
                    <a:gd name="T31" fmla="*/ 709 h 1020"/>
                    <a:gd name="T32" fmla="*/ 949 w 1018"/>
                    <a:gd name="T33" fmla="*/ 767 h 1020"/>
                    <a:gd name="T34" fmla="*/ 913 w 1018"/>
                    <a:gd name="T35" fmla="*/ 822 h 1020"/>
                    <a:gd name="T36" fmla="*/ 870 w 1018"/>
                    <a:gd name="T37" fmla="*/ 871 h 1020"/>
                    <a:gd name="T38" fmla="*/ 821 w 1018"/>
                    <a:gd name="T39" fmla="*/ 914 h 1020"/>
                    <a:gd name="T40" fmla="*/ 766 w 1018"/>
                    <a:gd name="T41" fmla="*/ 950 h 1020"/>
                    <a:gd name="T42" fmla="*/ 707 w 1018"/>
                    <a:gd name="T43" fmla="*/ 980 h 1020"/>
                    <a:gd name="T44" fmla="*/ 644 w 1018"/>
                    <a:gd name="T45" fmla="*/ 1001 h 1020"/>
                    <a:gd name="T46" fmla="*/ 578 w 1018"/>
                    <a:gd name="T47" fmla="*/ 1016 h 1020"/>
                    <a:gd name="T48" fmla="*/ 509 w 1018"/>
                    <a:gd name="T49" fmla="*/ 1020 h 1020"/>
                    <a:gd name="T50" fmla="*/ 440 w 1018"/>
                    <a:gd name="T51" fmla="*/ 1016 h 1020"/>
                    <a:gd name="T52" fmla="*/ 374 w 1018"/>
                    <a:gd name="T53" fmla="*/ 1001 h 1020"/>
                    <a:gd name="T54" fmla="*/ 311 w 1018"/>
                    <a:gd name="T55" fmla="*/ 980 h 1020"/>
                    <a:gd name="T56" fmla="*/ 252 w 1018"/>
                    <a:gd name="T57" fmla="*/ 950 h 1020"/>
                    <a:gd name="T58" fmla="*/ 197 w 1018"/>
                    <a:gd name="T59" fmla="*/ 914 h 1020"/>
                    <a:gd name="T60" fmla="*/ 150 w 1018"/>
                    <a:gd name="T61" fmla="*/ 871 h 1020"/>
                    <a:gd name="T62" fmla="*/ 105 w 1018"/>
                    <a:gd name="T63" fmla="*/ 822 h 1020"/>
                    <a:gd name="T64" fmla="*/ 69 w 1018"/>
                    <a:gd name="T65" fmla="*/ 767 h 1020"/>
                    <a:gd name="T66" fmla="*/ 39 w 1018"/>
                    <a:gd name="T67" fmla="*/ 709 h 1020"/>
                    <a:gd name="T68" fmla="*/ 18 w 1018"/>
                    <a:gd name="T69" fmla="*/ 645 h 1020"/>
                    <a:gd name="T70" fmla="*/ 5 w 1018"/>
                    <a:gd name="T71" fmla="*/ 579 h 1020"/>
                    <a:gd name="T72" fmla="*/ 0 w 1018"/>
                    <a:gd name="T73" fmla="*/ 510 h 1020"/>
                    <a:gd name="T74" fmla="*/ 5 w 1018"/>
                    <a:gd name="T75" fmla="*/ 440 h 1020"/>
                    <a:gd name="T76" fmla="*/ 18 w 1018"/>
                    <a:gd name="T77" fmla="*/ 374 h 1020"/>
                    <a:gd name="T78" fmla="*/ 39 w 1018"/>
                    <a:gd name="T79" fmla="*/ 312 h 1020"/>
                    <a:gd name="T80" fmla="*/ 69 w 1018"/>
                    <a:gd name="T81" fmla="*/ 252 h 1020"/>
                    <a:gd name="T82" fmla="*/ 105 w 1018"/>
                    <a:gd name="T83" fmla="*/ 198 h 1020"/>
                    <a:gd name="T84" fmla="*/ 150 w 1018"/>
                    <a:gd name="T85" fmla="*/ 150 h 1020"/>
                    <a:gd name="T86" fmla="*/ 197 w 1018"/>
                    <a:gd name="T87" fmla="*/ 107 h 1020"/>
                    <a:gd name="T88" fmla="*/ 252 w 1018"/>
                    <a:gd name="T89" fmla="*/ 69 h 1020"/>
                    <a:gd name="T90" fmla="*/ 311 w 1018"/>
                    <a:gd name="T91" fmla="*/ 40 h 1020"/>
                    <a:gd name="T92" fmla="*/ 374 w 1018"/>
                    <a:gd name="T93" fmla="*/ 18 h 1020"/>
                    <a:gd name="T94" fmla="*/ 440 w 1018"/>
                    <a:gd name="T95" fmla="*/ 5 h 1020"/>
                    <a:gd name="T96" fmla="*/ 509 w 1018"/>
                    <a:gd name="T97" fmla="*/ 0 h 10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018" h="1020">
                      <a:moveTo>
                        <a:pt x="509" y="0"/>
                      </a:moveTo>
                      <a:lnTo>
                        <a:pt x="578" y="5"/>
                      </a:lnTo>
                      <a:lnTo>
                        <a:pt x="644" y="18"/>
                      </a:lnTo>
                      <a:lnTo>
                        <a:pt x="707" y="40"/>
                      </a:lnTo>
                      <a:lnTo>
                        <a:pt x="766" y="69"/>
                      </a:lnTo>
                      <a:lnTo>
                        <a:pt x="821" y="107"/>
                      </a:lnTo>
                      <a:lnTo>
                        <a:pt x="870" y="150"/>
                      </a:lnTo>
                      <a:lnTo>
                        <a:pt x="913" y="198"/>
                      </a:lnTo>
                      <a:lnTo>
                        <a:pt x="949" y="252"/>
                      </a:lnTo>
                      <a:lnTo>
                        <a:pt x="979" y="312"/>
                      </a:lnTo>
                      <a:lnTo>
                        <a:pt x="1000" y="374"/>
                      </a:lnTo>
                      <a:lnTo>
                        <a:pt x="1013" y="440"/>
                      </a:lnTo>
                      <a:lnTo>
                        <a:pt x="1018" y="510"/>
                      </a:lnTo>
                      <a:lnTo>
                        <a:pt x="1013" y="579"/>
                      </a:lnTo>
                      <a:lnTo>
                        <a:pt x="1000" y="645"/>
                      </a:lnTo>
                      <a:lnTo>
                        <a:pt x="979" y="709"/>
                      </a:lnTo>
                      <a:lnTo>
                        <a:pt x="949" y="767"/>
                      </a:lnTo>
                      <a:lnTo>
                        <a:pt x="913" y="822"/>
                      </a:lnTo>
                      <a:lnTo>
                        <a:pt x="870" y="871"/>
                      </a:lnTo>
                      <a:lnTo>
                        <a:pt x="821" y="914"/>
                      </a:lnTo>
                      <a:lnTo>
                        <a:pt x="766" y="950"/>
                      </a:lnTo>
                      <a:lnTo>
                        <a:pt x="707" y="980"/>
                      </a:lnTo>
                      <a:lnTo>
                        <a:pt x="644" y="1001"/>
                      </a:lnTo>
                      <a:lnTo>
                        <a:pt x="578" y="1016"/>
                      </a:lnTo>
                      <a:lnTo>
                        <a:pt x="509" y="1020"/>
                      </a:lnTo>
                      <a:lnTo>
                        <a:pt x="440" y="1016"/>
                      </a:lnTo>
                      <a:lnTo>
                        <a:pt x="374" y="1001"/>
                      </a:lnTo>
                      <a:lnTo>
                        <a:pt x="311" y="980"/>
                      </a:lnTo>
                      <a:lnTo>
                        <a:pt x="252" y="950"/>
                      </a:lnTo>
                      <a:lnTo>
                        <a:pt x="197" y="914"/>
                      </a:lnTo>
                      <a:lnTo>
                        <a:pt x="150" y="871"/>
                      </a:lnTo>
                      <a:lnTo>
                        <a:pt x="105" y="822"/>
                      </a:lnTo>
                      <a:lnTo>
                        <a:pt x="69" y="767"/>
                      </a:lnTo>
                      <a:lnTo>
                        <a:pt x="39" y="709"/>
                      </a:lnTo>
                      <a:lnTo>
                        <a:pt x="18" y="645"/>
                      </a:lnTo>
                      <a:lnTo>
                        <a:pt x="5" y="579"/>
                      </a:lnTo>
                      <a:lnTo>
                        <a:pt x="0" y="510"/>
                      </a:lnTo>
                      <a:lnTo>
                        <a:pt x="5" y="440"/>
                      </a:lnTo>
                      <a:lnTo>
                        <a:pt x="18" y="374"/>
                      </a:lnTo>
                      <a:lnTo>
                        <a:pt x="39" y="312"/>
                      </a:lnTo>
                      <a:lnTo>
                        <a:pt x="69" y="252"/>
                      </a:lnTo>
                      <a:lnTo>
                        <a:pt x="105" y="198"/>
                      </a:lnTo>
                      <a:lnTo>
                        <a:pt x="150" y="150"/>
                      </a:lnTo>
                      <a:lnTo>
                        <a:pt x="197" y="107"/>
                      </a:lnTo>
                      <a:lnTo>
                        <a:pt x="252" y="69"/>
                      </a:lnTo>
                      <a:lnTo>
                        <a:pt x="311" y="40"/>
                      </a:lnTo>
                      <a:lnTo>
                        <a:pt x="374" y="18"/>
                      </a:lnTo>
                      <a:lnTo>
                        <a:pt x="440" y="5"/>
                      </a:lnTo>
                      <a:lnTo>
                        <a:pt x="509" y="0"/>
                      </a:ln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n-US" altLang="zh-CN" sz="2400" i="1" dirty="0"/>
                    <a:t>Text</a:t>
                  </a:r>
                  <a:endParaRPr lang="id-ID" altLang="zh-CN" sz="2400" i="1" dirty="0"/>
                </a:p>
              </p:txBody>
            </p:sp>
          </p:grpSp>
        </p:grpSp>
        <p:sp>
          <p:nvSpPr>
            <p:cNvPr id="7" name="îşḷíḍê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1037326" y="1777206"/>
              <a:ext cx="2822359" cy="1069385"/>
            </a:xfrm>
            <a:prstGeom prst="roundRect">
              <a:avLst>
                <a:gd name="adj" fmla="val 8201"/>
              </a:avLst>
            </a:prstGeom>
            <a:noFill/>
            <a:ln w="12700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4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40000"/>
                </a:lnSpc>
              </a:pPr>
              <a:endParaRPr lang="en-US" altLang="zh-CN" sz="1100" dirty="0"/>
            </a:p>
            <a:p>
              <a:pPr algn="ctr">
                <a:lnSpc>
                  <a:spcPct val="14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8" name="íSlïdê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1037326" y="3097508"/>
              <a:ext cx="2822359" cy="1069385"/>
            </a:xfrm>
            <a:prstGeom prst="roundRect">
              <a:avLst>
                <a:gd name="adj" fmla="val 8201"/>
              </a:avLst>
            </a:prstGeom>
            <a:noFill/>
            <a:ln w="12700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4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40000"/>
                </a:lnSpc>
              </a:pPr>
              <a:endParaRPr lang="en-US" altLang="zh-CN" sz="1100" dirty="0"/>
            </a:p>
            <a:p>
              <a:pPr algn="ctr">
                <a:lnSpc>
                  <a:spcPct val="14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9" name="is1idé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1037326" y="4417809"/>
              <a:ext cx="2822359" cy="1069385"/>
            </a:xfrm>
            <a:prstGeom prst="roundRect">
              <a:avLst>
                <a:gd name="adj" fmla="val 8201"/>
              </a:avLst>
            </a:prstGeom>
            <a:noFill/>
            <a:ln w="12700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4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40000"/>
                </a:lnSpc>
              </a:pPr>
              <a:endParaRPr lang="en-US" altLang="zh-CN" sz="1100" dirty="0"/>
            </a:p>
            <a:p>
              <a:pPr algn="ctr">
                <a:lnSpc>
                  <a:spcPct val="14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0" name="îṩḻïḋé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8319615" y="1777206"/>
              <a:ext cx="2822359" cy="1069385"/>
            </a:xfrm>
            <a:prstGeom prst="roundRect">
              <a:avLst>
                <a:gd name="adj" fmla="val 8201"/>
              </a:avLst>
            </a:prstGeom>
            <a:noFill/>
            <a:ln w="12700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4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40000"/>
                </a:lnSpc>
              </a:pPr>
              <a:endParaRPr lang="en-US" altLang="zh-CN" sz="1100" dirty="0"/>
            </a:p>
            <a:p>
              <a:pPr algn="ctr">
                <a:lnSpc>
                  <a:spcPct val="14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1" name="iŝlîḍè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8319615" y="3097508"/>
              <a:ext cx="2822359" cy="1069385"/>
            </a:xfrm>
            <a:prstGeom prst="roundRect">
              <a:avLst>
                <a:gd name="adj" fmla="val 8201"/>
              </a:avLst>
            </a:prstGeom>
            <a:noFill/>
            <a:ln w="12700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4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40000"/>
                </a:lnSpc>
              </a:pPr>
              <a:endParaRPr lang="en-US" altLang="zh-CN" sz="1100" dirty="0"/>
            </a:p>
            <a:p>
              <a:pPr algn="ctr">
                <a:lnSpc>
                  <a:spcPct val="14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2" name="iṥļïde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8319615" y="4417809"/>
              <a:ext cx="2822359" cy="1069385"/>
            </a:xfrm>
            <a:prstGeom prst="roundRect">
              <a:avLst>
                <a:gd name="adj" fmla="val 8201"/>
              </a:avLst>
            </a:prstGeom>
            <a:noFill/>
            <a:ln w="12700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4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40000"/>
                </a:lnSpc>
              </a:pPr>
              <a:endParaRPr lang="en-US" altLang="zh-CN" sz="1100" dirty="0"/>
            </a:p>
            <a:p>
              <a:pPr algn="ctr">
                <a:lnSpc>
                  <a:spcPct val="140000"/>
                </a:lnSpc>
              </a:pPr>
              <a:r>
                <a:rPr lang="en-US" altLang="zh-CN" sz="1100" dirty="0"/>
                <a:t>…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503052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624ED6E-9323-4E5B-B612-DA7128BF1A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D6B2FD2C-AAB0-4CB5-A78A-51DD7FB292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30443C0-D240-4A92-AE25-40F0CA390D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E975019C-67C5-4FA3-953F-42B5C99AB02E}"/>
              </a:ext>
            </a:extLst>
          </p:cNvPr>
          <p:cNvGrpSpPr/>
          <p:nvPr/>
        </p:nvGrpSpPr>
        <p:grpSpPr>
          <a:xfrm>
            <a:off x="3573598" y="1719447"/>
            <a:ext cx="5044805" cy="3692721"/>
            <a:chOff x="3573598" y="1719447"/>
            <a:chExt cx="5044805" cy="3692721"/>
          </a:xfrm>
        </p:grpSpPr>
        <p:sp>
          <p:nvSpPr>
            <p:cNvPr id="167" name="íṩḻïďe">
              <a:extLst>
                <a:ext uri="{FF2B5EF4-FFF2-40B4-BE49-F238E27FC236}">
                  <a16:creationId xmlns:a16="http://schemas.microsoft.com/office/drawing/2014/main" id="{AB903576-C8FA-46FA-99FF-F415FE3AB81C}"/>
                </a:ext>
              </a:extLst>
            </p:cNvPr>
            <p:cNvSpPr/>
            <p:nvPr/>
          </p:nvSpPr>
          <p:spPr bwMode="auto">
            <a:xfrm>
              <a:off x="7364161" y="1719447"/>
              <a:ext cx="1254242" cy="1658266"/>
            </a:xfrm>
            <a:custGeom>
              <a:avLst/>
              <a:gdLst>
                <a:gd name="T0" fmla="*/ 43 w 143"/>
                <a:gd name="T1" fmla="*/ 74 h 189"/>
                <a:gd name="T2" fmla="*/ 65 w 143"/>
                <a:gd name="T3" fmla="*/ 95 h 189"/>
                <a:gd name="T4" fmla="*/ 43 w 143"/>
                <a:gd name="T5" fmla="*/ 115 h 189"/>
                <a:gd name="T6" fmla="*/ 43 w 143"/>
                <a:gd name="T7" fmla="*/ 189 h 189"/>
                <a:gd name="T8" fmla="*/ 143 w 143"/>
                <a:gd name="T9" fmla="*/ 95 h 189"/>
                <a:gd name="T10" fmla="*/ 43 w 143"/>
                <a:gd name="T11" fmla="*/ 0 h 189"/>
                <a:gd name="T12" fmla="*/ 0 w 143"/>
                <a:gd name="T13" fmla="*/ 0 h 189"/>
                <a:gd name="T14" fmla="*/ 46 w 143"/>
                <a:gd name="T15" fmla="*/ 37 h 189"/>
                <a:gd name="T16" fmla="*/ 0 w 143"/>
                <a:gd name="T17" fmla="*/ 74 h 189"/>
                <a:gd name="T18" fmla="*/ 43 w 143"/>
                <a:gd name="T19" fmla="*/ 74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89">
                  <a:moveTo>
                    <a:pt x="43" y="74"/>
                  </a:moveTo>
                  <a:cubicBezTo>
                    <a:pt x="55" y="74"/>
                    <a:pt x="65" y="83"/>
                    <a:pt x="65" y="95"/>
                  </a:cubicBezTo>
                  <a:cubicBezTo>
                    <a:pt x="65" y="106"/>
                    <a:pt x="55" y="115"/>
                    <a:pt x="43" y="115"/>
                  </a:cubicBezTo>
                  <a:cubicBezTo>
                    <a:pt x="43" y="189"/>
                    <a:pt x="43" y="189"/>
                    <a:pt x="43" y="189"/>
                  </a:cubicBezTo>
                  <a:cubicBezTo>
                    <a:pt x="98" y="189"/>
                    <a:pt x="143" y="147"/>
                    <a:pt x="143" y="95"/>
                  </a:cubicBezTo>
                  <a:cubicBezTo>
                    <a:pt x="143" y="42"/>
                    <a:pt x="98" y="0"/>
                    <a:pt x="4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0" y="74"/>
                    <a:pt x="0" y="74"/>
                    <a:pt x="0" y="74"/>
                  </a:cubicBezTo>
                  <a:lnTo>
                    <a:pt x="43" y="7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th-TH"/>
            </a:p>
          </p:txBody>
        </p:sp>
        <p:sp>
          <p:nvSpPr>
            <p:cNvPr id="168" name="íṩ1iḑê">
              <a:extLst>
                <a:ext uri="{FF2B5EF4-FFF2-40B4-BE49-F238E27FC236}">
                  <a16:creationId xmlns:a16="http://schemas.microsoft.com/office/drawing/2014/main" id="{78DE1DE6-0296-4208-AFAB-53E0EC96CD8A}"/>
                </a:ext>
              </a:extLst>
            </p:cNvPr>
            <p:cNvSpPr/>
            <p:nvPr/>
          </p:nvSpPr>
          <p:spPr bwMode="auto">
            <a:xfrm>
              <a:off x="3573598" y="2728240"/>
              <a:ext cx="1079644" cy="1658266"/>
            </a:xfrm>
            <a:custGeom>
              <a:avLst/>
              <a:gdLst>
                <a:gd name="T0" fmla="*/ 93 w 123"/>
                <a:gd name="T1" fmla="*/ 189 h 189"/>
                <a:gd name="T2" fmla="*/ 93 w 123"/>
                <a:gd name="T3" fmla="*/ 114 h 189"/>
                <a:gd name="T4" fmla="*/ 78 w 123"/>
                <a:gd name="T5" fmla="*/ 95 h 189"/>
                <a:gd name="T6" fmla="*/ 100 w 123"/>
                <a:gd name="T7" fmla="*/ 74 h 189"/>
                <a:gd name="T8" fmla="*/ 123 w 123"/>
                <a:gd name="T9" fmla="*/ 74 h 189"/>
                <a:gd name="T10" fmla="*/ 76 w 123"/>
                <a:gd name="T11" fmla="*/ 37 h 189"/>
                <a:gd name="T12" fmla="*/ 123 w 123"/>
                <a:gd name="T13" fmla="*/ 0 h 189"/>
                <a:gd name="T14" fmla="*/ 100 w 123"/>
                <a:gd name="T15" fmla="*/ 0 h 189"/>
                <a:gd name="T16" fmla="*/ 0 w 123"/>
                <a:gd name="T17" fmla="*/ 95 h 189"/>
                <a:gd name="T18" fmla="*/ 93 w 123"/>
                <a:gd name="T19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3" h="189">
                  <a:moveTo>
                    <a:pt x="93" y="189"/>
                  </a:moveTo>
                  <a:cubicBezTo>
                    <a:pt x="93" y="114"/>
                    <a:pt x="93" y="114"/>
                    <a:pt x="93" y="114"/>
                  </a:cubicBezTo>
                  <a:cubicBezTo>
                    <a:pt x="84" y="111"/>
                    <a:pt x="78" y="103"/>
                    <a:pt x="78" y="95"/>
                  </a:cubicBezTo>
                  <a:cubicBezTo>
                    <a:pt x="78" y="83"/>
                    <a:pt x="88" y="74"/>
                    <a:pt x="100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76" y="37"/>
                    <a:pt x="76" y="37"/>
                    <a:pt x="76" y="37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45" y="0"/>
                    <a:pt x="0" y="42"/>
                    <a:pt x="0" y="95"/>
                  </a:cubicBezTo>
                  <a:cubicBezTo>
                    <a:pt x="0" y="144"/>
                    <a:pt x="41" y="185"/>
                    <a:pt x="93" y="189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th-TH"/>
            </a:p>
          </p:txBody>
        </p:sp>
        <p:sp>
          <p:nvSpPr>
            <p:cNvPr id="169" name="íṥ1ïḍé">
              <a:extLst>
                <a:ext uri="{FF2B5EF4-FFF2-40B4-BE49-F238E27FC236}">
                  <a16:creationId xmlns:a16="http://schemas.microsoft.com/office/drawing/2014/main" id="{997C060C-BFA2-495D-B199-E1836E595493}"/>
                </a:ext>
              </a:extLst>
            </p:cNvPr>
            <p:cNvSpPr/>
            <p:nvPr/>
          </p:nvSpPr>
          <p:spPr bwMode="auto">
            <a:xfrm>
              <a:off x="7364161" y="3754745"/>
              <a:ext cx="1254242" cy="1657423"/>
            </a:xfrm>
            <a:custGeom>
              <a:avLst/>
              <a:gdLst>
                <a:gd name="T0" fmla="*/ 43 w 143"/>
                <a:gd name="T1" fmla="*/ 0 h 189"/>
                <a:gd name="T2" fmla="*/ 0 w 143"/>
                <a:gd name="T3" fmla="*/ 0 h 189"/>
                <a:gd name="T4" fmla="*/ 46 w 143"/>
                <a:gd name="T5" fmla="*/ 37 h 189"/>
                <a:gd name="T6" fmla="*/ 0 w 143"/>
                <a:gd name="T7" fmla="*/ 74 h 189"/>
                <a:gd name="T8" fmla="*/ 43 w 143"/>
                <a:gd name="T9" fmla="*/ 74 h 189"/>
                <a:gd name="T10" fmla="*/ 65 w 143"/>
                <a:gd name="T11" fmla="*/ 94 h 189"/>
                <a:gd name="T12" fmla="*/ 43 w 143"/>
                <a:gd name="T13" fmla="*/ 115 h 189"/>
                <a:gd name="T14" fmla="*/ 32 w 143"/>
                <a:gd name="T15" fmla="*/ 115 h 189"/>
                <a:gd name="T16" fmla="*/ 32 w 143"/>
                <a:gd name="T17" fmla="*/ 189 h 189"/>
                <a:gd name="T18" fmla="*/ 43 w 143"/>
                <a:gd name="T19" fmla="*/ 189 h 189"/>
                <a:gd name="T20" fmla="*/ 143 w 143"/>
                <a:gd name="T21" fmla="*/ 94 h 189"/>
                <a:gd name="T22" fmla="*/ 43 w 143"/>
                <a:gd name="T23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3" h="189">
                  <a:moveTo>
                    <a:pt x="4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55" y="74"/>
                    <a:pt x="65" y="83"/>
                    <a:pt x="65" y="94"/>
                  </a:cubicBezTo>
                  <a:cubicBezTo>
                    <a:pt x="65" y="106"/>
                    <a:pt x="55" y="115"/>
                    <a:pt x="43" y="115"/>
                  </a:cubicBezTo>
                  <a:cubicBezTo>
                    <a:pt x="32" y="115"/>
                    <a:pt x="32" y="115"/>
                    <a:pt x="32" y="115"/>
                  </a:cubicBezTo>
                  <a:cubicBezTo>
                    <a:pt x="32" y="189"/>
                    <a:pt x="32" y="189"/>
                    <a:pt x="32" y="189"/>
                  </a:cubicBezTo>
                  <a:cubicBezTo>
                    <a:pt x="43" y="189"/>
                    <a:pt x="43" y="189"/>
                    <a:pt x="43" y="189"/>
                  </a:cubicBezTo>
                  <a:cubicBezTo>
                    <a:pt x="98" y="189"/>
                    <a:pt x="143" y="146"/>
                    <a:pt x="143" y="94"/>
                  </a:cubicBezTo>
                  <a:cubicBezTo>
                    <a:pt x="143" y="42"/>
                    <a:pt x="98" y="0"/>
                    <a:pt x="43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th-TH"/>
            </a:p>
          </p:txBody>
        </p:sp>
      </p:grpSp>
      <p:sp>
        <p:nvSpPr>
          <p:cNvPr id="170" name="îśḷîḑé">
            <a:extLst>
              <a:ext uri="{FF2B5EF4-FFF2-40B4-BE49-F238E27FC236}">
                <a16:creationId xmlns:a16="http://schemas.microsoft.com/office/drawing/2014/main" id="{1EEA11BB-E29B-4FAA-BB4B-1BD517F8ADB2}"/>
              </a:ext>
            </a:extLst>
          </p:cNvPr>
          <p:cNvSpPr/>
          <p:nvPr/>
        </p:nvSpPr>
        <p:spPr bwMode="auto">
          <a:xfrm>
            <a:off x="4288441" y="1667152"/>
            <a:ext cx="3378105" cy="754064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th-TH"/>
          </a:p>
        </p:txBody>
      </p:sp>
      <p:sp>
        <p:nvSpPr>
          <p:cNvPr id="171" name="iṣlïḍè">
            <a:extLst>
              <a:ext uri="{FF2B5EF4-FFF2-40B4-BE49-F238E27FC236}">
                <a16:creationId xmlns:a16="http://schemas.microsoft.com/office/drawing/2014/main" id="{DB8100C5-3D26-4A0D-94C2-C8B031F20FE9}"/>
              </a:ext>
            </a:extLst>
          </p:cNvPr>
          <p:cNvSpPr/>
          <p:nvPr/>
        </p:nvSpPr>
        <p:spPr bwMode="auto">
          <a:xfrm>
            <a:off x="4315010" y="2675944"/>
            <a:ext cx="3324967" cy="754064"/>
          </a:xfrm>
          <a:prstGeom prst="leftArrow">
            <a:avLst>
              <a:gd name="adj1" fmla="val 100000"/>
              <a:gd name="adj2" fmla="val 50000"/>
            </a:avLst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th-TH"/>
          </a:p>
        </p:txBody>
      </p:sp>
      <p:sp>
        <p:nvSpPr>
          <p:cNvPr id="172" name="íśliḓé">
            <a:extLst>
              <a:ext uri="{FF2B5EF4-FFF2-40B4-BE49-F238E27FC236}">
                <a16:creationId xmlns:a16="http://schemas.microsoft.com/office/drawing/2014/main" id="{C30E43B8-C234-40F0-94F2-0AABB1751991}"/>
              </a:ext>
            </a:extLst>
          </p:cNvPr>
          <p:cNvSpPr/>
          <p:nvPr/>
        </p:nvSpPr>
        <p:spPr bwMode="auto">
          <a:xfrm>
            <a:off x="4367727" y="3684737"/>
            <a:ext cx="3219532" cy="754064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th-TH"/>
          </a:p>
        </p:txBody>
      </p:sp>
      <p:sp>
        <p:nvSpPr>
          <p:cNvPr id="173" name="ï$1idè">
            <a:extLst>
              <a:ext uri="{FF2B5EF4-FFF2-40B4-BE49-F238E27FC236}">
                <a16:creationId xmlns:a16="http://schemas.microsoft.com/office/drawing/2014/main" id="{535DD92F-3BEE-4028-B95A-2AF318950996}"/>
              </a:ext>
            </a:extLst>
          </p:cNvPr>
          <p:cNvSpPr/>
          <p:nvPr/>
        </p:nvSpPr>
        <p:spPr bwMode="auto">
          <a:xfrm>
            <a:off x="4341158" y="4693529"/>
            <a:ext cx="3272671" cy="754064"/>
          </a:xfrm>
          <a:prstGeom prst="leftArrow">
            <a:avLst>
              <a:gd name="adj1" fmla="val 100000"/>
              <a:gd name="adj2" fmla="val 50000"/>
            </a:avLst>
          </a:pr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th-TH"/>
          </a:p>
        </p:txBody>
      </p:sp>
      <p:sp>
        <p:nvSpPr>
          <p:cNvPr id="174" name="íSļidé">
            <a:extLst>
              <a:ext uri="{FF2B5EF4-FFF2-40B4-BE49-F238E27FC236}">
                <a16:creationId xmlns:a16="http://schemas.microsoft.com/office/drawing/2014/main" id="{47CCACAE-5BA6-49B5-A194-3C48712556DB}"/>
              </a:ext>
            </a:extLst>
          </p:cNvPr>
          <p:cNvSpPr/>
          <p:nvPr/>
        </p:nvSpPr>
        <p:spPr>
          <a:xfrm>
            <a:off x="4305300" y="1728571"/>
            <a:ext cx="2882900" cy="635001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000" b="1" dirty="0">
                <a:solidFill>
                  <a:schemeClr val="bg1"/>
                </a:solidFill>
              </a:rPr>
              <a:t>Text here</a:t>
            </a:r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175" name="ïSḻïḍê">
            <a:extLst>
              <a:ext uri="{FF2B5EF4-FFF2-40B4-BE49-F238E27FC236}">
                <a16:creationId xmlns:a16="http://schemas.microsoft.com/office/drawing/2014/main" id="{598E12FB-B831-4BB1-A3F5-D3BFFC5F1487}"/>
              </a:ext>
            </a:extLst>
          </p:cNvPr>
          <p:cNvSpPr/>
          <p:nvPr/>
        </p:nvSpPr>
        <p:spPr>
          <a:xfrm>
            <a:off x="4770571" y="2735475"/>
            <a:ext cx="2882900" cy="635001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000" b="1" dirty="0">
                <a:solidFill>
                  <a:schemeClr val="bg1"/>
                </a:solidFill>
              </a:rPr>
              <a:t>Text here</a:t>
            </a:r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176" name="íṣḻíḓè">
            <a:extLst>
              <a:ext uri="{FF2B5EF4-FFF2-40B4-BE49-F238E27FC236}">
                <a16:creationId xmlns:a16="http://schemas.microsoft.com/office/drawing/2014/main" id="{4ACFB70B-DF3F-4066-B48F-F9DD5732C46B}"/>
              </a:ext>
            </a:extLst>
          </p:cNvPr>
          <p:cNvSpPr/>
          <p:nvPr/>
        </p:nvSpPr>
        <p:spPr>
          <a:xfrm>
            <a:off x="4460087" y="3737031"/>
            <a:ext cx="2882900" cy="635001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000" b="1" dirty="0">
                <a:solidFill>
                  <a:schemeClr val="bg1"/>
                </a:solidFill>
              </a:rPr>
              <a:t>Text here</a:t>
            </a:r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177" name="ïṣ1ïḓe">
            <a:extLst>
              <a:ext uri="{FF2B5EF4-FFF2-40B4-BE49-F238E27FC236}">
                <a16:creationId xmlns:a16="http://schemas.microsoft.com/office/drawing/2014/main" id="{F64F40DE-3DD4-4E9A-B8F4-C27427A6CE93}"/>
              </a:ext>
            </a:extLst>
          </p:cNvPr>
          <p:cNvSpPr/>
          <p:nvPr/>
        </p:nvSpPr>
        <p:spPr>
          <a:xfrm>
            <a:off x="4665138" y="4739997"/>
            <a:ext cx="2882900" cy="635001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000" b="1" dirty="0">
                <a:solidFill>
                  <a:schemeClr val="bg1"/>
                </a:solidFill>
              </a:rPr>
              <a:t>Text here</a:t>
            </a:r>
            <a:endParaRPr lang="zh-CN" altLang="en-US" sz="2000" b="1" dirty="0">
              <a:solidFill>
                <a:schemeClr val="bg1"/>
              </a:solidFill>
            </a:endParaRPr>
          </a:p>
        </p:txBody>
      </p:sp>
      <p:cxnSp>
        <p:nvCxnSpPr>
          <p:cNvPr id="192" name="直接连接符 191">
            <a:extLst>
              <a:ext uri="{FF2B5EF4-FFF2-40B4-BE49-F238E27FC236}">
                <a16:creationId xmlns:a16="http://schemas.microsoft.com/office/drawing/2014/main" id="{20EAAE25-7BC1-4674-B6CB-3EA6A001733C}"/>
              </a:ext>
            </a:extLst>
          </p:cNvPr>
          <p:cNvCxnSpPr/>
          <p:nvPr/>
        </p:nvCxnSpPr>
        <p:spPr>
          <a:xfrm>
            <a:off x="669925" y="3602345"/>
            <a:ext cx="2619375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prstDash val="dash"/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3" name="îš1ïḍè">
            <a:extLst>
              <a:ext uri="{FF2B5EF4-FFF2-40B4-BE49-F238E27FC236}">
                <a16:creationId xmlns:a16="http://schemas.microsoft.com/office/drawing/2014/main" id="{1F324C58-047E-45CC-84F3-0241B315DE56}"/>
              </a:ext>
            </a:extLst>
          </p:cNvPr>
          <p:cNvGrpSpPr/>
          <p:nvPr/>
        </p:nvGrpSpPr>
        <p:grpSpPr>
          <a:xfrm>
            <a:off x="665729" y="2409532"/>
            <a:ext cx="2434088" cy="1071640"/>
            <a:chOff x="2082804" y="1329817"/>
            <a:chExt cx="2334087" cy="1071640"/>
          </a:xfrm>
        </p:grpSpPr>
        <p:sp>
          <p:nvSpPr>
            <p:cNvPr id="203" name="îṡḷíďe">
              <a:extLst>
                <a:ext uri="{FF2B5EF4-FFF2-40B4-BE49-F238E27FC236}">
                  <a16:creationId xmlns:a16="http://schemas.microsoft.com/office/drawing/2014/main" id="{AFE63BE6-7512-4B4C-B599-65723334F9FC}"/>
                </a:ext>
              </a:extLst>
            </p:cNvPr>
            <p:cNvSpPr txBox="1"/>
            <p:nvPr/>
          </p:nvSpPr>
          <p:spPr>
            <a:xfrm>
              <a:off x="2082804" y="1677152"/>
              <a:ext cx="2334087" cy="724305"/>
            </a:xfrm>
            <a:prstGeom prst="rect">
              <a:avLst/>
            </a:prstGeom>
            <a:noFill/>
          </p:spPr>
          <p:txBody>
            <a:bodyPr wrap="square" lIns="144000" tIns="0" rIns="144000" bIns="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 defTabSz="914400">
                <a:lnSpc>
                  <a:spcPct val="120000"/>
                </a:lnSpc>
                <a:spcBef>
                  <a:spcPct val="0"/>
                </a:spcBef>
                <a:defRPr/>
              </a:pPr>
              <a:r>
                <a:rPr lang="en-US" altLang="zh-CN" sz="1100" dirty="0">
                  <a:solidFill>
                    <a:schemeClr val="dk1">
                      <a:lumMod val="100000"/>
                    </a:schemeClr>
                  </a:solidFill>
                </a:rPr>
                <a:t>Copy paste fonts. Choose the only option to retain text.</a:t>
              </a:r>
              <a:endParaRPr lang="zh-CN" altLang="en-US" sz="1100" dirty="0">
                <a:solidFill>
                  <a:schemeClr val="dk1">
                    <a:lumMod val="100000"/>
                  </a:schemeClr>
                </a:solidFill>
              </a:endParaRPr>
            </a:p>
          </p:txBody>
        </p:sp>
        <p:sp>
          <p:nvSpPr>
            <p:cNvPr id="204" name="îṡlíḍé">
              <a:extLst>
                <a:ext uri="{FF2B5EF4-FFF2-40B4-BE49-F238E27FC236}">
                  <a16:creationId xmlns:a16="http://schemas.microsoft.com/office/drawing/2014/main" id="{6F244086-B5BD-4DB6-AAAA-85CEC164F1AB}"/>
                </a:ext>
              </a:extLst>
            </p:cNvPr>
            <p:cNvSpPr/>
            <p:nvPr/>
          </p:nvSpPr>
          <p:spPr>
            <a:xfrm>
              <a:off x="2082804" y="1329817"/>
              <a:ext cx="2334087" cy="335557"/>
            </a:xfrm>
            <a:prstGeom prst="rect">
              <a:avLst/>
            </a:prstGeom>
          </p:spPr>
          <p:txBody>
            <a:bodyPr wrap="none" lIns="144000" tIns="0" rIns="144000" bIns="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b="1" dirty="0"/>
                <a:t>Text here</a:t>
              </a:r>
              <a:endParaRPr lang="zh-CN" altLang="en-US" b="1" dirty="0"/>
            </a:p>
          </p:txBody>
        </p:sp>
      </p:grpSp>
      <p:sp>
        <p:nvSpPr>
          <p:cNvPr id="201" name="ïšļîdè">
            <a:extLst>
              <a:ext uri="{FF2B5EF4-FFF2-40B4-BE49-F238E27FC236}">
                <a16:creationId xmlns:a16="http://schemas.microsoft.com/office/drawing/2014/main" id="{7D4DFE00-D03D-4A84-ABB2-4A7E9F1F3367}"/>
              </a:ext>
            </a:extLst>
          </p:cNvPr>
          <p:cNvSpPr/>
          <p:nvPr/>
        </p:nvSpPr>
        <p:spPr>
          <a:xfrm>
            <a:off x="1471472" y="1376014"/>
            <a:ext cx="822599" cy="822598"/>
          </a:xfrm>
          <a:prstGeom prst="ellipse">
            <a:avLst/>
          </a:prstGeom>
          <a:solidFill>
            <a:schemeClr val="accent2"/>
          </a:solidFill>
          <a:ln w="57150">
            <a:solidFill>
              <a:schemeClr val="bg1"/>
            </a:solidFill>
            <a:prstDash val="solid"/>
            <a:miter lim="800000"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dirty="0"/>
          </a:p>
        </p:txBody>
      </p:sp>
      <p:sp>
        <p:nvSpPr>
          <p:cNvPr id="202" name="íṩḻîḓe">
            <a:extLst>
              <a:ext uri="{FF2B5EF4-FFF2-40B4-BE49-F238E27FC236}">
                <a16:creationId xmlns:a16="http://schemas.microsoft.com/office/drawing/2014/main" id="{C96BBE9A-63EE-4E3E-916E-215771CF985B}"/>
              </a:ext>
            </a:extLst>
          </p:cNvPr>
          <p:cNvSpPr/>
          <p:nvPr/>
        </p:nvSpPr>
        <p:spPr bwMode="auto">
          <a:xfrm>
            <a:off x="1695442" y="1630944"/>
            <a:ext cx="374658" cy="312738"/>
          </a:xfrm>
          <a:custGeom>
            <a:avLst/>
            <a:gdLst>
              <a:gd name="T0" fmla="*/ 224 w 224"/>
              <a:gd name="T1" fmla="*/ 0 h 184"/>
              <a:gd name="T2" fmla="*/ 224 w 224"/>
              <a:gd name="T3" fmla="*/ 156 h 184"/>
              <a:gd name="T4" fmla="*/ 86 w 224"/>
              <a:gd name="T5" fmla="*/ 156 h 184"/>
              <a:gd name="T6" fmla="*/ 48 w 224"/>
              <a:gd name="T7" fmla="*/ 184 h 184"/>
              <a:gd name="T8" fmla="*/ 48 w 224"/>
              <a:gd name="T9" fmla="*/ 156 h 184"/>
              <a:gd name="T10" fmla="*/ 0 w 224"/>
              <a:gd name="T11" fmla="*/ 156 h 184"/>
              <a:gd name="T12" fmla="*/ 0 w 224"/>
              <a:gd name="T13" fmla="*/ 0 h 184"/>
              <a:gd name="T14" fmla="*/ 224 w 224"/>
              <a:gd name="T15" fmla="*/ 0 h 184"/>
              <a:gd name="T16" fmla="*/ 216 w 224"/>
              <a:gd name="T17" fmla="*/ 8 h 184"/>
              <a:gd name="T18" fmla="*/ 8 w 224"/>
              <a:gd name="T19" fmla="*/ 8 h 184"/>
              <a:gd name="T20" fmla="*/ 8 w 224"/>
              <a:gd name="T21" fmla="*/ 148 h 184"/>
              <a:gd name="T22" fmla="*/ 56 w 224"/>
              <a:gd name="T23" fmla="*/ 148 h 184"/>
              <a:gd name="T24" fmla="*/ 56 w 224"/>
              <a:gd name="T25" fmla="*/ 168 h 184"/>
              <a:gd name="T26" fmla="*/ 83 w 224"/>
              <a:gd name="T27" fmla="*/ 148 h 184"/>
              <a:gd name="T28" fmla="*/ 216 w 224"/>
              <a:gd name="T29" fmla="*/ 148 h 184"/>
              <a:gd name="T30" fmla="*/ 216 w 224"/>
              <a:gd name="T31" fmla="*/ 8 h 184"/>
              <a:gd name="T32" fmla="*/ 56 w 224"/>
              <a:gd name="T33" fmla="*/ 60 h 184"/>
              <a:gd name="T34" fmla="*/ 74 w 224"/>
              <a:gd name="T35" fmla="*/ 78 h 184"/>
              <a:gd name="T36" fmla="*/ 56 w 224"/>
              <a:gd name="T37" fmla="*/ 96 h 184"/>
              <a:gd name="T38" fmla="*/ 38 w 224"/>
              <a:gd name="T39" fmla="*/ 78 h 184"/>
              <a:gd name="T40" fmla="*/ 56 w 224"/>
              <a:gd name="T41" fmla="*/ 60 h 184"/>
              <a:gd name="T42" fmla="*/ 112 w 224"/>
              <a:gd name="T43" fmla="*/ 60 h 184"/>
              <a:gd name="T44" fmla="*/ 130 w 224"/>
              <a:gd name="T45" fmla="*/ 78 h 184"/>
              <a:gd name="T46" fmla="*/ 112 w 224"/>
              <a:gd name="T47" fmla="*/ 96 h 184"/>
              <a:gd name="T48" fmla="*/ 94 w 224"/>
              <a:gd name="T49" fmla="*/ 78 h 184"/>
              <a:gd name="T50" fmla="*/ 112 w 224"/>
              <a:gd name="T51" fmla="*/ 60 h 184"/>
              <a:gd name="T52" fmla="*/ 168 w 224"/>
              <a:gd name="T53" fmla="*/ 60 h 184"/>
              <a:gd name="T54" fmla="*/ 186 w 224"/>
              <a:gd name="T55" fmla="*/ 78 h 184"/>
              <a:gd name="T56" fmla="*/ 168 w 224"/>
              <a:gd name="T57" fmla="*/ 96 h 184"/>
              <a:gd name="T58" fmla="*/ 150 w 224"/>
              <a:gd name="T59" fmla="*/ 78 h 184"/>
              <a:gd name="T60" fmla="*/ 168 w 224"/>
              <a:gd name="T61" fmla="*/ 60 h 184"/>
              <a:gd name="T62" fmla="*/ 56 w 224"/>
              <a:gd name="T63" fmla="*/ 68 h 184"/>
              <a:gd name="T64" fmla="*/ 46 w 224"/>
              <a:gd name="T65" fmla="*/ 78 h 184"/>
              <a:gd name="T66" fmla="*/ 56 w 224"/>
              <a:gd name="T67" fmla="*/ 88 h 184"/>
              <a:gd name="T68" fmla="*/ 66 w 224"/>
              <a:gd name="T69" fmla="*/ 78 h 184"/>
              <a:gd name="T70" fmla="*/ 56 w 224"/>
              <a:gd name="T71" fmla="*/ 68 h 184"/>
              <a:gd name="T72" fmla="*/ 112 w 224"/>
              <a:gd name="T73" fmla="*/ 68 h 184"/>
              <a:gd name="T74" fmla="*/ 102 w 224"/>
              <a:gd name="T75" fmla="*/ 78 h 184"/>
              <a:gd name="T76" fmla="*/ 112 w 224"/>
              <a:gd name="T77" fmla="*/ 88 h 184"/>
              <a:gd name="T78" fmla="*/ 122 w 224"/>
              <a:gd name="T79" fmla="*/ 78 h 184"/>
              <a:gd name="T80" fmla="*/ 112 w 224"/>
              <a:gd name="T81" fmla="*/ 68 h 184"/>
              <a:gd name="T82" fmla="*/ 168 w 224"/>
              <a:gd name="T83" fmla="*/ 68 h 184"/>
              <a:gd name="T84" fmla="*/ 158 w 224"/>
              <a:gd name="T85" fmla="*/ 78 h 184"/>
              <a:gd name="T86" fmla="*/ 168 w 224"/>
              <a:gd name="T87" fmla="*/ 88 h 184"/>
              <a:gd name="T88" fmla="*/ 178 w 224"/>
              <a:gd name="T89" fmla="*/ 78 h 184"/>
              <a:gd name="T90" fmla="*/ 168 w 224"/>
              <a:gd name="T91" fmla="*/ 68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24" h="184">
                <a:moveTo>
                  <a:pt x="224" y="0"/>
                </a:moveTo>
                <a:cubicBezTo>
                  <a:pt x="224" y="156"/>
                  <a:pt x="224" y="156"/>
                  <a:pt x="224" y="156"/>
                </a:cubicBezTo>
                <a:cubicBezTo>
                  <a:pt x="86" y="156"/>
                  <a:pt x="86" y="156"/>
                  <a:pt x="86" y="156"/>
                </a:cubicBezTo>
                <a:cubicBezTo>
                  <a:pt x="48" y="184"/>
                  <a:pt x="48" y="184"/>
                  <a:pt x="48" y="184"/>
                </a:cubicBezTo>
                <a:cubicBezTo>
                  <a:pt x="48" y="156"/>
                  <a:pt x="48" y="156"/>
                  <a:pt x="48" y="156"/>
                </a:cubicBezTo>
                <a:cubicBezTo>
                  <a:pt x="0" y="156"/>
                  <a:pt x="0" y="156"/>
                  <a:pt x="0" y="156"/>
                </a:cubicBezTo>
                <a:cubicBezTo>
                  <a:pt x="0" y="0"/>
                  <a:pt x="0" y="0"/>
                  <a:pt x="0" y="0"/>
                </a:cubicBezTo>
                <a:lnTo>
                  <a:pt x="224" y="0"/>
                </a:lnTo>
                <a:close/>
                <a:moveTo>
                  <a:pt x="216" y="8"/>
                </a:moveTo>
                <a:cubicBezTo>
                  <a:pt x="8" y="8"/>
                  <a:pt x="8" y="8"/>
                  <a:pt x="8" y="8"/>
                </a:cubicBezTo>
                <a:cubicBezTo>
                  <a:pt x="8" y="148"/>
                  <a:pt x="8" y="148"/>
                  <a:pt x="8" y="148"/>
                </a:cubicBezTo>
                <a:cubicBezTo>
                  <a:pt x="56" y="148"/>
                  <a:pt x="56" y="148"/>
                  <a:pt x="56" y="148"/>
                </a:cubicBezTo>
                <a:cubicBezTo>
                  <a:pt x="56" y="168"/>
                  <a:pt x="56" y="168"/>
                  <a:pt x="56" y="168"/>
                </a:cubicBezTo>
                <a:cubicBezTo>
                  <a:pt x="83" y="148"/>
                  <a:pt x="83" y="148"/>
                  <a:pt x="83" y="148"/>
                </a:cubicBezTo>
                <a:cubicBezTo>
                  <a:pt x="216" y="148"/>
                  <a:pt x="216" y="148"/>
                  <a:pt x="216" y="148"/>
                </a:cubicBezTo>
                <a:lnTo>
                  <a:pt x="216" y="8"/>
                </a:lnTo>
                <a:close/>
                <a:moveTo>
                  <a:pt x="56" y="60"/>
                </a:moveTo>
                <a:cubicBezTo>
                  <a:pt x="66" y="60"/>
                  <a:pt x="74" y="68"/>
                  <a:pt x="74" y="78"/>
                </a:cubicBezTo>
                <a:cubicBezTo>
                  <a:pt x="74" y="88"/>
                  <a:pt x="66" y="96"/>
                  <a:pt x="56" y="96"/>
                </a:cubicBezTo>
                <a:cubicBezTo>
                  <a:pt x="46" y="96"/>
                  <a:pt x="38" y="88"/>
                  <a:pt x="38" y="78"/>
                </a:cubicBezTo>
                <a:cubicBezTo>
                  <a:pt x="38" y="68"/>
                  <a:pt x="46" y="60"/>
                  <a:pt x="56" y="60"/>
                </a:cubicBezTo>
                <a:close/>
                <a:moveTo>
                  <a:pt x="112" y="60"/>
                </a:moveTo>
                <a:cubicBezTo>
                  <a:pt x="122" y="60"/>
                  <a:pt x="130" y="68"/>
                  <a:pt x="130" y="78"/>
                </a:cubicBezTo>
                <a:cubicBezTo>
                  <a:pt x="130" y="88"/>
                  <a:pt x="122" y="96"/>
                  <a:pt x="112" y="96"/>
                </a:cubicBezTo>
                <a:cubicBezTo>
                  <a:pt x="102" y="96"/>
                  <a:pt x="94" y="88"/>
                  <a:pt x="94" y="78"/>
                </a:cubicBezTo>
                <a:cubicBezTo>
                  <a:pt x="94" y="68"/>
                  <a:pt x="102" y="60"/>
                  <a:pt x="112" y="60"/>
                </a:cubicBezTo>
                <a:close/>
                <a:moveTo>
                  <a:pt x="168" y="60"/>
                </a:moveTo>
                <a:cubicBezTo>
                  <a:pt x="178" y="60"/>
                  <a:pt x="186" y="68"/>
                  <a:pt x="186" y="78"/>
                </a:cubicBezTo>
                <a:cubicBezTo>
                  <a:pt x="186" y="88"/>
                  <a:pt x="178" y="96"/>
                  <a:pt x="168" y="96"/>
                </a:cubicBezTo>
                <a:cubicBezTo>
                  <a:pt x="158" y="96"/>
                  <a:pt x="150" y="88"/>
                  <a:pt x="150" y="78"/>
                </a:cubicBezTo>
                <a:cubicBezTo>
                  <a:pt x="150" y="68"/>
                  <a:pt x="158" y="60"/>
                  <a:pt x="168" y="60"/>
                </a:cubicBezTo>
                <a:close/>
                <a:moveTo>
                  <a:pt x="56" y="68"/>
                </a:moveTo>
                <a:cubicBezTo>
                  <a:pt x="50" y="68"/>
                  <a:pt x="46" y="72"/>
                  <a:pt x="46" y="78"/>
                </a:cubicBezTo>
                <a:cubicBezTo>
                  <a:pt x="46" y="84"/>
                  <a:pt x="50" y="88"/>
                  <a:pt x="56" y="88"/>
                </a:cubicBezTo>
                <a:cubicBezTo>
                  <a:pt x="62" y="88"/>
                  <a:pt x="66" y="84"/>
                  <a:pt x="66" y="78"/>
                </a:cubicBezTo>
                <a:cubicBezTo>
                  <a:pt x="66" y="72"/>
                  <a:pt x="62" y="68"/>
                  <a:pt x="56" y="68"/>
                </a:cubicBezTo>
                <a:close/>
                <a:moveTo>
                  <a:pt x="112" y="68"/>
                </a:moveTo>
                <a:cubicBezTo>
                  <a:pt x="106" y="68"/>
                  <a:pt x="102" y="72"/>
                  <a:pt x="102" y="78"/>
                </a:cubicBezTo>
                <a:cubicBezTo>
                  <a:pt x="102" y="84"/>
                  <a:pt x="106" y="88"/>
                  <a:pt x="112" y="88"/>
                </a:cubicBezTo>
                <a:cubicBezTo>
                  <a:pt x="118" y="88"/>
                  <a:pt x="122" y="84"/>
                  <a:pt x="122" y="78"/>
                </a:cubicBezTo>
                <a:cubicBezTo>
                  <a:pt x="122" y="72"/>
                  <a:pt x="118" y="68"/>
                  <a:pt x="112" y="68"/>
                </a:cubicBezTo>
                <a:close/>
                <a:moveTo>
                  <a:pt x="168" y="68"/>
                </a:moveTo>
                <a:cubicBezTo>
                  <a:pt x="162" y="68"/>
                  <a:pt x="158" y="72"/>
                  <a:pt x="158" y="78"/>
                </a:cubicBezTo>
                <a:cubicBezTo>
                  <a:pt x="158" y="84"/>
                  <a:pt x="162" y="88"/>
                  <a:pt x="168" y="88"/>
                </a:cubicBezTo>
                <a:cubicBezTo>
                  <a:pt x="174" y="88"/>
                  <a:pt x="178" y="84"/>
                  <a:pt x="178" y="78"/>
                </a:cubicBezTo>
                <a:cubicBezTo>
                  <a:pt x="178" y="72"/>
                  <a:pt x="174" y="68"/>
                  <a:pt x="168" y="68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grpSp>
        <p:nvGrpSpPr>
          <p:cNvPr id="195" name="íṡḷïḓé">
            <a:extLst>
              <a:ext uri="{FF2B5EF4-FFF2-40B4-BE49-F238E27FC236}">
                <a16:creationId xmlns:a16="http://schemas.microsoft.com/office/drawing/2014/main" id="{4D30761A-0AC8-4B80-ACAC-CDD16F8ABDA4}"/>
              </a:ext>
            </a:extLst>
          </p:cNvPr>
          <p:cNvGrpSpPr/>
          <p:nvPr/>
        </p:nvGrpSpPr>
        <p:grpSpPr>
          <a:xfrm>
            <a:off x="665729" y="5051132"/>
            <a:ext cx="2434088" cy="1071640"/>
            <a:chOff x="2082804" y="1329817"/>
            <a:chExt cx="2334087" cy="1071640"/>
          </a:xfrm>
        </p:grpSpPr>
        <p:sp>
          <p:nvSpPr>
            <p:cNvPr id="199" name="ïṥľïḍè">
              <a:extLst>
                <a:ext uri="{FF2B5EF4-FFF2-40B4-BE49-F238E27FC236}">
                  <a16:creationId xmlns:a16="http://schemas.microsoft.com/office/drawing/2014/main" id="{B79EEEA1-3D82-40CA-BA38-D983CB5B735A}"/>
                </a:ext>
              </a:extLst>
            </p:cNvPr>
            <p:cNvSpPr txBox="1"/>
            <p:nvPr/>
          </p:nvSpPr>
          <p:spPr>
            <a:xfrm>
              <a:off x="2082804" y="1677152"/>
              <a:ext cx="2334087" cy="724305"/>
            </a:xfrm>
            <a:prstGeom prst="rect">
              <a:avLst/>
            </a:prstGeom>
            <a:noFill/>
          </p:spPr>
          <p:txBody>
            <a:bodyPr wrap="square" lIns="144000" tIns="0" rIns="144000" bIns="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 defTabSz="914400">
                <a:lnSpc>
                  <a:spcPct val="120000"/>
                </a:lnSpc>
                <a:spcBef>
                  <a:spcPct val="0"/>
                </a:spcBef>
                <a:defRPr/>
              </a:pPr>
              <a:r>
                <a:rPr lang="en-US" altLang="zh-CN" sz="1100" dirty="0">
                  <a:solidFill>
                    <a:schemeClr val="dk1">
                      <a:lumMod val="100000"/>
                    </a:schemeClr>
                  </a:solidFill>
                </a:rPr>
                <a:t>Copy paste fonts. Choose the only option to retain text.</a:t>
              </a:r>
              <a:endParaRPr lang="zh-CN" altLang="en-US" sz="1100" dirty="0">
                <a:solidFill>
                  <a:schemeClr val="dk1">
                    <a:lumMod val="100000"/>
                  </a:schemeClr>
                </a:solidFill>
              </a:endParaRPr>
            </a:p>
          </p:txBody>
        </p:sp>
        <p:sp>
          <p:nvSpPr>
            <p:cNvPr id="200" name="íṥlíḑé">
              <a:extLst>
                <a:ext uri="{FF2B5EF4-FFF2-40B4-BE49-F238E27FC236}">
                  <a16:creationId xmlns:a16="http://schemas.microsoft.com/office/drawing/2014/main" id="{1C071A21-FAC4-4340-99EF-936A8334A3F5}"/>
                </a:ext>
              </a:extLst>
            </p:cNvPr>
            <p:cNvSpPr/>
            <p:nvPr/>
          </p:nvSpPr>
          <p:spPr>
            <a:xfrm>
              <a:off x="2082804" y="1329817"/>
              <a:ext cx="2334087" cy="335557"/>
            </a:xfrm>
            <a:prstGeom prst="rect">
              <a:avLst/>
            </a:prstGeom>
          </p:spPr>
          <p:txBody>
            <a:bodyPr wrap="none" lIns="144000" tIns="0" rIns="144000" bIns="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b="1" dirty="0"/>
                <a:t>Text here</a:t>
              </a:r>
              <a:endParaRPr lang="zh-CN" altLang="en-US" b="1" dirty="0"/>
            </a:p>
          </p:txBody>
        </p:sp>
      </p:grpSp>
      <p:sp>
        <p:nvSpPr>
          <p:cNvPr id="197" name="îṩlîḋê">
            <a:extLst>
              <a:ext uri="{FF2B5EF4-FFF2-40B4-BE49-F238E27FC236}">
                <a16:creationId xmlns:a16="http://schemas.microsoft.com/office/drawing/2014/main" id="{63A4F939-33B6-453C-9595-1204A649151B}"/>
              </a:ext>
            </a:extLst>
          </p:cNvPr>
          <p:cNvSpPr/>
          <p:nvPr/>
        </p:nvSpPr>
        <p:spPr>
          <a:xfrm>
            <a:off x="1471472" y="4017614"/>
            <a:ext cx="822599" cy="822598"/>
          </a:xfrm>
          <a:prstGeom prst="ellipse">
            <a:avLst/>
          </a:prstGeom>
          <a:solidFill>
            <a:schemeClr val="accent3"/>
          </a:solidFill>
          <a:ln w="57150">
            <a:solidFill>
              <a:schemeClr val="bg1"/>
            </a:solidFill>
            <a:prstDash val="solid"/>
            <a:miter lim="800000"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dirty="0"/>
          </a:p>
        </p:txBody>
      </p:sp>
      <p:sp>
        <p:nvSpPr>
          <p:cNvPr id="198" name="îšlíḑê">
            <a:extLst>
              <a:ext uri="{FF2B5EF4-FFF2-40B4-BE49-F238E27FC236}">
                <a16:creationId xmlns:a16="http://schemas.microsoft.com/office/drawing/2014/main" id="{F6FD7CA1-8A7B-48E1-8EA8-226CE13B7F29}"/>
              </a:ext>
            </a:extLst>
          </p:cNvPr>
          <p:cNvSpPr/>
          <p:nvPr/>
        </p:nvSpPr>
        <p:spPr bwMode="auto">
          <a:xfrm>
            <a:off x="1695442" y="4269316"/>
            <a:ext cx="374658" cy="319192"/>
          </a:xfrm>
          <a:custGeom>
            <a:avLst/>
            <a:gdLst>
              <a:gd name="T0" fmla="*/ 332 w 358"/>
              <a:gd name="T1" fmla="*/ 0 h 305"/>
              <a:gd name="T2" fmla="*/ 332 w 358"/>
              <a:gd name="T3" fmla="*/ 91 h 305"/>
              <a:gd name="T4" fmla="*/ 358 w 358"/>
              <a:gd name="T5" fmla="*/ 91 h 305"/>
              <a:gd name="T6" fmla="*/ 345 w 358"/>
              <a:gd name="T7" fmla="*/ 272 h 305"/>
              <a:gd name="T8" fmla="*/ 306 w 358"/>
              <a:gd name="T9" fmla="*/ 272 h 305"/>
              <a:gd name="T10" fmla="*/ 306 w 358"/>
              <a:gd name="T11" fmla="*/ 305 h 305"/>
              <a:gd name="T12" fmla="*/ 294 w 358"/>
              <a:gd name="T13" fmla="*/ 305 h 305"/>
              <a:gd name="T14" fmla="*/ 294 w 358"/>
              <a:gd name="T15" fmla="*/ 272 h 305"/>
              <a:gd name="T16" fmla="*/ 64 w 358"/>
              <a:gd name="T17" fmla="*/ 272 h 305"/>
              <a:gd name="T18" fmla="*/ 64 w 358"/>
              <a:gd name="T19" fmla="*/ 305 h 305"/>
              <a:gd name="T20" fmla="*/ 51 w 358"/>
              <a:gd name="T21" fmla="*/ 305 h 305"/>
              <a:gd name="T22" fmla="*/ 51 w 358"/>
              <a:gd name="T23" fmla="*/ 272 h 305"/>
              <a:gd name="T24" fmla="*/ 13 w 358"/>
              <a:gd name="T25" fmla="*/ 272 h 305"/>
              <a:gd name="T26" fmla="*/ 0 w 358"/>
              <a:gd name="T27" fmla="*/ 91 h 305"/>
              <a:gd name="T28" fmla="*/ 32 w 358"/>
              <a:gd name="T29" fmla="*/ 91 h 305"/>
              <a:gd name="T30" fmla="*/ 32 w 358"/>
              <a:gd name="T31" fmla="*/ 0 h 305"/>
              <a:gd name="T32" fmla="*/ 332 w 358"/>
              <a:gd name="T33" fmla="*/ 0 h 305"/>
              <a:gd name="T34" fmla="*/ 59 w 358"/>
              <a:gd name="T35" fmla="*/ 104 h 305"/>
              <a:gd name="T36" fmla="*/ 13 w 358"/>
              <a:gd name="T37" fmla="*/ 104 h 305"/>
              <a:gd name="T38" fmla="*/ 26 w 358"/>
              <a:gd name="T39" fmla="*/ 259 h 305"/>
              <a:gd name="T40" fmla="*/ 332 w 358"/>
              <a:gd name="T41" fmla="*/ 259 h 305"/>
              <a:gd name="T42" fmla="*/ 345 w 358"/>
              <a:gd name="T43" fmla="*/ 104 h 305"/>
              <a:gd name="T44" fmla="*/ 298 w 358"/>
              <a:gd name="T45" fmla="*/ 104 h 305"/>
              <a:gd name="T46" fmla="*/ 279 w 358"/>
              <a:gd name="T47" fmla="*/ 208 h 305"/>
              <a:gd name="T48" fmla="*/ 78 w 358"/>
              <a:gd name="T49" fmla="*/ 208 h 305"/>
              <a:gd name="T50" fmla="*/ 59 w 358"/>
              <a:gd name="T51" fmla="*/ 104 h 305"/>
              <a:gd name="T52" fmla="*/ 319 w 358"/>
              <a:gd name="T53" fmla="*/ 13 h 305"/>
              <a:gd name="T54" fmla="*/ 45 w 358"/>
              <a:gd name="T55" fmla="*/ 13 h 305"/>
              <a:gd name="T56" fmla="*/ 45 w 358"/>
              <a:gd name="T57" fmla="*/ 91 h 305"/>
              <a:gd name="T58" fmla="*/ 69 w 358"/>
              <a:gd name="T59" fmla="*/ 91 h 305"/>
              <a:gd name="T60" fmla="*/ 88 w 358"/>
              <a:gd name="T61" fmla="*/ 195 h 305"/>
              <a:gd name="T62" fmla="*/ 270 w 358"/>
              <a:gd name="T63" fmla="*/ 195 h 305"/>
              <a:gd name="T64" fmla="*/ 289 w 358"/>
              <a:gd name="T65" fmla="*/ 91 h 305"/>
              <a:gd name="T66" fmla="*/ 319 w 358"/>
              <a:gd name="T67" fmla="*/ 91 h 305"/>
              <a:gd name="T68" fmla="*/ 319 w 358"/>
              <a:gd name="T69" fmla="*/ 13 h 3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58" h="305">
                <a:moveTo>
                  <a:pt x="332" y="0"/>
                </a:moveTo>
                <a:lnTo>
                  <a:pt x="332" y="91"/>
                </a:lnTo>
                <a:lnTo>
                  <a:pt x="358" y="91"/>
                </a:lnTo>
                <a:lnTo>
                  <a:pt x="345" y="272"/>
                </a:lnTo>
                <a:lnTo>
                  <a:pt x="306" y="272"/>
                </a:lnTo>
                <a:lnTo>
                  <a:pt x="306" y="305"/>
                </a:lnTo>
                <a:lnTo>
                  <a:pt x="294" y="305"/>
                </a:lnTo>
                <a:lnTo>
                  <a:pt x="294" y="272"/>
                </a:lnTo>
                <a:lnTo>
                  <a:pt x="64" y="272"/>
                </a:lnTo>
                <a:lnTo>
                  <a:pt x="64" y="305"/>
                </a:lnTo>
                <a:lnTo>
                  <a:pt x="51" y="305"/>
                </a:lnTo>
                <a:lnTo>
                  <a:pt x="51" y="272"/>
                </a:lnTo>
                <a:lnTo>
                  <a:pt x="13" y="272"/>
                </a:lnTo>
                <a:lnTo>
                  <a:pt x="0" y="91"/>
                </a:lnTo>
                <a:lnTo>
                  <a:pt x="32" y="91"/>
                </a:lnTo>
                <a:lnTo>
                  <a:pt x="32" y="0"/>
                </a:lnTo>
                <a:lnTo>
                  <a:pt x="332" y="0"/>
                </a:lnTo>
                <a:close/>
                <a:moveTo>
                  <a:pt x="59" y="104"/>
                </a:moveTo>
                <a:lnTo>
                  <a:pt x="13" y="104"/>
                </a:lnTo>
                <a:lnTo>
                  <a:pt x="26" y="259"/>
                </a:lnTo>
                <a:lnTo>
                  <a:pt x="332" y="259"/>
                </a:lnTo>
                <a:lnTo>
                  <a:pt x="345" y="104"/>
                </a:lnTo>
                <a:lnTo>
                  <a:pt x="298" y="104"/>
                </a:lnTo>
                <a:lnTo>
                  <a:pt x="279" y="208"/>
                </a:lnTo>
                <a:lnTo>
                  <a:pt x="78" y="208"/>
                </a:lnTo>
                <a:lnTo>
                  <a:pt x="59" y="104"/>
                </a:lnTo>
                <a:close/>
                <a:moveTo>
                  <a:pt x="319" y="13"/>
                </a:moveTo>
                <a:lnTo>
                  <a:pt x="45" y="13"/>
                </a:lnTo>
                <a:lnTo>
                  <a:pt x="45" y="91"/>
                </a:lnTo>
                <a:lnTo>
                  <a:pt x="69" y="91"/>
                </a:lnTo>
                <a:lnTo>
                  <a:pt x="88" y="195"/>
                </a:lnTo>
                <a:lnTo>
                  <a:pt x="270" y="195"/>
                </a:lnTo>
                <a:lnTo>
                  <a:pt x="289" y="91"/>
                </a:lnTo>
                <a:lnTo>
                  <a:pt x="319" y="91"/>
                </a:lnTo>
                <a:lnTo>
                  <a:pt x="319" y="13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cxnSp>
        <p:nvCxnSpPr>
          <p:cNvPr id="179" name="直接连接符 178">
            <a:extLst>
              <a:ext uri="{FF2B5EF4-FFF2-40B4-BE49-F238E27FC236}">
                <a16:creationId xmlns:a16="http://schemas.microsoft.com/office/drawing/2014/main" id="{87D67371-BDA5-4F7D-B6F8-B33E85A83484}"/>
              </a:ext>
            </a:extLst>
          </p:cNvPr>
          <p:cNvCxnSpPr/>
          <p:nvPr/>
        </p:nvCxnSpPr>
        <p:spPr>
          <a:xfrm>
            <a:off x="8899525" y="3602345"/>
            <a:ext cx="2619375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prstDash val="dash"/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0" name="îṡḷîďe">
            <a:extLst>
              <a:ext uri="{FF2B5EF4-FFF2-40B4-BE49-F238E27FC236}">
                <a16:creationId xmlns:a16="http://schemas.microsoft.com/office/drawing/2014/main" id="{80C4A441-EA8F-4804-9E4B-B1A97FEF1A94}"/>
              </a:ext>
            </a:extLst>
          </p:cNvPr>
          <p:cNvGrpSpPr/>
          <p:nvPr/>
        </p:nvGrpSpPr>
        <p:grpSpPr>
          <a:xfrm>
            <a:off x="8895329" y="2409532"/>
            <a:ext cx="2434088" cy="1071640"/>
            <a:chOff x="2082804" y="1329817"/>
            <a:chExt cx="2334087" cy="1071640"/>
          </a:xfrm>
        </p:grpSpPr>
        <p:sp>
          <p:nvSpPr>
            <p:cNvPr id="190" name="îsľîḋè">
              <a:extLst>
                <a:ext uri="{FF2B5EF4-FFF2-40B4-BE49-F238E27FC236}">
                  <a16:creationId xmlns:a16="http://schemas.microsoft.com/office/drawing/2014/main" id="{2E3F38CC-66CC-45D2-B411-BBD6F2798DA1}"/>
                </a:ext>
              </a:extLst>
            </p:cNvPr>
            <p:cNvSpPr txBox="1"/>
            <p:nvPr/>
          </p:nvSpPr>
          <p:spPr>
            <a:xfrm>
              <a:off x="2082804" y="1677152"/>
              <a:ext cx="2334087" cy="724305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 defTabSz="914400">
                <a:lnSpc>
                  <a:spcPct val="120000"/>
                </a:lnSpc>
                <a:spcBef>
                  <a:spcPct val="0"/>
                </a:spcBef>
                <a:defRPr/>
              </a:pPr>
              <a:r>
                <a:rPr lang="en-US" altLang="zh-CN" sz="1100" dirty="0">
                  <a:solidFill>
                    <a:schemeClr val="dk1">
                      <a:lumMod val="100000"/>
                    </a:schemeClr>
                  </a:solidFill>
                </a:rPr>
                <a:t>Copy paste fonts. Choose the only option to retain text.</a:t>
              </a:r>
              <a:endParaRPr lang="zh-CN" altLang="en-US" sz="1100" dirty="0">
                <a:solidFill>
                  <a:schemeClr val="dk1">
                    <a:lumMod val="100000"/>
                  </a:schemeClr>
                </a:solidFill>
              </a:endParaRPr>
            </a:p>
          </p:txBody>
        </p:sp>
        <p:sp>
          <p:nvSpPr>
            <p:cNvPr id="191" name="íSļîḍè">
              <a:extLst>
                <a:ext uri="{FF2B5EF4-FFF2-40B4-BE49-F238E27FC236}">
                  <a16:creationId xmlns:a16="http://schemas.microsoft.com/office/drawing/2014/main" id="{0466BD4D-7AEA-48EF-BA5A-B1B8D49A945E}"/>
                </a:ext>
              </a:extLst>
            </p:cNvPr>
            <p:cNvSpPr/>
            <p:nvPr/>
          </p:nvSpPr>
          <p:spPr>
            <a:xfrm>
              <a:off x="2082804" y="1329817"/>
              <a:ext cx="2334087" cy="335557"/>
            </a:xfrm>
            <a:prstGeom prst="rect">
              <a:avLst/>
            </a:prstGeom>
          </p:spPr>
          <p:txBody>
            <a:bodyPr wrap="square" lIns="91440" tIns="45720" rIns="91440" bIns="45720" anchor="t" anchorCtr="0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b="1" dirty="0"/>
                <a:t>Text here</a:t>
              </a:r>
              <a:endParaRPr lang="zh-CN" altLang="en-US" b="1" dirty="0"/>
            </a:p>
          </p:txBody>
        </p:sp>
      </p:grpSp>
      <p:sp>
        <p:nvSpPr>
          <p:cNvPr id="188" name="ïš1îdê">
            <a:extLst>
              <a:ext uri="{FF2B5EF4-FFF2-40B4-BE49-F238E27FC236}">
                <a16:creationId xmlns:a16="http://schemas.microsoft.com/office/drawing/2014/main" id="{1BD156CA-B71E-4E9C-9662-D3F967C191B5}"/>
              </a:ext>
            </a:extLst>
          </p:cNvPr>
          <p:cNvSpPr/>
          <p:nvPr/>
        </p:nvSpPr>
        <p:spPr>
          <a:xfrm>
            <a:off x="9701072" y="1376014"/>
            <a:ext cx="822599" cy="822598"/>
          </a:xfrm>
          <a:prstGeom prst="ellipse">
            <a:avLst/>
          </a:prstGeom>
          <a:solidFill>
            <a:schemeClr val="accent1"/>
          </a:solidFill>
          <a:ln w="57150">
            <a:solidFill>
              <a:schemeClr val="bg1"/>
            </a:solidFill>
            <a:prstDash val="solid"/>
            <a:miter lim="800000"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dirty="0"/>
          </a:p>
        </p:txBody>
      </p:sp>
      <p:sp>
        <p:nvSpPr>
          <p:cNvPr id="189" name="íṥlïdé">
            <a:extLst>
              <a:ext uri="{FF2B5EF4-FFF2-40B4-BE49-F238E27FC236}">
                <a16:creationId xmlns:a16="http://schemas.microsoft.com/office/drawing/2014/main" id="{032A7234-52DF-4773-881C-5B77CAD0DF89}"/>
              </a:ext>
            </a:extLst>
          </p:cNvPr>
          <p:cNvSpPr/>
          <p:nvPr/>
        </p:nvSpPr>
        <p:spPr bwMode="auto">
          <a:xfrm>
            <a:off x="9925042" y="1644985"/>
            <a:ext cx="374658" cy="284656"/>
          </a:xfrm>
          <a:custGeom>
            <a:avLst/>
            <a:gdLst>
              <a:gd name="T0" fmla="*/ 224 w 224"/>
              <a:gd name="T1" fmla="*/ 0 h 168"/>
              <a:gd name="T2" fmla="*/ 224 w 224"/>
              <a:gd name="T3" fmla="*/ 168 h 168"/>
              <a:gd name="T4" fmla="*/ 0 w 224"/>
              <a:gd name="T5" fmla="*/ 168 h 168"/>
              <a:gd name="T6" fmla="*/ 0 w 224"/>
              <a:gd name="T7" fmla="*/ 0 h 168"/>
              <a:gd name="T8" fmla="*/ 224 w 224"/>
              <a:gd name="T9" fmla="*/ 0 h 168"/>
              <a:gd name="T10" fmla="*/ 157 w 224"/>
              <a:gd name="T11" fmla="*/ 64 h 168"/>
              <a:gd name="T12" fmla="*/ 104 w 224"/>
              <a:gd name="T13" fmla="*/ 134 h 168"/>
              <a:gd name="T14" fmla="*/ 59 w 224"/>
              <a:gd name="T15" fmla="*/ 90 h 168"/>
              <a:gd name="T16" fmla="*/ 8 w 224"/>
              <a:gd name="T17" fmla="*/ 149 h 168"/>
              <a:gd name="T18" fmla="*/ 8 w 224"/>
              <a:gd name="T19" fmla="*/ 160 h 168"/>
              <a:gd name="T20" fmla="*/ 216 w 224"/>
              <a:gd name="T21" fmla="*/ 160 h 168"/>
              <a:gd name="T22" fmla="*/ 216 w 224"/>
              <a:gd name="T23" fmla="*/ 142 h 168"/>
              <a:gd name="T24" fmla="*/ 157 w 224"/>
              <a:gd name="T25" fmla="*/ 64 h 168"/>
              <a:gd name="T26" fmla="*/ 216 w 224"/>
              <a:gd name="T27" fmla="*/ 8 h 168"/>
              <a:gd name="T28" fmla="*/ 8 w 224"/>
              <a:gd name="T29" fmla="*/ 8 h 168"/>
              <a:gd name="T30" fmla="*/ 8 w 224"/>
              <a:gd name="T31" fmla="*/ 137 h 168"/>
              <a:gd name="T32" fmla="*/ 58 w 224"/>
              <a:gd name="T33" fmla="*/ 78 h 168"/>
              <a:gd name="T34" fmla="*/ 103 w 224"/>
              <a:gd name="T35" fmla="*/ 122 h 168"/>
              <a:gd name="T36" fmla="*/ 158 w 224"/>
              <a:gd name="T37" fmla="*/ 51 h 168"/>
              <a:gd name="T38" fmla="*/ 216 w 224"/>
              <a:gd name="T39" fmla="*/ 129 h 168"/>
              <a:gd name="T40" fmla="*/ 216 w 224"/>
              <a:gd name="T41" fmla="*/ 8 h 168"/>
              <a:gd name="T42" fmla="*/ 40 w 224"/>
              <a:gd name="T43" fmla="*/ 20 h 168"/>
              <a:gd name="T44" fmla="*/ 60 w 224"/>
              <a:gd name="T45" fmla="*/ 40 h 168"/>
              <a:gd name="T46" fmla="*/ 40 w 224"/>
              <a:gd name="T47" fmla="*/ 60 h 168"/>
              <a:gd name="T48" fmla="*/ 20 w 224"/>
              <a:gd name="T49" fmla="*/ 40 h 168"/>
              <a:gd name="T50" fmla="*/ 40 w 224"/>
              <a:gd name="T51" fmla="*/ 20 h 168"/>
              <a:gd name="T52" fmla="*/ 40 w 224"/>
              <a:gd name="T53" fmla="*/ 28 h 168"/>
              <a:gd name="T54" fmla="*/ 28 w 224"/>
              <a:gd name="T55" fmla="*/ 40 h 168"/>
              <a:gd name="T56" fmla="*/ 40 w 224"/>
              <a:gd name="T57" fmla="*/ 52 h 168"/>
              <a:gd name="T58" fmla="*/ 52 w 224"/>
              <a:gd name="T59" fmla="*/ 40 h 168"/>
              <a:gd name="T60" fmla="*/ 40 w 224"/>
              <a:gd name="T61" fmla="*/ 28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224" h="168">
                <a:moveTo>
                  <a:pt x="224" y="0"/>
                </a:moveTo>
                <a:cubicBezTo>
                  <a:pt x="224" y="168"/>
                  <a:pt x="224" y="168"/>
                  <a:pt x="224" y="168"/>
                </a:cubicBezTo>
                <a:cubicBezTo>
                  <a:pt x="0" y="168"/>
                  <a:pt x="0" y="168"/>
                  <a:pt x="0" y="168"/>
                </a:cubicBezTo>
                <a:cubicBezTo>
                  <a:pt x="0" y="0"/>
                  <a:pt x="0" y="0"/>
                  <a:pt x="0" y="0"/>
                </a:cubicBezTo>
                <a:lnTo>
                  <a:pt x="224" y="0"/>
                </a:lnTo>
                <a:close/>
                <a:moveTo>
                  <a:pt x="157" y="64"/>
                </a:moveTo>
                <a:cubicBezTo>
                  <a:pt x="104" y="134"/>
                  <a:pt x="104" y="134"/>
                  <a:pt x="104" y="134"/>
                </a:cubicBezTo>
                <a:cubicBezTo>
                  <a:pt x="59" y="90"/>
                  <a:pt x="59" y="90"/>
                  <a:pt x="59" y="90"/>
                </a:cubicBezTo>
                <a:cubicBezTo>
                  <a:pt x="8" y="149"/>
                  <a:pt x="8" y="149"/>
                  <a:pt x="8" y="149"/>
                </a:cubicBezTo>
                <a:cubicBezTo>
                  <a:pt x="8" y="160"/>
                  <a:pt x="8" y="160"/>
                  <a:pt x="8" y="160"/>
                </a:cubicBezTo>
                <a:cubicBezTo>
                  <a:pt x="216" y="160"/>
                  <a:pt x="216" y="160"/>
                  <a:pt x="216" y="160"/>
                </a:cubicBezTo>
                <a:cubicBezTo>
                  <a:pt x="216" y="142"/>
                  <a:pt x="216" y="142"/>
                  <a:pt x="216" y="142"/>
                </a:cubicBezTo>
                <a:lnTo>
                  <a:pt x="157" y="64"/>
                </a:lnTo>
                <a:close/>
                <a:moveTo>
                  <a:pt x="216" y="8"/>
                </a:moveTo>
                <a:cubicBezTo>
                  <a:pt x="8" y="8"/>
                  <a:pt x="8" y="8"/>
                  <a:pt x="8" y="8"/>
                </a:cubicBezTo>
                <a:cubicBezTo>
                  <a:pt x="8" y="137"/>
                  <a:pt x="8" y="137"/>
                  <a:pt x="8" y="137"/>
                </a:cubicBezTo>
                <a:cubicBezTo>
                  <a:pt x="58" y="78"/>
                  <a:pt x="58" y="78"/>
                  <a:pt x="58" y="78"/>
                </a:cubicBezTo>
                <a:cubicBezTo>
                  <a:pt x="103" y="122"/>
                  <a:pt x="103" y="122"/>
                  <a:pt x="103" y="122"/>
                </a:cubicBezTo>
                <a:cubicBezTo>
                  <a:pt x="158" y="51"/>
                  <a:pt x="158" y="51"/>
                  <a:pt x="158" y="51"/>
                </a:cubicBezTo>
                <a:cubicBezTo>
                  <a:pt x="216" y="129"/>
                  <a:pt x="216" y="129"/>
                  <a:pt x="216" y="129"/>
                </a:cubicBezTo>
                <a:lnTo>
                  <a:pt x="216" y="8"/>
                </a:lnTo>
                <a:close/>
                <a:moveTo>
                  <a:pt x="40" y="20"/>
                </a:moveTo>
                <a:cubicBezTo>
                  <a:pt x="51" y="20"/>
                  <a:pt x="60" y="29"/>
                  <a:pt x="60" y="40"/>
                </a:cubicBezTo>
                <a:cubicBezTo>
                  <a:pt x="60" y="51"/>
                  <a:pt x="51" y="60"/>
                  <a:pt x="40" y="60"/>
                </a:cubicBezTo>
                <a:cubicBezTo>
                  <a:pt x="29" y="60"/>
                  <a:pt x="20" y="51"/>
                  <a:pt x="20" y="40"/>
                </a:cubicBezTo>
                <a:cubicBezTo>
                  <a:pt x="20" y="29"/>
                  <a:pt x="29" y="20"/>
                  <a:pt x="40" y="20"/>
                </a:cubicBezTo>
                <a:close/>
                <a:moveTo>
                  <a:pt x="40" y="28"/>
                </a:moveTo>
                <a:cubicBezTo>
                  <a:pt x="33" y="28"/>
                  <a:pt x="28" y="33"/>
                  <a:pt x="28" y="40"/>
                </a:cubicBezTo>
                <a:cubicBezTo>
                  <a:pt x="28" y="47"/>
                  <a:pt x="33" y="52"/>
                  <a:pt x="40" y="52"/>
                </a:cubicBezTo>
                <a:cubicBezTo>
                  <a:pt x="47" y="52"/>
                  <a:pt x="52" y="47"/>
                  <a:pt x="52" y="40"/>
                </a:cubicBezTo>
                <a:cubicBezTo>
                  <a:pt x="52" y="33"/>
                  <a:pt x="47" y="28"/>
                  <a:pt x="40" y="28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grpSp>
        <p:nvGrpSpPr>
          <p:cNvPr id="182" name="islïḍé">
            <a:extLst>
              <a:ext uri="{FF2B5EF4-FFF2-40B4-BE49-F238E27FC236}">
                <a16:creationId xmlns:a16="http://schemas.microsoft.com/office/drawing/2014/main" id="{0D368D6D-7D63-479F-86E0-D4D698A4E955}"/>
              </a:ext>
            </a:extLst>
          </p:cNvPr>
          <p:cNvGrpSpPr/>
          <p:nvPr/>
        </p:nvGrpSpPr>
        <p:grpSpPr>
          <a:xfrm>
            <a:off x="8895329" y="5051132"/>
            <a:ext cx="2434088" cy="1071640"/>
            <a:chOff x="2082804" y="1329817"/>
            <a:chExt cx="2334087" cy="1071640"/>
          </a:xfrm>
        </p:grpSpPr>
        <p:sp>
          <p:nvSpPr>
            <p:cNvPr id="186" name="iṧ1ïďê">
              <a:extLst>
                <a:ext uri="{FF2B5EF4-FFF2-40B4-BE49-F238E27FC236}">
                  <a16:creationId xmlns:a16="http://schemas.microsoft.com/office/drawing/2014/main" id="{14457795-8D58-4251-ABA6-C24B1BE1925A}"/>
                </a:ext>
              </a:extLst>
            </p:cNvPr>
            <p:cNvSpPr txBox="1"/>
            <p:nvPr/>
          </p:nvSpPr>
          <p:spPr>
            <a:xfrm>
              <a:off x="2082804" y="1677152"/>
              <a:ext cx="2334087" cy="724305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 defTabSz="914400">
                <a:lnSpc>
                  <a:spcPct val="120000"/>
                </a:lnSpc>
                <a:spcBef>
                  <a:spcPct val="0"/>
                </a:spcBef>
                <a:defRPr/>
              </a:pPr>
              <a:r>
                <a:rPr lang="en-US" altLang="zh-CN" sz="1100" dirty="0">
                  <a:solidFill>
                    <a:schemeClr val="dk1">
                      <a:lumMod val="100000"/>
                    </a:schemeClr>
                  </a:solidFill>
                </a:rPr>
                <a:t>Copy paste fonts. Choose the only option to retain text.</a:t>
              </a:r>
              <a:endParaRPr lang="zh-CN" altLang="en-US" sz="1100" dirty="0">
                <a:solidFill>
                  <a:schemeClr val="dk1">
                    <a:lumMod val="100000"/>
                  </a:schemeClr>
                </a:solidFill>
              </a:endParaRPr>
            </a:p>
          </p:txBody>
        </p:sp>
        <p:sp>
          <p:nvSpPr>
            <p:cNvPr id="187" name="ïṣḻíde">
              <a:extLst>
                <a:ext uri="{FF2B5EF4-FFF2-40B4-BE49-F238E27FC236}">
                  <a16:creationId xmlns:a16="http://schemas.microsoft.com/office/drawing/2014/main" id="{005E0662-429B-44AC-976F-4BBB89C48F89}"/>
                </a:ext>
              </a:extLst>
            </p:cNvPr>
            <p:cNvSpPr/>
            <p:nvPr/>
          </p:nvSpPr>
          <p:spPr>
            <a:xfrm>
              <a:off x="2082804" y="1329817"/>
              <a:ext cx="2334087" cy="335557"/>
            </a:xfrm>
            <a:prstGeom prst="rect">
              <a:avLst/>
            </a:prstGeom>
          </p:spPr>
          <p:txBody>
            <a:bodyPr wrap="square" lIns="91440" tIns="45720" rIns="91440" bIns="45720" anchor="t" anchorCtr="0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b="1" dirty="0"/>
                <a:t>Text here</a:t>
              </a:r>
              <a:endParaRPr lang="zh-CN" altLang="en-US" b="1" dirty="0"/>
            </a:p>
          </p:txBody>
        </p:sp>
      </p:grpSp>
      <p:sp>
        <p:nvSpPr>
          <p:cNvPr id="184" name="iṣlïdé">
            <a:extLst>
              <a:ext uri="{FF2B5EF4-FFF2-40B4-BE49-F238E27FC236}">
                <a16:creationId xmlns:a16="http://schemas.microsoft.com/office/drawing/2014/main" id="{D30C346B-1EA3-4F9B-AC56-BF2F339DC249}"/>
              </a:ext>
            </a:extLst>
          </p:cNvPr>
          <p:cNvSpPr/>
          <p:nvPr/>
        </p:nvSpPr>
        <p:spPr>
          <a:xfrm>
            <a:off x="9701072" y="4017614"/>
            <a:ext cx="822599" cy="822598"/>
          </a:xfrm>
          <a:prstGeom prst="ellipse">
            <a:avLst/>
          </a:prstGeom>
          <a:solidFill>
            <a:schemeClr val="accent4"/>
          </a:solidFill>
          <a:ln w="57150">
            <a:solidFill>
              <a:schemeClr val="bg1"/>
            </a:solidFill>
            <a:prstDash val="solid"/>
            <a:miter lim="800000"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dirty="0"/>
          </a:p>
        </p:txBody>
      </p:sp>
      <p:sp>
        <p:nvSpPr>
          <p:cNvPr id="185" name="iş1ïďè">
            <a:extLst>
              <a:ext uri="{FF2B5EF4-FFF2-40B4-BE49-F238E27FC236}">
                <a16:creationId xmlns:a16="http://schemas.microsoft.com/office/drawing/2014/main" id="{0EEB587E-1A2A-474A-9C03-53F362A9B294}"/>
              </a:ext>
            </a:extLst>
          </p:cNvPr>
          <p:cNvSpPr/>
          <p:nvPr/>
        </p:nvSpPr>
        <p:spPr bwMode="auto">
          <a:xfrm>
            <a:off x="9927112" y="4241584"/>
            <a:ext cx="370518" cy="374658"/>
          </a:xfrm>
          <a:custGeom>
            <a:avLst/>
            <a:gdLst>
              <a:gd name="T0" fmla="*/ 160 w 224"/>
              <a:gd name="T1" fmla="*/ 0 h 224"/>
              <a:gd name="T2" fmla="*/ 160 w 224"/>
              <a:gd name="T3" fmla="*/ 48 h 224"/>
              <a:gd name="T4" fmla="*/ 224 w 224"/>
              <a:gd name="T5" fmla="*/ 48 h 224"/>
              <a:gd name="T6" fmla="*/ 224 w 224"/>
              <a:gd name="T7" fmla="*/ 176 h 224"/>
              <a:gd name="T8" fmla="*/ 160 w 224"/>
              <a:gd name="T9" fmla="*/ 176 h 224"/>
              <a:gd name="T10" fmla="*/ 160 w 224"/>
              <a:gd name="T11" fmla="*/ 224 h 224"/>
              <a:gd name="T12" fmla="*/ 64 w 224"/>
              <a:gd name="T13" fmla="*/ 224 h 224"/>
              <a:gd name="T14" fmla="*/ 64 w 224"/>
              <a:gd name="T15" fmla="*/ 176 h 224"/>
              <a:gd name="T16" fmla="*/ 0 w 224"/>
              <a:gd name="T17" fmla="*/ 176 h 224"/>
              <a:gd name="T18" fmla="*/ 0 w 224"/>
              <a:gd name="T19" fmla="*/ 76 h 224"/>
              <a:gd name="T20" fmla="*/ 26 w 224"/>
              <a:gd name="T21" fmla="*/ 48 h 224"/>
              <a:gd name="T22" fmla="*/ 64 w 224"/>
              <a:gd name="T23" fmla="*/ 48 h 224"/>
              <a:gd name="T24" fmla="*/ 64 w 224"/>
              <a:gd name="T25" fmla="*/ 0 h 224"/>
              <a:gd name="T26" fmla="*/ 160 w 224"/>
              <a:gd name="T27" fmla="*/ 0 h 224"/>
              <a:gd name="T28" fmla="*/ 152 w 224"/>
              <a:gd name="T29" fmla="*/ 120 h 224"/>
              <a:gd name="T30" fmla="*/ 72 w 224"/>
              <a:gd name="T31" fmla="*/ 120 h 224"/>
              <a:gd name="T32" fmla="*/ 72 w 224"/>
              <a:gd name="T33" fmla="*/ 216 h 224"/>
              <a:gd name="T34" fmla="*/ 152 w 224"/>
              <a:gd name="T35" fmla="*/ 216 h 224"/>
              <a:gd name="T36" fmla="*/ 152 w 224"/>
              <a:gd name="T37" fmla="*/ 120 h 224"/>
              <a:gd name="T38" fmla="*/ 216 w 224"/>
              <a:gd name="T39" fmla="*/ 56 h 224"/>
              <a:gd name="T40" fmla="*/ 30 w 224"/>
              <a:gd name="T41" fmla="*/ 56 h 224"/>
              <a:gd name="T42" fmla="*/ 8 w 224"/>
              <a:gd name="T43" fmla="*/ 80 h 224"/>
              <a:gd name="T44" fmla="*/ 8 w 224"/>
              <a:gd name="T45" fmla="*/ 168 h 224"/>
              <a:gd name="T46" fmla="*/ 64 w 224"/>
              <a:gd name="T47" fmla="*/ 168 h 224"/>
              <a:gd name="T48" fmla="*/ 64 w 224"/>
              <a:gd name="T49" fmla="*/ 112 h 224"/>
              <a:gd name="T50" fmla="*/ 160 w 224"/>
              <a:gd name="T51" fmla="*/ 112 h 224"/>
              <a:gd name="T52" fmla="*/ 160 w 224"/>
              <a:gd name="T53" fmla="*/ 168 h 224"/>
              <a:gd name="T54" fmla="*/ 216 w 224"/>
              <a:gd name="T55" fmla="*/ 168 h 224"/>
              <a:gd name="T56" fmla="*/ 216 w 224"/>
              <a:gd name="T57" fmla="*/ 56 h 224"/>
              <a:gd name="T58" fmla="*/ 194 w 224"/>
              <a:gd name="T59" fmla="*/ 72 h 224"/>
              <a:gd name="T60" fmla="*/ 200 w 224"/>
              <a:gd name="T61" fmla="*/ 78 h 224"/>
              <a:gd name="T62" fmla="*/ 194 w 224"/>
              <a:gd name="T63" fmla="*/ 84 h 224"/>
              <a:gd name="T64" fmla="*/ 188 w 224"/>
              <a:gd name="T65" fmla="*/ 78 h 224"/>
              <a:gd name="T66" fmla="*/ 194 w 224"/>
              <a:gd name="T67" fmla="*/ 72 h 224"/>
              <a:gd name="T68" fmla="*/ 152 w 224"/>
              <a:gd name="T69" fmla="*/ 8 h 224"/>
              <a:gd name="T70" fmla="*/ 72 w 224"/>
              <a:gd name="T71" fmla="*/ 8 h 224"/>
              <a:gd name="T72" fmla="*/ 72 w 224"/>
              <a:gd name="T73" fmla="*/ 48 h 224"/>
              <a:gd name="T74" fmla="*/ 152 w 224"/>
              <a:gd name="T75" fmla="*/ 48 h 224"/>
              <a:gd name="T76" fmla="*/ 152 w 224"/>
              <a:gd name="T77" fmla="*/ 8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24" h="224">
                <a:moveTo>
                  <a:pt x="160" y="0"/>
                </a:moveTo>
                <a:cubicBezTo>
                  <a:pt x="160" y="48"/>
                  <a:pt x="160" y="48"/>
                  <a:pt x="160" y="48"/>
                </a:cubicBezTo>
                <a:cubicBezTo>
                  <a:pt x="224" y="48"/>
                  <a:pt x="224" y="48"/>
                  <a:pt x="224" y="48"/>
                </a:cubicBezTo>
                <a:cubicBezTo>
                  <a:pt x="224" y="176"/>
                  <a:pt x="224" y="176"/>
                  <a:pt x="224" y="176"/>
                </a:cubicBezTo>
                <a:cubicBezTo>
                  <a:pt x="160" y="176"/>
                  <a:pt x="160" y="176"/>
                  <a:pt x="160" y="176"/>
                </a:cubicBezTo>
                <a:cubicBezTo>
                  <a:pt x="160" y="224"/>
                  <a:pt x="160" y="224"/>
                  <a:pt x="160" y="224"/>
                </a:cubicBezTo>
                <a:cubicBezTo>
                  <a:pt x="64" y="224"/>
                  <a:pt x="64" y="224"/>
                  <a:pt x="64" y="224"/>
                </a:cubicBezTo>
                <a:cubicBezTo>
                  <a:pt x="64" y="176"/>
                  <a:pt x="64" y="176"/>
                  <a:pt x="64" y="176"/>
                </a:cubicBezTo>
                <a:cubicBezTo>
                  <a:pt x="0" y="176"/>
                  <a:pt x="0" y="176"/>
                  <a:pt x="0" y="176"/>
                </a:cubicBezTo>
                <a:cubicBezTo>
                  <a:pt x="0" y="76"/>
                  <a:pt x="0" y="76"/>
                  <a:pt x="0" y="76"/>
                </a:cubicBezTo>
                <a:cubicBezTo>
                  <a:pt x="26" y="48"/>
                  <a:pt x="26" y="48"/>
                  <a:pt x="26" y="48"/>
                </a:cubicBezTo>
                <a:cubicBezTo>
                  <a:pt x="64" y="48"/>
                  <a:pt x="64" y="48"/>
                  <a:pt x="64" y="48"/>
                </a:cubicBezTo>
                <a:cubicBezTo>
                  <a:pt x="64" y="0"/>
                  <a:pt x="64" y="0"/>
                  <a:pt x="64" y="0"/>
                </a:cubicBezTo>
                <a:lnTo>
                  <a:pt x="160" y="0"/>
                </a:lnTo>
                <a:close/>
                <a:moveTo>
                  <a:pt x="152" y="120"/>
                </a:moveTo>
                <a:cubicBezTo>
                  <a:pt x="72" y="120"/>
                  <a:pt x="72" y="120"/>
                  <a:pt x="72" y="120"/>
                </a:cubicBezTo>
                <a:cubicBezTo>
                  <a:pt x="72" y="216"/>
                  <a:pt x="72" y="216"/>
                  <a:pt x="72" y="216"/>
                </a:cubicBezTo>
                <a:cubicBezTo>
                  <a:pt x="152" y="216"/>
                  <a:pt x="152" y="216"/>
                  <a:pt x="152" y="216"/>
                </a:cubicBezTo>
                <a:lnTo>
                  <a:pt x="152" y="120"/>
                </a:lnTo>
                <a:close/>
                <a:moveTo>
                  <a:pt x="216" y="56"/>
                </a:moveTo>
                <a:cubicBezTo>
                  <a:pt x="30" y="56"/>
                  <a:pt x="30" y="56"/>
                  <a:pt x="30" y="56"/>
                </a:cubicBezTo>
                <a:cubicBezTo>
                  <a:pt x="8" y="80"/>
                  <a:pt x="8" y="80"/>
                  <a:pt x="8" y="80"/>
                </a:cubicBezTo>
                <a:cubicBezTo>
                  <a:pt x="8" y="168"/>
                  <a:pt x="8" y="168"/>
                  <a:pt x="8" y="168"/>
                </a:cubicBezTo>
                <a:cubicBezTo>
                  <a:pt x="64" y="168"/>
                  <a:pt x="64" y="168"/>
                  <a:pt x="64" y="168"/>
                </a:cubicBezTo>
                <a:cubicBezTo>
                  <a:pt x="64" y="112"/>
                  <a:pt x="64" y="112"/>
                  <a:pt x="64" y="112"/>
                </a:cubicBezTo>
                <a:cubicBezTo>
                  <a:pt x="160" y="112"/>
                  <a:pt x="160" y="112"/>
                  <a:pt x="160" y="112"/>
                </a:cubicBezTo>
                <a:cubicBezTo>
                  <a:pt x="160" y="168"/>
                  <a:pt x="160" y="168"/>
                  <a:pt x="160" y="168"/>
                </a:cubicBezTo>
                <a:cubicBezTo>
                  <a:pt x="216" y="168"/>
                  <a:pt x="216" y="168"/>
                  <a:pt x="216" y="168"/>
                </a:cubicBezTo>
                <a:lnTo>
                  <a:pt x="216" y="56"/>
                </a:lnTo>
                <a:close/>
                <a:moveTo>
                  <a:pt x="194" y="72"/>
                </a:moveTo>
                <a:cubicBezTo>
                  <a:pt x="197" y="72"/>
                  <a:pt x="200" y="75"/>
                  <a:pt x="200" y="78"/>
                </a:cubicBezTo>
                <a:cubicBezTo>
                  <a:pt x="200" y="81"/>
                  <a:pt x="197" y="84"/>
                  <a:pt x="194" y="84"/>
                </a:cubicBezTo>
                <a:cubicBezTo>
                  <a:pt x="191" y="84"/>
                  <a:pt x="188" y="81"/>
                  <a:pt x="188" y="78"/>
                </a:cubicBezTo>
                <a:cubicBezTo>
                  <a:pt x="188" y="75"/>
                  <a:pt x="191" y="72"/>
                  <a:pt x="194" y="72"/>
                </a:cubicBezTo>
                <a:close/>
                <a:moveTo>
                  <a:pt x="152" y="8"/>
                </a:moveTo>
                <a:cubicBezTo>
                  <a:pt x="72" y="8"/>
                  <a:pt x="72" y="8"/>
                  <a:pt x="72" y="8"/>
                </a:cubicBezTo>
                <a:cubicBezTo>
                  <a:pt x="72" y="48"/>
                  <a:pt x="72" y="48"/>
                  <a:pt x="72" y="48"/>
                </a:cubicBezTo>
                <a:cubicBezTo>
                  <a:pt x="152" y="48"/>
                  <a:pt x="152" y="48"/>
                  <a:pt x="152" y="48"/>
                </a:cubicBezTo>
                <a:lnTo>
                  <a:pt x="152" y="8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1960381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6600" dirty="0"/>
              <a:t>THANKS</a:t>
            </a:r>
            <a:br>
              <a:rPr lang="en-US" altLang="zh-CN" dirty="0"/>
            </a:br>
            <a:r>
              <a:rPr lang="en-US" altLang="zh-CN" b="0" dirty="0"/>
              <a:t>And Your Slogan Here</a:t>
            </a:r>
            <a:endParaRPr lang="zh-CN" altLang="en-US" b="0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www.fafu.edu.cn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675698" y="2870365"/>
            <a:ext cx="5419185" cy="895350"/>
          </a:xfrm>
        </p:spPr>
        <p:txBody>
          <a:bodyPr/>
          <a:lstStyle/>
          <a:p>
            <a:r>
              <a:rPr lang="en-US" altLang="zh-CN" dirty="0"/>
              <a:t>Section Header Her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676814" y="3765715"/>
            <a:ext cx="5419185" cy="1015623"/>
          </a:xfrm>
        </p:spPr>
        <p:txBody>
          <a:bodyPr/>
          <a:lstStyle/>
          <a:p>
            <a:pPr lvl="0"/>
            <a:r>
              <a:rPr lang="en-US" altLang="zh-CN" dirty="0"/>
              <a:t>Supporting text here.</a:t>
            </a:r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53604" y="2307935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b="1" spc="-150" dirty="0">
                <a:solidFill>
                  <a:schemeClr val="accent1"/>
                </a:solidFill>
                <a:latin typeface="+mj-ea"/>
                <a:ea typeface="+mj-ea"/>
                <a:cs typeface="Arial" panose="020B0604020202020204" pitchFamily="34" charset="0"/>
              </a:rPr>
              <a:t>01</a:t>
            </a:r>
            <a:endParaRPr lang="zh-CN" altLang="en-US" b="1" spc="-150" dirty="0">
              <a:solidFill>
                <a:schemeClr val="accent1"/>
              </a:solidFill>
              <a:latin typeface="+mj-ea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1E00A08-F775-497E-B98B-ADDF95A2D2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1CAF792-F1FD-46D8-80B3-507D909F7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17A177A-A25E-4B11-8EF1-8D5CF273F8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grpSp>
        <p:nvGrpSpPr>
          <p:cNvPr id="67" name="18637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060D465-E265-465C-8D7F-D67170429704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1" y="2322986"/>
            <a:ext cx="10845798" cy="2970374"/>
            <a:chOff x="673101" y="2322986"/>
            <a:chExt cx="10845798" cy="2970374"/>
          </a:xfrm>
        </p:grpSpPr>
        <p:sp>
          <p:nvSpPr>
            <p:cNvPr id="68" name="íşlïḍè">
              <a:extLst>
                <a:ext uri="{FF2B5EF4-FFF2-40B4-BE49-F238E27FC236}">
                  <a16:creationId xmlns:a16="http://schemas.microsoft.com/office/drawing/2014/main" id="{D95143B3-2F16-4E9C-9E17-81D359988006}"/>
                </a:ext>
              </a:extLst>
            </p:cNvPr>
            <p:cNvSpPr txBox="1"/>
            <p:nvPr/>
          </p:nvSpPr>
          <p:spPr>
            <a:xfrm>
              <a:off x="673102" y="2803893"/>
              <a:ext cx="3690543" cy="8521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0000" tIns="46800" rIns="90000" bIns="4680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SzPct val="25000"/>
              </a:pPr>
              <a:r>
                <a:rPr lang="en-US" sz="1600" b="1" dirty="0"/>
                <a:t>Unified fonts make</a:t>
              </a:r>
            </a:p>
            <a:p>
              <a:pPr>
                <a:buSzPct val="25000"/>
              </a:pPr>
              <a:r>
                <a:rPr lang="en-US" sz="1600" b="1" dirty="0"/>
                <a:t>reading more fluent.</a:t>
              </a:r>
            </a:p>
          </p:txBody>
        </p:sp>
        <p:sp>
          <p:nvSpPr>
            <p:cNvPr id="69" name="îśḷïḓe">
              <a:extLst>
                <a:ext uri="{FF2B5EF4-FFF2-40B4-BE49-F238E27FC236}">
                  <a16:creationId xmlns:a16="http://schemas.microsoft.com/office/drawing/2014/main" id="{2F4DE302-2B65-4481-8B51-AFE29089FE93}"/>
                </a:ext>
              </a:extLst>
            </p:cNvPr>
            <p:cNvSpPr txBox="1"/>
            <p:nvPr/>
          </p:nvSpPr>
          <p:spPr>
            <a:xfrm>
              <a:off x="673101" y="3656054"/>
              <a:ext cx="3690544" cy="104217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  <a:buSzPct val="25000"/>
              </a:pPr>
              <a:r>
                <a:rPr lang="en-US" sz="1000" dirty="0"/>
                <a:t>Theme color makes PPT more convenient to change.</a:t>
              </a:r>
            </a:p>
            <a:p>
              <a:pPr>
                <a:lnSpc>
                  <a:spcPct val="150000"/>
                </a:lnSpc>
                <a:buSzPct val="25000"/>
              </a:pPr>
              <a:r>
                <a:rPr lang="en-US" sz="1000" dirty="0"/>
                <a:t>Adjust the spacing to adapt to Chinese typesetting, use the reference line in PPT.</a:t>
              </a:r>
            </a:p>
          </p:txBody>
        </p:sp>
        <p:grpSp>
          <p:nvGrpSpPr>
            <p:cNvPr id="70" name="îślîďè">
              <a:extLst>
                <a:ext uri="{FF2B5EF4-FFF2-40B4-BE49-F238E27FC236}">
                  <a16:creationId xmlns:a16="http://schemas.microsoft.com/office/drawing/2014/main" id="{2D838BF5-B783-4CE0-9DFA-BB21A043DF8A}"/>
                </a:ext>
              </a:extLst>
            </p:cNvPr>
            <p:cNvGrpSpPr/>
            <p:nvPr/>
          </p:nvGrpSpPr>
          <p:grpSpPr>
            <a:xfrm>
              <a:off x="4363646" y="2336270"/>
              <a:ext cx="3690543" cy="2668506"/>
              <a:chOff x="1191000" y="2176393"/>
              <a:chExt cx="3464709" cy="2505213"/>
            </a:xfrm>
          </p:grpSpPr>
          <p:grpSp>
            <p:nvGrpSpPr>
              <p:cNvPr id="82" name="iṡ1íďé">
                <a:extLst>
                  <a:ext uri="{FF2B5EF4-FFF2-40B4-BE49-F238E27FC236}">
                    <a16:creationId xmlns:a16="http://schemas.microsoft.com/office/drawing/2014/main" id="{073384F6-1DD9-43E4-A212-06903A6C630F}"/>
                  </a:ext>
                </a:extLst>
              </p:cNvPr>
              <p:cNvGrpSpPr/>
              <p:nvPr/>
            </p:nvGrpSpPr>
            <p:grpSpPr>
              <a:xfrm flipV="1">
                <a:off x="1191000" y="3241333"/>
                <a:ext cx="3464709" cy="1440273"/>
                <a:chOff x="3810000" y="1303337"/>
                <a:chExt cx="2184401" cy="844552"/>
              </a:xfrm>
            </p:grpSpPr>
            <p:sp>
              <p:nvSpPr>
                <p:cNvPr id="88" name="işľíde">
                  <a:extLst>
                    <a:ext uri="{FF2B5EF4-FFF2-40B4-BE49-F238E27FC236}">
                      <a16:creationId xmlns:a16="http://schemas.microsoft.com/office/drawing/2014/main" id="{6E4D5EF8-7B10-41E7-B9A6-0A4629DDF2BD}"/>
                    </a:ext>
                  </a:extLst>
                </p:cNvPr>
                <p:cNvSpPr/>
                <p:nvPr/>
              </p:nvSpPr>
              <p:spPr bwMode="auto">
                <a:xfrm flipV="1">
                  <a:off x="3810000" y="1303337"/>
                  <a:ext cx="2184401" cy="839788"/>
                </a:xfrm>
                <a:custGeom>
                  <a:avLst/>
                  <a:gdLst/>
                  <a:ahLst/>
                  <a:cxnLst>
                    <a:cxn ang="0">
                      <a:pos x="1053" y="287"/>
                    </a:cxn>
                    <a:cxn ang="0">
                      <a:pos x="1053" y="286"/>
                    </a:cxn>
                    <a:cxn ang="0">
                      <a:pos x="1053" y="286"/>
                    </a:cxn>
                    <a:cxn ang="0">
                      <a:pos x="1052" y="286"/>
                    </a:cxn>
                    <a:cxn ang="0">
                      <a:pos x="931" y="54"/>
                    </a:cxn>
                    <a:cxn ang="0">
                      <a:pos x="931" y="55"/>
                    </a:cxn>
                    <a:cxn ang="0">
                      <a:pos x="930" y="52"/>
                    </a:cxn>
                    <a:cxn ang="0">
                      <a:pos x="927" y="48"/>
                    </a:cxn>
                    <a:cxn ang="0">
                      <a:pos x="812" y="16"/>
                    </a:cxn>
                    <a:cxn ang="0">
                      <a:pos x="528" y="0"/>
                    </a:cxn>
                    <a:cxn ang="0">
                      <a:pos x="243" y="16"/>
                    </a:cxn>
                    <a:cxn ang="0">
                      <a:pos x="128" y="48"/>
                    </a:cxn>
                    <a:cxn ang="0">
                      <a:pos x="127" y="48"/>
                    </a:cxn>
                    <a:cxn ang="0">
                      <a:pos x="4" y="283"/>
                    </a:cxn>
                    <a:cxn ang="0">
                      <a:pos x="1" y="286"/>
                    </a:cxn>
                    <a:cxn ang="0">
                      <a:pos x="1" y="287"/>
                    </a:cxn>
                    <a:cxn ang="0">
                      <a:pos x="0" y="290"/>
                    </a:cxn>
                    <a:cxn ang="0">
                      <a:pos x="155" y="328"/>
                    </a:cxn>
                    <a:cxn ang="0">
                      <a:pos x="528" y="344"/>
                    </a:cxn>
                    <a:cxn ang="0">
                      <a:pos x="900" y="328"/>
                    </a:cxn>
                    <a:cxn ang="0">
                      <a:pos x="1054" y="290"/>
                    </a:cxn>
                    <a:cxn ang="0">
                      <a:pos x="1054" y="287"/>
                    </a:cxn>
                    <a:cxn ang="0">
                      <a:pos x="1053" y="287"/>
                    </a:cxn>
                  </a:cxnLst>
                  <a:rect l="0" t="0" r="r" b="b"/>
                  <a:pathLst>
                    <a:path w="1054" h="344">
                      <a:moveTo>
                        <a:pt x="1053" y="287"/>
                      </a:moveTo>
                      <a:cubicBezTo>
                        <a:pt x="1053" y="287"/>
                        <a:pt x="1053" y="286"/>
                        <a:pt x="1053" y="286"/>
                      </a:cubicBezTo>
                      <a:cubicBezTo>
                        <a:pt x="1053" y="286"/>
                        <a:pt x="1053" y="286"/>
                        <a:pt x="1053" y="286"/>
                      </a:cubicBezTo>
                      <a:cubicBezTo>
                        <a:pt x="1053" y="286"/>
                        <a:pt x="1052" y="286"/>
                        <a:pt x="1052" y="286"/>
                      </a:cubicBezTo>
                      <a:cubicBezTo>
                        <a:pt x="1048" y="276"/>
                        <a:pt x="1026" y="236"/>
                        <a:pt x="931" y="54"/>
                      </a:cubicBezTo>
                      <a:cubicBezTo>
                        <a:pt x="931" y="54"/>
                        <a:pt x="931" y="54"/>
                        <a:pt x="931" y="55"/>
                      </a:cubicBezTo>
                      <a:cubicBezTo>
                        <a:pt x="931" y="54"/>
                        <a:pt x="931" y="53"/>
                        <a:pt x="930" y="52"/>
                      </a:cubicBezTo>
                      <a:cubicBezTo>
                        <a:pt x="930" y="52"/>
                        <a:pt x="930" y="52"/>
                        <a:pt x="927" y="48"/>
                      </a:cubicBezTo>
                      <a:cubicBezTo>
                        <a:pt x="918" y="35"/>
                        <a:pt x="879" y="25"/>
                        <a:pt x="812" y="16"/>
                      </a:cubicBezTo>
                      <a:cubicBezTo>
                        <a:pt x="734" y="5"/>
                        <a:pt x="638" y="0"/>
                        <a:pt x="528" y="0"/>
                      </a:cubicBezTo>
                      <a:cubicBezTo>
                        <a:pt x="417" y="0"/>
                        <a:pt x="323" y="5"/>
                        <a:pt x="243" y="16"/>
                      </a:cubicBezTo>
                      <a:cubicBezTo>
                        <a:pt x="175" y="25"/>
                        <a:pt x="136" y="37"/>
                        <a:pt x="128" y="48"/>
                      </a:cubicBezTo>
                      <a:cubicBezTo>
                        <a:pt x="128" y="48"/>
                        <a:pt x="128" y="48"/>
                        <a:pt x="127" y="48"/>
                      </a:cubicBezTo>
                      <a:cubicBezTo>
                        <a:pt x="127" y="48"/>
                        <a:pt x="127" y="48"/>
                        <a:pt x="4" y="283"/>
                      </a:cubicBezTo>
                      <a:cubicBezTo>
                        <a:pt x="3" y="284"/>
                        <a:pt x="2" y="285"/>
                        <a:pt x="1" y="286"/>
                      </a:cubicBezTo>
                      <a:cubicBezTo>
                        <a:pt x="1" y="287"/>
                        <a:pt x="1" y="287"/>
                        <a:pt x="1" y="287"/>
                      </a:cubicBezTo>
                      <a:cubicBezTo>
                        <a:pt x="1" y="288"/>
                        <a:pt x="0" y="289"/>
                        <a:pt x="0" y="290"/>
                      </a:cubicBezTo>
                      <a:cubicBezTo>
                        <a:pt x="0" y="305"/>
                        <a:pt x="52" y="318"/>
                        <a:pt x="155" y="328"/>
                      </a:cubicBezTo>
                      <a:cubicBezTo>
                        <a:pt x="258" y="339"/>
                        <a:pt x="382" y="344"/>
                        <a:pt x="528" y="344"/>
                      </a:cubicBezTo>
                      <a:cubicBezTo>
                        <a:pt x="672" y="344"/>
                        <a:pt x="797" y="339"/>
                        <a:pt x="900" y="328"/>
                      </a:cubicBezTo>
                      <a:cubicBezTo>
                        <a:pt x="1002" y="318"/>
                        <a:pt x="1054" y="305"/>
                        <a:pt x="1054" y="290"/>
                      </a:cubicBezTo>
                      <a:cubicBezTo>
                        <a:pt x="1054" y="289"/>
                        <a:pt x="1054" y="288"/>
                        <a:pt x="1054" y="287"/>
                      </a:cubicBezTo>
                      <a:cubicBezTo>
                        <a:pt x="1053" y="287"/>
                        <a:pt x="1053" y="287"/>
                        <a:pt x="1053" y="287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dirty="0"/>
                </a:p>
              </p:txBody>
            </p:sp>
            <p:sp>
              <p:nvSpPr>
                <p:cNvPr id="89" name="îşḻîdê">
                  <a:extLst>
                    <a:ext uri="{FF2B5EF4-FFF2-40B4-BE49-F238E27FC236}">
                      <a16:creationId xmlns:a16="http://schemas.microsoft.com/office/drawing/2014/main" id="{E72A7522-7B58-450B-9AB7-40B9961D4E97}"/>
                    </a:ext>
                  </a:extLst>
                </p:cNvPr>
                <p:cNvSpPr/>
                <p:nvPr/>
              </p:nvSpPr>
              <p:spPr bwMode="auto">
                <a:xfrm>
                  <a:off x="4075114" y="1879167"/>
                  <a:ext cx="1654174" cy="268722"/>
                </a:xfrm>
                <a:prstGeom prst="ellipse">
                  <a:avLst/>
                </a:prstGeom>
                <a:solidFill>
                  <a:schemeClr val="accent1">
                    <a:lumMod val="75000"/>
                  </a:schemeClr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 fontScale="92500"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dirty="0"/>
                </a:p>
              </p:txBody>
            </p:sp>
          </p:grpSp>
          <p:grpSp>
            <p:nvGrpSpPr>
              <p:cNvPr id="83" name="îṧḻïḋé">
                <a:extLst>
                  <a:ext uri="{FF2B5EF4-FFF2-40B4-BE49-F238E27FC236}">
                    <a16:creationId xmlns:a16="http://schemas.microsoft.com/office/drawing/2014/main" id="{41548D61-CFF9-4111-BE2A-4F4B4FF306A4}"/>
                  </a:ext>
                </a:extLst>
              </p:cNvPr>
              <p:cNvGrpSpPr/>
              <p:nvPr/>
            </p:nvGrpSpPr>
            <p:grpSpPr>
              <a:xfrm flipV="1">
                <a:off x="1704461" y="2176393"/>
                <a:ext cx="2437787" cy="1013384"/>
                <a:chOff x="3810000" y="1303337"/>
                <a:chExt cx="2184401" cy="844552"/>
              </a:xfrm>
            </p:grpSpPr>
            <p:sp>
              <p:nvSpPr>
                <p:cNvPr id="86" name="iṧ1îḑè">
                  <a:extLst>
                    <a:ext uri="{FF2B5EF4-FFF2-40B4-BE49-F238E27FC236}">
                      <a16:creationId xmlns:a16="http://schemas.microsoft.com/office/drawing/2014/main" id="{318A9BA3-DACC-422E-A006-0ED8B800DAF8}"/>
                    </a:ext>
                  </a:extLst>
                </p:cNvPr>
                <p:cNvSpPr/>
                <p:nvPr/>
              </p:nvSpPr>
              <p:spPr bwMode="auto">
                <a:xfrm flipV="1">
                  <a:off x="3810000" y="1303337"/>
                  <a:ext cx="2184401" cy="839788"/>
                </a:xfrm>
                <a:custGeom>
                  <a:avLst/>
                  <a:gdLst/>
                  <a:ahLst/>
                  <a:cxnLst>
                    <a:cxn ang="0">
                      <a:pos x="1053" y="287"/>
                    </a:cxn>
                    <a:cxn ang="0">
                      <a:pos x="1053" y="286"/>
                    </a:cxn>
                    <a:cxn ang="0">
                      <a:pos x="1053" y="286"/>
                    </a:cxn>
                    <a:cxn ang="0">
                      <a:pos x="1052" y="286"/>
                    </a:cxn>
                    <a:cxn ang="0">
                      <a:pos x="931" y="54"/>
                    </a:cxn>
                    <a:cxn ang="0">
                      <a:pos x="931" y="55"/>
                    </a:cxn>
                    <a:cxn ang="0">
                      <a:pos x="930" y="52"/>
                    </a:cxn>
                    <a:cxn ang="0">
                      <a:pos x="927" y="48"/>
                    </a:cxn>
                    <a:cxn ang="0">
                      <a:pos x="812" y="16"/>
                    </a:cxn>
                    <a:cxn ang="0">
                      <a:pos x="528" y="0"/>
                    </a:cxn>
                    <a:cxn ang="0">
                      <a:pos x="243" y="16"/>
                    </a:cxn>
                    <a:cxn ang="0">
                      <a:pos x="128" y="48"/>
                    </a:cxn>
                    <a:cxn ang="0">
                      <a:pos x="127" y="48"/>
                    </a:cxn>
                    <a:cxn ang="0">
                      <a:pos x="4" y="283"/>
                    </a:cxn>
                    <a:cxn ang="0">
                      <a:pos x="1" y="286"/>
                    </a:cxn>
                    <a:cxn ang="0">
                      <a:pos x="1" y="287"/>
                    </a:cxn>
                    <a:cxn ang="0">
                      <a:pos x="0" y="290"/>
                    </a:cxn>
                    <a:cxn ang="0">
                      <a:pos x="155" y="328"/>
                    </a:cxn>
                    <a:cxn ang="0">
                      <a:pos x="528" y="344"/>
                    </a:cxn>
                    <a:cxn ang="0">
                      <a:pos x="900" y="328"/>
                    </a:cxn>
                    <a:cxn ang="0">
                      <a:pos x="1054" y="290"/>
                    </a:cxn>
                    <a:cxn ang="0">
                      <a:pos x="1054" y="287"/>
                    </a:cxn>
                    <a:cxn ang="0">
                      <a:pos x="1053" y="287"/>
                    </a:cxn>
                  </a:cxnLst>
                  <a:rect l="0" t="0" r="r" b="b"/>
                  <a:pathLst>
                    <a:path w="1054" h="344">
                      <a:moveTo>
                        <a:pt x="1053" y="287"/>
                      </a:moveTo>
                      <a:cubicBezTo>
                        <a:pt x="1053" y="287"/>
                        <a:pt x="1053" y="286"/>
                        <a:pt x="1053" y="286"/>
                      </a:cubicBezTo>
                      <a:cubicBezTo>
                        <a:pt x="1053" y="286"/>
                        <a:pt x="1053" y="286"/>
                        <a:pt x="1053" y="286"/>
                      </a:cubicBezTo>
                      <a:cubicBezTo>
                        <a:pt x="1053" y="286"/>
                        <a:pt x="1052" y="286"/>
                        <a:pt x="1052" y="286"/>
                      </a:cubicBezTo>
                      <a:cubicBezTo>
                        <a:pt x="1048" y="276"/>
                        <a:pt x="1026" y="236"/>
                        <a:pt x="931" y="54"/>
                      </a:cubicBezTo>
                      <a:cubicBezTo>
                        <a:pt x="931" y="54"/>
                        <a:pt x="931" y="54"/>
                        <a:pt x="931" y="55"/>
                      </a:cubicBezTo>
                      <a:cubicBezTo>
                        <a:pt x="931" y="54"/>
                        <a:pt x="931" y="53"/>
                        <a:pt x="930" y="52"/>
                      </a:cubicBezTo>
                      <a:cubicBezTo>
                        <a:pt x="930" y="52"/>
                        <a:pt x="930" y="52"/>
                        <a:pt x="927" y="48"/>
                      </a:cubicBezTo>
                      <a:cubicBezTo>
                        <a:pt x="918" y="35"/>
                        <a:pt x="879" y="25"/>
                        <a:pt x="812" y="16"/>
                      </a:cubicBezTo>
                      <a:cubicBezTo>
                        <a:pt x="734" y="5"/>
                        <a:pt x="638" y="0"/>
                        <a:pt x="528" y="0"/>
                      </a:cubicBezTo>
                      <a:cubicBezTo>
                        <a:pt x="417" y="0"/>
                        <a:pt x="323" y="5"/>
                        <a:pt x="243" y="16"/>
                      </a:cubicBezTo>
                      <a:cubicBezTo>
                        <a:pt x="175" y="25"/>
                        <a:pt x="136" y="37"/>
                        <a:pt x="128" y="48"/>
                      </a:cubicBezTo>
                      <a:cubicBezTo>
                        <a:pt x="128" y="48"/>
                        <a:pt x="128" y="48"/>
                        <a:pt x="127" y="48"/>
                      </a:cubicBezTo>
                      <a:cubicBezTo>
                        <a:pt x="127" y="48"/>
                        <a:pt x="127" y="48"/>
                        <a:pt x="4" y="283"/>
                      </a:cubicBezTo>
                      <a:cubicBezTo>
                        <a:pt x="3" y="284"/>
                        <a:pt x="2" y="285"/>
                        <a:pt x="1" y="286"/>
                      </a:cubicBezTo>
                      <a:cubicBezTo>
                        <a:pt x="1" y="287"/>
                        <a:pt x="1" y="287"/>
                        <a:pt x="1" y="287"/>
                      </a:cubicBezTo>
                      <a:cubicBezTo>
                        <a:pt x="1" y="288"/>
                        <a:pt x="0" y="289"/>
                        <a:pt x="0" y="290"/>
                      </a:cubicBezTo>
                      <a:cubicBezTo>
                        <a:pt x="0" y="305"/>
                        <a:pt x="52" y="318"/>
                        <a:pt x="155" y="328"/>
                      </a:cubicBezTo>
                      <a:cubicBezTo>
                        <a:pt x="258" y="339"/>
                        <a:pt x="382" y="344"/>
                        <a:pt x="528" y="344"/>
                      </a:cubicBezTo>
                      <a:cubicBezTo>
                        <a:pt x="672" y="344"/>
                        <a:pt x="797" y="339"/>
                        <a:pt x="900" y="328"/>
                      </a:cubicBezTo>
                      <a:cubicBezTo>
                        <a:pt x="1002" y="318"/>
                        <a:pt x="1054" y="305"/>
                        <a:pt x="1054" y="290"/>
                      </a:cubicBezTo>
                      <a:cubicBezTo>
                        <a:pt x="1054" y="289"/>
                        <a:pt x="1054" y="288"/>
                        <a:pt x="1054" y="287"/>
                      </a:cubicBezTo>
                      <a:cubicBezTo>
                        <a:pt x="1053" y="287"/>
                        <a:pt x="1053" y="287"/>
                        <a:pt x="1053" y="287"/>
                      </a:cubicBezTo>
                      <a:close/>
                    </a:path>
                  </a:pathLst>
                </a:custGeom>
                <a:solidFill>
                  <a:schemeClr val="tx1">
                    <a:lumMod val="50000"/>
                    <a:lumOff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dirty="0"/>
                </a:p>
              </p:txBody>
            </p:sp>
            <p:sp>
              <p:nvSpPr>
                <p:cNvPr id="87" name="íṩļïdè">
                  <a:extLst>
                    <a:ext uri="{FF2B5EF4-FFF2-40B4-BE49-F238E27FC236}">
                      <a16:creationId xmlns:a16="http://schemas.microsoft.com/office/drawing/2014/main" id="{058122F9-D83F-4B26-A140-5C3E0BE6C42C}"/>
                    </a:ext>
                  </a:extLst>
                </p:cNvPr>
                <p:cNvSpPr/>
                <p:nvPr/>
              </p:nvSpPr>
              <p:spPr bwMode="auto">
                <a:xfrm>
                  <a:off x="4075114" y="1879167"/>
                  <a:ext cx="1654174" cy="268722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dirty="0"/>
                </a:p>
              </p:txBody>
            </p:sp>
          </p:grpSp>
          <p:sp>
            <p:nvSpPr>
              <p:cNvPr id="84" name="ïṥlïďé">
                <a:extLst>
                  <a:ext uri="{FF2B5EF4-FFF2-40B4-BE49-F238E27FC236}">
                    <a16:creationId xmlns:a16="http://schemas.microsoft.com/office/drawing/2014/main" id="{483A7F58-CD0E-46C7-B9D5-0B34C55605D1}"/>
                  </a:ext>
                </a:extLst>
              </p:cNvPr>
              <p:cNvSpPr txBox="1"/>
              <p:nvPr/>
            </p:nvSpPr>
            <p:spPr>
              <a:xfrm>
                <a:off x="2309398" y="2550390"/>
                <a:ext cx="1227912" cy="55440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altLang="zh-CN" sz="1600" b="1" dirty="0">
                    <a:solidFill>
                      <a:schemeClr val="bg1"/>
                    </a:solidFill>
                  </a:rPr>
                  <a:t>Text</a:t>
                </a:r>
                <a:endParaRPr lang="zh-CN" altLang="en-US" sz="16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5" name="ïṩliḓé">
                <a:extLst>
                  <a:ext uri="{FF2B5EF4-FFF2-40B4-BE49-F238E27FC236}">
                    <a16:creationId xmlns:a16="http://schemas.microsoft.com/office/drawing/2014/main" id="{27AB4A9E-7ACA-42C6-B274-DCFBE73A50A7}"/>
                  </a:ext>
                </a:extLst>
              </p:cNvPr>
              <p:cNvSpPr txBox="1"/>
              <p:nvPr/>
            </p:nvSpPr>
            <p:spPr>
              <a:xfrm>
                <a:off x="2309398" y="3970528"/>
                <a:ext cx="1227912" cy="55440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altLang="zh-CN" sz="1600" b="1" dirty="0">
                    <a:solidFill>
                      <a:schemeClr val="bg1"/>
                    </a:solidFill>
                  </a:rPr>
                  <a:t>Text</a:t>
                </a:r>
                <a:endParaRPr lang="zh-CN" altLang="en-US" sz="16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71" name="íšlîďe">
              <a:extLst>
                <a:ext uri="{FF2B5EF4-FFF2-40B4-BE49-F238E27FC236}">
                  <a16:creationId xmlns:a16="http://schemas.microsoft.com/office/drawing/2014/main" id="{415750DB-3EFA-426C-AE18-E4CD34792D50}"/>
                </a:ext>
              </a:extLst>
            </p:cNvPr>
            <p:cNvSpPr/>
            <p:nvPr/>
          </p:nvSpPr>
          <p:spPr>
            <a:xfrm>
              <a:off x="4414626" y="5209675"/>
              <a:ext cx="3593975" cy="8368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grpSp>
          <p:nvGrpSpPr>
            <p:cNvPr id="72" name="ïSlîḓe">
              <a:extLst>
                <a:ext uri="{FF2B5EF4-FFF2-40B4-BE49-F238E27FC236}">
                  <a16:creationId xmlns:a16="http://schemas.microsoft.com/office/drawing/2014/main" id="{F9F265F1-94CA-407C-99F7-4FD285C5E7B0}"/>
                </a:ext>
              </a:extLst>
            </p:cNvPr>
            <p:cNvGrpSpPr/>
            <p:nvPr/>
          </p:nvGrpSpPr>
          <p:grpSpPr>
            <a:xfrm>
              <a:off x="7112758" y="2583846"/>
              <a:ext cx="572876" cy="572880"/>
              <a:chOff x="5371847" y="2312243"/>
              <a:chExt cx="656438" cy="656442"/>
            </a:xfrm>
          </p:grpSpPr>
          <p:sp>
            <p:nvSpPr>
              <p:cNvPr id="80" name="ïŝḻíḓé">
                <a:extLst>
                  <a:ext uri="{FF2B5EF4-FFF2-40B4-BE49-F238E27FC236}">
                    <a16:creationId xmlns:a16="http://schemas.microsoft.com/office/drawing/2014/main" id="{11FA524D-F34E-47F1-8C56-CE2CE736F625}"/>
                  </a:ext>
                </a:extLst>
              </p:cNvPr>
              <p:cNvSpPr/>
              <p:nvPr/>
            </p:nvSpPr>
            <p:spPr>
              <a:xfrm>
                <a:off x="5371847" y="2312243"/>
                <a:ext cx="656438" cy="656442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dirty="0"/>
              </a:p>
            </p:txBody>
          </p:sp>
          <p:sp>
            <p:nvSpPr>
              <p:cNvPr id="81" name="ísļíḍè">
                <a:extLst>
                  <a:ext uri="{FF2B5EF4-FFF2-40B4-BE49-F238E27FC236}">
                    <a16:creationId xmlns:a16="http://schemas.microsoft.com/office/drawing/2014/main" id="{85D1882D-2DCB-412B-8977-A3CCA9A2965C}"/>
                  </a:ext>
                </a:extLst>
              </p:cNvPr>
              <p:cNvSpPr/>
              <p:nvPr/>
            </p:nvSpPr>
            <p:spPr bwMode="auto">
              <a:xfrm>
                <a:off x="5546574" y="2473102"/>
                <a:ext cx="306980" cy="334720"/>
              </a:xfrm>
              <a:custGeom>
                <a:avLst/>
                <a:gdLst>
                  <a:gd name="T0" fmla="*/ 168 w 208"/>
                  <a:gd name="T1" fmla="*/ 0 h 224"/>
                  <a:gd name="T2" fmla="*/ 168 w 208"/>
                  <a:gd name="T3" fmla="*/ 68 h 224"/>
                  <a:gd name="T4" fmla="*/ 108 w 208"/>
                  <a:gd name="T5" fmla="*/ 68 h 224"/>
                  <a:gd name="T6" fmla="*/ 108 w 208"/>
                  <a:gd name="T7" fmla="*/ 124 h 224"/>
                  <a:gd name="T8" fmla="*/ 192 w 208"/>
                  <a:gd name="T9" fmla="*/ 124 h 224"/>
                  <a:gd name="T10" fmla="*/ 192 w 208"/>
                  <a:gd name="T11" fmla="*/ 184 h 224"/>
                  <a:gd name="T12" fmla="*/ 208 w 208"/>
                  <a:gd name="T13" fmla="*/ 184 h 224"/>
                  <a:gd name="T14" fmla="*/ 208 w 208"/>
                  <a:gd name="T15" fmla="*/ 224 h 224"/>
                  <a:gd name="T16" fmla="*/ 168 w 208"/>
                  <a:gd name="T17" fmla="*/ 224 h 224"/>
                  <a:gd name="T18" fmla="*/ 168 w 208"/>
                  <a:gd name="T19" fmla="*/ 184 h 224"/>
                  <a:gd name="T20" fmla="*/ 184 w 208"/>
                  <a:gd name="T21" fmla="*/ 184 h 224"/>
                  <a:gd name="T22" fmla="*/ 184 w 208"/>
                  <a:gd name="T23" fmla="*/ 132 h 224"/>
                  <a:gd name="T24" fmla="*/ 108 w 208"/>
                  <a:gd name="T25" fmla="*/ 132 h 224"/>
                  <a:gd name="T26" fmla="*/ 108 w 208"/>
                  <a:gd name="T27" fmla="*/ 184 h 224"/>
                  <a:gd name="T28" fmla="*/ 124 w 208"/>
                  <a:gd name="T29" fmla="*/ 184 h 224"/>
                  <a:gd name="T30" fmla="*/ 124 w 208"/>
                  <a:gd name="T31" fmla="*/ 224 h 224"/>
                  <a:gd name="T32" fmla="*/ 84 w 208"/>
                  <a:gd name="T33" fmla="*/ 224 h 224"/>
                  <a:gd name="T34" fmla="*/ 84 w 208"/>
                  <a:gd name="T35" fmla="*/ 184 h 224"/>
                  <a:gd name="T36" fmla="*/ 100 w 208"/>
                  <a:gd name="T37" fmla="*/ 184 h 224"/>
                  <a:gd name="T38" fmla="*/ 100 w 208"/>
                  <a:gd name="T39" fmla="*/ 132 h 224"/>
                  <a:gd name="T40" fmla="*/ 24 w 208"/>
                  <a:gd name="T41" fmla="*/ 132 h 224"/>
                  <a:gd name="T42" fmla="*/ 24 w 208"/>
                  <a:gd name="T43" fmla="*/ 184 h 224"/>
                  <a:gd name="T44" fmla="*/ 40 w 208"/>
                  <a:gd name="T45" fmla="*/ 184 h 224"/>
                  <a:gd name="T46" fmla="*/ 40 w 208"/>
                  <a:gd name="T47" fmla="*/ 224 h 224"/>
                  <a:gd name="T48" fmla="*/ 0 w 208"/>
                  <a:gd name="T49" fmla="*/ 224 h 224"/>
                  <a:gd name="T50" fmla="*/ 0 w 208"/>
                  <a:gd name="T51" fmla="*/ 184 h 224"/>
                  <a:gd name="T52" fmla="*/ 16 w 208"/>
                  <a:gd name="T53" fmla="*/ 184 h 224"/>
                  <a:gd name="T54" fmla="*/ 16 w 208"/>
                  <a:gd name="T55" fmla="*/ 124 h 224"/>
                  <a:gd name="T56" fmla="*/ 100 w 208"/>
                  <a:gd name="T57" fmla="*/ 124 h 224"/>
                  <a:gd name="T58" fmla="*/ 100 w 208"/>
                  <a:gd name="T59" fmla="*/ 68 h 224"/>
                  <a:gd name="T60" fmla="*/ 40 w 208"/>
                  <a:gd name="T61" fmla="*/ 68 h 224"/>
                  <a:gd name="T62" fmla="*/ 40 w 208"/>
                  <a:gd name="T63" fmla="*/ 0 h 224"/>
                  <a:gd name="T64" fmla="*/ 168 w 208"/>
                  <a:gd name="T65" fmla="*/ 0 h 224"/>
                  <a:gd name="T66" fmla="*/ 32 w 208"/>
                  <a:gd name="T67" fmla="*/ 192 h 224"/>
                  <a:gd name="T68" fmla="*/ 8 w 208"/>
                  <a:gd name="T69" fmla="*/ 192 h 224"/>
                  <a:gd name="T70" fmla="*/ 8 w 208"/>
                  <a:gd name="T71" fmla="*/ 216 h 224"/>
                  <a:gd name="T72" fmla="*/ 32 w 208"/>
                  <a:gd name="T73" fmla="*/ 216 h 224"/>
                  <a:gd name="T74" fmla="*/ 32 w 208"/>
                  <a:gd name="T75" fmla="*/ 192 h 224"/>
                  <a:gd name="T76" fmla="*/ 116 w 208"/>
                  <a:gd name="T77" fmla="*/ 192 h 224"/>
                  <a:gd name="T78" fmla="*/ 92 w 208"/>
                  <a:gd name="T79" fmla="*/ 192 h 224"/>
                  <a:gd name="T80" fmla="*/ 92 w 208"/>
                  <a:gd name="T81" fmla="*/ 216 h 224"/>
                  <a:gd name="T82" fmla="*/ 116 w 208"/>
                  <a:gd name="T83" fmla="*/ 216 h 224"/>
                  <a:gd name="T84" fmla="*/ 116 w 208"/>
                  <a:gd name="T85" fmla="*/ 192 h 224"/>
                  <a:gd name="T86" fmla="*/ 200 w 208"/>
                  <a:gd name="T87" fmla="*/ 192 h 224"/>
                  <a:gd name="T88" fmla="*/ 176 w 208"/>
                  <a:gd name="T89" fmla="*/ 192 h 224"/>
                  <a:gd name="T90" fmla="*/ 176 w 208"/>
                  <a:gd name="T91" fmla="*/ 216 h 224"/>
                  <a:gd name="T92" fmla="*/ 200 w 208"/>
                  <a:gd name="T93" fmla="*/ 216 h 224"/>
                  <a:gd name="T94" fmla="*/ 200 w 208"/>
                  <a:gd name="T95" fmla="*/ 192 h 224"/>
                  <a:gd name="T96" fmla="*/ 160 w 208"/>
                  <a:gd name="T97" fmla="*/ 8 h 224"/>
                  <a:gd name="T98" fmla="*/ 48 w 208"/>
                  <a:gd name="T99" fmla="*/ 8 h 224"/>
                  <a:gd name="T100" fmla="*/ 48 w 208"/>
                  <a:gd name="T101" fmla="*/ 60 h 224"/>
                  <a:gd name="T102" fmla="*/ 160 w 208"/>
                  <a:gd name="T103" fmla="*/ 60 h 224"/>
                  <a:gd name="T104" fmla="*/ 160 w 208"/>
                  <a:gd name="T105" fmla="*/ 8 h 224"/>
                  <a:gd name="T106" fmla="*/ 66 w 208"/>
                  <a:gd name="T107" fmla="*/ 36 h 224"/>
                  <a:gd name="T108" fmla="*/ 72 w 208"/>
                  <a:gd name="T109" fmla="*/ 42 h 224"/>
                  <a:gd name="T110" fmla="*/ 66 w 208"/>
                  <a:gd name="T111" fmla="*/ 48 h 224"/>
                  <a:gd name="T112" fmla="*/ 60 w 208"/>
                  <a:gd name="T113" fmla="*/ 42 h 224"/>
                  <a:gd name="T114" fmla="*/ 66 w 208"/>
                  <a:gd name="T115" fmla="*/ 36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08" h="224">
                    <a:moveTo>
                      <a:pt x="168" y="0"/>
                    </a:moveTo>
                    <a:cubicBezTo>
                      <a:pt x="168" y="68"/>
                      <a:pt x="168" y="68"/>
                      <a:pt x="168" y="68"/>
                    </a:cubicBezTo>
                    <a:cubicBezTo>
                      <a:pt x="108" y="68"/>
                      <a:pt x="108" y="68"/>
                      <a:pt x="108" y="68"/>
                    </a:cubicBezTo>
                    <a:cubicBezTo>
                      <a:pt x="108" y="124"/>
                      <a:pt x="108" y="124"/>
                      <a:pt x="108" y="124"/>
                    </a:cubicBezTo>
                    <a:cubicBezTo>
                      <a:pt x="192" y="124"/>
                      <a:pt x="192" y="124"/>
                      <a:pt x="192" y="124"/>
                    </a:cubicBezTo>
                    <a:cubicBezTo>
                      <a:pt x="192" y="184"/>
                      <a:pt x="192" y="184"/>
                      <a:pt x="192" y="184"/>
                    </a:cubicBezTo>
                    <a:cubicBezTo>
                      <a:pt x="208" y="184"/>
                      <a:pt x="208" y="184"/>
                      <a:pt x="208" y="184"/>
                    </a:cubicBezTo>
                    <a:cubicBezTo>
                      <a:pt x="208" y="224"/>
                      <a:pt x="208" y="224"/>
                      <a:pt x="208" y="224"/>
                    </a:cubicBezTo>
                    <a:cubicBezTo>
                      <a:pt x="168" y="224"/>
                      <a:pt x="168" y="224"/>
                      <a:pt x="168" y="224"/>
                    </a:cubicBezTo>
                    <a:cubicBezTo>
                      <a:pt x="168" y="184"/>
                      <a:pt x="168" y="184"/>
                      <a:pt x="168" y="184"/>
                    </a:cubicBezTo>
                    <a:cubicBezTo>
                      <a:pt x="184" y="184"/>
                      <a:pt x="184" y="184"/>
                      <a:pt x="184" y="184"/>
                    </a:cubicBezTo>
                    <a:cubicBezTo>
                      <a:pt x="184" y="132"/>
                      <a:pt x="184" y="132"/>
                      <a:pt x="184" y="132"/>
                    </a:cubicBezTo>
                    <a:cubicBezTo>
                      <a:pt x="108" y="132"/>
                      <a:pt x="108" y="132"/>
                      <a:pt x="108" y="132"/>
                    </a:cubicBezTo>
                    <a:cubicBezTo>
                      <a:pt x="108" y="184"/>
                      <a:pt x="108" y="184"/>
                      <a:pt x="108" y="184"/>
                    </a:cubicBezTo>
                    <a:cubicBezTo>
                      <a:pt x="124" y="184"/>
                      <a:pt x="124" y="184"/>
                      <a:pt x="124" y="184"/>
                    </a:cubicBezTo>
                    <a:cubicBezTo>
                      <a:pt x="124" y="224"/>
                      <a:pt x="124" y="224"/>
                      <a:pt x="124" y="224"/>
                    </a:cubicBezTo>
                    <a:cubicBezTo>
                      <a:pt x="84" y="224"/>
                      <a:pt x="84" y="224"/>
                      <a:pt x="84" y="224"/>
                    </a:cubicBezTo>
                    <a:cubicBezTo>
                      <a:pt x="84" y="184"/>
                      <a:pt x="84" y="184"/>
                      <a:pt x="84" y="184"/>
                    </a:cubicBezTo>
                    <a:cubicBezTo>
                      <a:pt x="100" y="184"/>
                      <a:pt x="100" y="184"/>
                      <a:pt x="100" y="184"/>
                    </a:cubicBezTo>
                    <a:cubicBezTo>
                      <a:pt x="100" y="132"/>
                      <a:pt x="100" y="132"/>
                      <a:pt x="100" y="132"/>
                    </a:cubicBezTo>
                    <a:cubicBezTo>
                      <a:pt x="24" y="132"/>
                      <a:pt x="24" y="132"/>
                      <a:pt x="24" y="132"/>
                    </a:cubicBezTo>
                    <a:cubicBezTo>
                      <a:pt x="24" y="184"/>
                      <a:pt x="24" y="184"/>
                      <a:pt x="24" y="184"/>
                    </a:cubicBezTo>
                    <a:cubicBezTo>
                      <a:pt x="40" y="184"/>
                      <a:pt x="40" y="184"/>
                      <a:pt x="40" y="184"/>
                    </a:cubicBezTo>
                    <a:cubicBezTo>
                      <a:pt x="40" y="224"/>
                      <a:pt x="40" y="224"/>
                      <a:pt x="40" y="224"/>
                    </a:cubicBezTo>
                    <a:cubicBezTo>
                      <a:pt x="0" y="224"/>
                      <a:pt x="0" y="224"/>
                      <a:pt x="0" y="224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16" y="184"/>
                      <a:pt x="16" y="184"/>
                      <a:pt x="16" y="184"/>
                    </a:cubicBezTo>
                    <a:cubicBezTo>
                      <a:pt x="16" y="124"/>
                      <a:pt x="16" y="124"/>
                      <a:pt x="16" y="124"/>
                    </a:cubicBezTo>
                    <a:cubicBezTo>
                      <a:pt x="100" y="124"/>
                      <a:pt x="100" y="124"/>
                      <a:pt x="100" y="124"/>
                    </a:cubicBezTo>
                    <a:cubicBezTo>
                      <a:pt x="100" y="68"/>
                      <a:pt x="100" y="68"/>
                      <a:pt x="100" y="68"/>
                    </a:cubicBezTo>
                    <a:cubicBezTo>
                      <a:pt x="40" y="68"/>
                      <a:pt x="40" y="68"/>
                      <a:pt x="40" y="68"/>
                    </a:cubicBezTo>
                    <a:cubicBezTo>
                      <a:pt x="40" y="0"/>
                      <a:pt x="40" y="0"/>
                      <a:pt x="40" y="0"/>
                    </a:cubicBezTo>
                    <a:lnTo>
                      <a:pt x="168" y="0"/>
                    </a:lnTo>
                    <a:close/>
                    <a:moveTo>
                      <a:pt x="32" y="192"/>
                    </a:moveTo>
                    <a:cubicBezTo>
                      <a:pt x="8" y="192"/>
                      <a:pt x="8" y="192"/>
                      <a:pt x="8" y="192"/>
                    </a:cubicBezTo>
                    <a:cubicBezTo>
                      <a:pt x="8" y="216"/>
                      <a:pt x="8" y="216"/>
                      <a:pt x="8" y="216"/>
                    </a:cubicBezTo>
                    <a:cubicBezTo>
                      <a:pt x="32" y="216"/>
                      <a:pt x="32" y="216"/>
                      <a:pt x="32" y="216"/>
                    </a:cubicBezTo>
                    <a:lnTo>
                      <a:pt x="32" y="192"/>
                    </a:lnTo>
                    <a:close/>
                    <a:moveTo>
                      <a:pt x="116" y="192"/>
                    </a:moveTo>
                    <a:cubicBezTo>
                      <a:pt x="92" y="192"/>
                      <a:pt x="92" y="192"/>
                      <a:pt x="92" y="192"/>
                    </a:cubicBezTo>
                    <a:cubicBezTo>
                      <a:pt x="92" y="216"/>
                      <a:pt x="92" y="216"/>
                      <a:pt x="92" y="216"/>
                    </a:cubicBezTo>
                    <a:cubicBezTo>
                      <a:pt x="116" y="216"/>
                      <a:pt x="116" y="216"/>
                      <a:pt x="116" y="216"/>
                    </a:cubicBezTo>
                    <a:lnTo>
                      <a:pt x="116" y="192"/>
                    </a:lnTo>
                    <a:close/>
                    <a:moveTo>
                      <a:pt x="200" y="192"/>
                    </a:moveTo>
                    <a:cubicBezTo>
                      <a:pt x="176" y="192"/>
                      <a:pt x="176" y="192"/>
                      <a:pt x="176" y="192"/>
                    </a:cubicBezTo>
                    <a:cubicBezTo>
                      <a:pt x="176" y="216"/>
                      <a:pt x="176" y="216"/>
                      <a:pt x="176" y="216"/>
                    </a:cubicBezTo>
                    <a:cubicBezTo>
                      <a:pt x="200" y="216"/>
                      <a:pt x="200" y="216"/>
                      <a:pt x="200" y="216"/>
                    </a:cubicBezTo>
                    <a:lnTo>
                      <a:pt x="200" y="192"/>
                    </a:lnTo>
                    <a:close/>
                    <a:moveTo>
                      <a:pt x="160" y="8"/>
                    </a:moveTo>
                    <a:cubicBezTo>
                      <a:pt x="48" y="8"/>
                      <a:pt x="48" y="8"/>
                      <a:pt x="48" y="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160" y="60"/>
                      <a:pt x="160" y="60"/>
                      <a:pt x="160" y="60"/>
                    </a:cubicBezTo>
                    <a:lnTo>
                      <a:pt x="160" y="8"/>
                    </a:lnTo>
                    <a:close/>
                    <a:moveTo>
                      <a:pt x="66" y="36"/>
                    </a:moveTo>
                    <a:cubicBezTo>
                      <a:pt x="69" y="36"/>
                      <a:pt x="72" y="39"/>
                      <a:pt x="72" y="42"/>
                    </a:cubicBezTo>
                    <a:cubicBezTo>
                      <a:pt x="72" y="45"/>
                      <a:pt x="69" y="48"/>
                      <a:pt x="66" y="48"/>
                    </a:cubicBezTo>
                    <a:cubicBezTo>
                      <a:pt x="63" y="48"/>
                      <a:pt x="60" y="45"/>
                      <a:pt x="60" y="42"/>
                    </a:cubicBezTo>
                    <a:cubicBezTo>
                      <a:pt x="60" y="39"/>
                      <a:pt x="63" y="36"/>
                      <a:pt x="66" y="3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182832" tIns="91416" rIns="182832" bIns="9141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7198" dirty="0"/>
              </a:p>
            </p:txBody>
          </p:sp>
        </p:grpSp>
        <p:sp>
          <p:nvSpPr>
            <p:cNvPr id="73" name="îṡḻiḑé">
              <a:extLst>
                <a:ext uri="{FF2B5EF4-FFF2-40B4-BE49-F238E27FC236}">
                  <a16:creationId xmlns:a16="http://schemas.microsoft.com/office/drawing/2014/main" id="{620FE5AF-3EF1-4288-A577-52B22618311A}"/>
                </a:ext>
              </a:extLst>
            </p:cNvPr>
            <p:cNvSpPr txBox="1"/>
            <p:nvPr/>
          </p:nvSpPr>
          <p:spPr>
            <a:xfrm>
              <a:off x="7826015" y="2794805"/>
              <a:ext cx="3692884" cy="650813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74" name="ïŝḻíḓé">
              <a:extLst>
                <a:ext uri="{FF2B5EF4-FFF2-40B4-BE49-F238E27FC236}">
                  <a16:creationId xmlns:a16="http://schemas.microsoft.com/office/drawing/2014/main" id="{97912DD3-217E-40EA-8808-940B37F8FB19}"/>
                </a:ext>
              </a:extLst>
            </p:cNvPr>
            <p:cNvSpPr txBox="1"/>
            <p:nvPr/>
          </p:nvSpPr>
          <p:spPr>
            <a:xfrm>
              <a:off x="7826015" y="2322986"/>
              <a:ext cx="3692884" cy="471820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b="1" dirty="0"/>
                <a:t>Text here</a:t>
              </a:r>
              <a:endParaRPr lang="zh-CN" altLang="en-US" b="1" dirty="0"/>
            </a:p>
          </p:txBody>
        </p:sp>
        <p:grpSp>
          <p:nvGrpSpPr>
            <p:cNvPr id="75" name="îS1iḑe">
              <a:extLst>
                <a:ext uri="{FF2B5EF4-FFF2-40B4-BE49-F238E27FC236}">
                  <a16:creationId xmlns:a16="http://schemas.microsoft.com/office/drawing/2014/main" id="{0778C93E-BE88-4E29-8CAD-06154824F9C3}"/>
                </a:ext>
              </a:extLst>
            </p:cNvPr>
            <p:cNvGrpSpPr/>
            <p:nvPr/>
          </p:nvGrpSpPr>
          <p:grpSpPr>
            <a:xfrm>
              <a:off x="7581633" y="3921579"/>
              <a:ext cx="572876" cy="572880"/>
              <a:chOff x="5371847" y="2312243"/>
              <a:chExt cx="656438" cy="656442"/>
            </a:xfrm>
          </p:grpSpPr>
          <p:sp>
            <p:nvSpPr>
              <p:cNvPr id="78" name="îs1îdê">
                <a:extLst>
                  <a:ext uri="{FF2B5EF4-FFF2-40B4-BE49-F238E27FC236}">
                    <a16:creationId xmlns:a16="http://schemas.microsoft.com/office/drawing/2014/main" id="{74597A4F-D70C-4B03-9320-D3FB41116BF4}"/>
                  </a:ext>
                </a:extLst>
              </p:cNvPr>
              <p:cNvSpPr/>
              <p:nvPr/>
            </p:nvSpPr>
            <p:spPr>
              <a:xfrm>
                <a:off x="5371847" y="2312243"/>
                <a:ext cx="656438" cy="656442"/>
              </a:xfrm>
              <a:prstGeom prst="ellipse">
                <a:avLst/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dirty="0"/>
              </a:p>
            </p:txBody>
          </p:sp>
          <p:sp>
            <p:nvSpPr>
              <p:cNvPr id="79" name="iŝľídè">
                <a:extLst>
                  <a:ext uri="{FF2B5EF4-FFF2-40B4-BE49-F238E27FC236}">
                    <a16:creationId xmlns:a16="http://schemas.microsoft.com/office/drawing/2014/main" id="{AE996611-22DA-4C57-8355-9AA35D673B43}"/>
                  </a:ext>
                </a:extLst>
              </p:cNvPr>
              <p:cNvSpPr/>
              <p:nvPr/>
            </p:nvSpPr>
            <p:spPr bwMode="auto">
              <a:xfrm>
                <a:off x="5534554" y="2473102"/>
                <a:ext cx="331021" cy="334720"/>
              </a:xfrm>
              <a:custGeom>
                <a:avLst/>
                <a:gdLst>
                  <a:gd name="T0" fmla="*/ 160 w 224"/>
                  <a:gd name="T1" fmla="*/ 0 h 224"/>
                  <a:gd name="T2" fmla="*/ 160 w 224"/>
                  <a:gd name="T3" fmla="*/ 48 h 224"/>
                  <a:gd name="T4" fmla="*/ 224 w 224"/>
                  <a:gd name="T5" fmla="*/ 48 h 224"/>
                  <a:gd name="T6" fmla="*/ 224 w 224"/>
                  <a:gd name="T7" fmla="*/ 176 h 224"/>
                  <a:gd name="T8" fmla="*/ 160 w 224"/>
                  <a:gd name="T9" fmla="*/ 176 h 224"/>
                  <a:gd name="T10" fmla="*/ 160 w 224"/>
                  <a:gd name="T11" fmla="*/ 224 h 224"/>
                  <a:gd name="T12" fmla="*/ 64 w 224"/>
                  <a:gd name="T13" fmla="*/ 224 h 224"/>
                  <a:gd name="T14" fmla="*/ 64 w 224"/>
                  <a:gd name="T15" fmla="*/ 176 h 224"/>
                  <a:gd name="T16" fmla="*/ 0 w 224"/>
                  <a:gd name="T17" fmla="*/ 176 h 224"/>
                  <a:gd name="T18" fmla="*/ 0 w 224"/>
                  <a:gd name="T19" fmla="*/ 76 h 224"/>
                  <a:gd name="T20" fmla="*/ 26 w 224"/>
                  <a:gd name="T21" fmla="*/ 48 h 224"/>
                  <a:gd name="T22" fmla="*/ 64 w 224"/>
                  <a:gd name="T23" fmla="*/ 48 h 224"/>
                  <a:gd name="T24" fmla="*/ 64 w 224"/>
                  <a:gd name="T25" fmla="*/ 0 h 224"/>
                  <a:gd name="T26" fmla="*/ 160 w 224"/>
                  <a:gd name="T27" fmla="*/ 0 h 224"/>
                  <a:gd name="T28" fmla="*/ 152 w 224"/>
                  <a:gd name="T29" fmla="*/ 120 h 224"/>
                  <a:gd name="T30" fmla="*/ 72 w 224"/>
                  <a:gd name="T31" fmla="*/ 120 h 224"/>
                  <a:gd name="T32" fmla="*/ 72 w 224"/>
                  <a:gd name="T33" fmla="*/ 216 h 224"/>
                  <a:gd name="T34" fmla="*/ 152 w 224"/>
                  <a:gd name="T35" fmla="*/ 216 h 224"/>
                  <a:gd name="T36" fmla="*/ 152 w 224"/>
                  <a:gd name="T37" fmla="*/ 120 h 224"/>
                  <a:gd name="T38" fmla="*/ 216 w 224"/>
                  <a:gd name="T39" fmla="*/ 56 h 224"/>
                  <a:gd name="T40" fmla="*/ 30 w 224"/>
                  <a:gd name="T41" fmla="*/ 56 h 224"/>
                  <a:gd name="T42" fmla="*/ 8 w 224"/>
                  <a:gd name="T43" fmla="*/ 80 h 224"/>
                  <a:gd name="T44" fmla="*/ 8 w 224"/>
                  <a:gd name="T45" fmla="*/ 168 h 224"/>
                  <a:gd name="T46" fmla="*/ 64 w 224"/>
                  <a:gd name="T47" fmla="*/ 168 h 224"/>
                  <a:gd name="T48" fmla="*/ 64 w 224"/>
                  <a:gd name="T49" fmla="*/ 112 h 224"/>
                  <a:gd name="T50" fmla="*/ 160 w 224"/>
                  <a:gd name="T51" fmla="*/ 112 h 224"/>
                  <a:gd name="T52" fmla="*/ 160 w 224"/>
                  <a:gd name="T53" fmla="*/ 168 h 224"/>
                  <a:gd name="T54" fmla="*/ 216 w 224"/>
                  <a:gd name="T55" fmla="*/ 168 h 224"/>
                  <a:gd name="T56" fmla="*/ 216 w 224"/>
                  <a:gd name="T57" fmla="*/ 56 h 224"/>
                  <a:gd name="T58" fmla="*/ 194 w 224"/>
                  <a:gd name="T59" fmla="*/ 72 h 224"/>
                  <a:gd name="T60" fmla="*/ 200 w 224"/>
                  <a:gd name="T61" fmla="*/ 78 h 224"/>
                  <a:gd name="T62" fmla="*/ 194 w 224"/>
                  <a:gd name="T63" fmla="*/ 84 h 224"/>
                  <a:gd name="T64" fmla="*/ 188 w 224"/>
                  <a:gd name="T65" fmla="*/ 78 h 224"/>
                  <a:gd name="T66" fmla="*/ 194 w 224"/>
                  <a:gd name="T67" fmla="*/ 72 h 224"/>
                  <a:gd name="T68" fmla="*/ 152 w 224"/>
                  <a:gd name="T69" fmla="*/ 8 h 224"/>
                  <a:gd name="T70" fmla="*/ 72 w 224"/>
                  <a:gd name="T71" fmla="*/ 8 h 224"/>
                  <a:gd name="T72" fmla="*/ 72 w 224"/>
                  <a:gd name="T73" fmla="*/ 48 h 224"/>
                  <a:gd name="T74" fmla="*/ 152 w 224"/>
                  <a:gd name="T75" fmla="*/ 48 h 224"/>
                  <a:gd name="T76" fmla="*/ 152 w 224"/>
                  <a:gd name="T77" fmla="*/ 8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24" h="224">
                    <a:moveTo>
                      <a:pt x="160" y="0"/>
                    </a:moveTo>
                    <a:cubicBezTo>
                      <a:pt x="160" y="48"/>
                      <a:pt x="160" y="48"/>
                      <a:pt x="160" y="48"/>
                    </a:cubicBezTo>
                    <a:cubicBezTo>
                      <a:pt x="224" y="48"/>
                      <a:pt x="224" y="48"/>
                      <a:pt x="224" y="48"/>
                    </a:cubicBezTo>
                    <a:cubicBezTo>
                      <a:pt x="224" y="176"/>
                      <a:pt x="224" y="176"/>
                      <a:pt x="224" y="176"/>
                    </a:cubicBezTo>
                    <a:cubicBezTo>
                      <a:pt x="160" y="176"/>
                      <a:pt x="160" y="176"/>
                      <a:pt x="160" y="176"/>
                    </a:cubicBezTo>
                    <a:cubicBezTo>
                      <a:pt x="160" y="224"/>
                      <a:pt x="160" y="224"/>
                      <a:pt x="160" y="224"/>
                    </a:cubicBezTo>
                    <a:cubicBezTo>
                      <a:pt x="64" y="224"/>
                      <a:pt x="64" y="224"/>
                      <a:pt x="64" y="224"/>
                    </a:cubicBezTo>
                    <a:cubicBezTo>
                      <a:pt x="64" y="176"/>
                      <a:pt x="64" y="176"/>
                      <a:pt x="64" y="176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6" y="48"/>
                      <a:pt x="26" y="48"/>
                      <a:pt x="26" y="48"/>
                    </a:cubicBezTo>
                    <a:cubicBezTo>
                      <a:pt x="64" y="48"/>
                      <a:pt x="64" y="48"/>
                      <a:pt x="64" y="48"/>
                    </a:cubicBezTo>
                    <a:cubicBezTo>
                      <a:pt x="64" y="0"/>
                      <a:pt x="64" y="0"/>
                      <a:pt x="64" y="0"/>
                    </a:cubicBezTo>
                    <a:lnTo>
                      <a:pt x="160" y="0"/>
                    </a:lnTo>
                    <a:close/>
                    <a:moveTo>
                      <a:pt x="152" y="120"/>
                    </a:moveTo>
                    <a:cubicBezTo>
                      <a:pt x="72" y="120"/>
                      <a:pt x="72" y="120"/>
                      <a:pt x="72" y="120"/>
                    </a:cubicBezTo>
                    <a:cubicBezTo>
                      <a:pt x="72" y="216"/>
                      <a:pt x="72" y="216"/>
                      <a:pt x="72" y="216"/>
                    </a:cubicBezTo>
                    <a:cubicBezTo>
                      <a:pt x="152" y="216"/>
                      <a:pt x="152" y="216"/>
                      <a:pt x="152" y="216"/>
                    </a:cubicBezTo>
                    <a:lnTo>
                      <a:pt x="152" y="120"/>
                    </a:lnTo>
                    <a:close/>
                    <a:moveTo>
                      <a:pt x="216" y="56"/>
                    </a:moveTo>
                    <a:cubicBezTo>
                      <a:pt x="30" y="56"/>
                      <a:pt x="30" y="56"/>
                      <a:pt x="30" y="56"/>
                    </a:cubicBezTo>
                    <a:cubicBezTo>
                      <a:pt x="8" y="80"/>
                      <a:pt x="8" y="80"/>
                      <a:pt x="8" y="80"/>
                    </a:cubicBezTo>
                    <a:cubicBezTo>
                      <a:pt x="8" y="168"/>
                      <a:pt x="8" y="168"/>
                      <a:pt x="8" y="168"/>
                    </a:cubicBezTo>
                    <a:cubicBezTo>
                      <a:pt x="64" y="168"/>
                      <a:pt x="64" y="168"/>
                      <a:pt x="64" y="168"/>
                    </a:cubicBezTo>
                    <a:cubicBezTo>
                      <a:pt x="64" y="112"/>
                      <a:pt x="64" y="112"/>
                      <a:pt x="64" y="112"/>
                    </a:cubicBezTo>
                    <a:cubicBezTo>
                      <a:pt x="160" y="112"/>
                      <a:pt x="160" y="112"/>
                      <a:pt x="160" y="112"/>
                    </a:cubicBezTo>
                    <a:cubicBezTo>
                      <a:pt x="160" y="168"/>
                      <a:pt x="160" y="168"/>
                      <a:pt x="160" y="168"/>
                    </a:cubicBezTo>
                    <a:cubicBezTo>
                      <a:pt x="216" y="168"/>
                      <a:pt x="216" y="168"/>
                      <a:pt x="216" y="168"/>
                    </a:cubicBezTo>
                    <a:lnTo>
                      <a:pt x="216" y="56"/>
                    </a:lnTo>
                    <a:close/>
                    <a:moveTo>
                      <a:pt x="194" y="72"/>
                    </a:moveTo>
                    <a:cubicBezTo>
                      <a:pt x="197" y="72"/>
                      <a:pt x="200" y="75"/>
                      <a:pt x="200" y="78"/>
                    </a:cubicBezTo>
                    <a:cubicBezTo>
                      <a:pt x="200" y="81"/>
                      <a:pt x="197" y="84"/>
                      <a:pt x="194" y="84"/>
                    </a:cubicBezTo>
                    <a:cubicBezTo>
                      <a:pt x="191" y="84"/>
                      <a:pt x="188" y="81"/>
                      <a:pt x="188" y="78"/>
                    </a:cubicBezTo>
                    <a:cubicBezTo>
                      <a:pt x="188" y="75"/>
                      <a:pt x="191" y="72"/>
                      <a:pt x="194" y="72"/>
                    </a:cubicBezTo>
                    <a:close/>
                    <a:moveTo>
                      <a:pt x="152" y="8"/>
                    </a:moveTo>
                    <a:cubicBezTo>
                      <a:pt x="72" y="8"/>
                      <a:pt x="72" y="8"/>
                      <a:pt x="72" y="8"/>
                    </a:cubicBezTo>
                    <a:cubicBezTo>
                      <a:pt x="72" y="48"/>
                      <a:pt x="72" y="48"/>
                      <a:pt x="72" y="48"/>
                    </a:cubicBezTo>
                    <a:cubicBezTo>
                      <a:pt x="152" y="48"/>
                      <a:pt x="152" y="48"/>
                      <a:pt x="152" y="48"/>
                    </a:cubicBezTo>
                    <a:lnTo>
                      <a:pt x="152" y="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182832" tIns="91416" rIns="182832" bIns="9141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7198" dirty="0"/>
              </a:p>
            </p:txBody>
          </p:sp>
        </p:grpSp>
        <p:sp>
          <p:nvSpPr>
            <p:cNvPr id="76" name="íṩḷïḑê">
              <a:extLst>
                <a:ext uri="{FF2B5EF4-FFF2-40B4-BE49-F238E27FC236}">
                  <a16:creationId xmlns:a16="http://schemas.microsoft.com/office/drawing/2014/main" id="{8D3980C3-6659-4D43-818E-FD46A42D8D7B}"/>
                </a:ext>
              </a:extLst>
            </p:cNvPr>
            <p:cNvSpPr txBox="1"/>
            <p:nvPr/>
          </p:nvSpPr>
          <p:spPr>
            <a:xfrm>
              <a:off x="8194569" y="4194674"/>
              <a:ext cx="3324329" cy="650813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77" name="ïṥ1ïḑè">
              <a:extLst>
                <a:ext uri="{FF2B5EF4-FFF2-40B4-BE49-F238E27FC236}">
                  <a16:creationId xmlns:a16="http://schemas.microsoft.com/office/drawing/2014/main" id="{62FAB186-0858-4F20-9973-643C39E2370F}"/>
                </a:ext>
              </a:extLst>
            </p:cNvPr>
            <p:cNvSpPr txBox="1"/>
            <p:nvPr/>
          </p:nvSpPr>
          <p:spPr>
            <a:xfrm>
              <a:off x="8194569" y="3722855"/>
              <a:ext cx="3324329" cy="471820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b="1" dirty="0"/>
                <a:t>Text here</a:t>
              </a:r>
              <a:endParaRPr lang="zh-CN" altLang="en-US" b="1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6112193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DB12C64-D7AA-4C85-9B1D-ADBAAD6942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B798556-6F72-493F-980B-8E65D1ABE8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469F773-16FB-44E6-8E06-F80D7E9B82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grpSp>
        <p:nvGrpSpPr>
          <p:cNvPr id="222" name="21643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BE87704-55AE-401A-A098-422D71BE0151}"/>
              </a:ext>
            </a:extLst>
          </p:cNvPr>
          <p:cNvGrpSpPr>
            <a:grpSpLocks noChangeAspect="1"/>
          </p:cNvGrpSpPr>
          <p:nvPr/>
        </p:nvGrpSpPr>
        <p:grpSpPr>
          <a:xfrm>
            <a:off x="1127479" y="1460407"/>
            <a:ext cx="10041401" cy="4152993"/>
            <a:chOff x="1127479" y="1460407"/>
            <a:chExt cx="10041401" cy="4152993"/>
          </a:xfrm>
        </p:grpSpPr>
        <p:sp>
          <p:nvSpPr>
            <p:cNvPr id="223" name="ïṩḻiḓé">
              <a:extLst>
                <a:ext uri="{FF2B5EF4-FFF2-40B4-BE49-F238E27FC236}">
                  <a16:creationId xmlns:a16="http://schemas.microsoft.com/office/drawing/2014/main" id="{B34B17E6-301C-4B61-B2D2-1096312D2152}"/>
                </a:ext>
              </a:extLst>
            </p:cNvPr>
            <p:cNvSpPr/>
            <p:nvPr/>
          </p:nvSpPr>
          <p:spPr>
            <a:xfrm>
              <a:off x="4746739" y="1460407"/>
              <a:ext cx="1299410" cy="1299410"/>
            </a:xfrm>
            <a:prstGeom prst="roundRect">
              <a:avLst/>
            </a:prstGeom>
            <a:solidFill>
              <a:schemeClr val="accent1"/>
            </a:solidFill>
            <a:ln w="571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/>
            </a:p>
          </p:txBody>
        </p:sp>
        <p:sp>
          <p:nvSpPr>
            <p:cNvPr id="224" name="iṩḷídé">
              <a:extLst>
                <a:ext uri="{FF2B5EF4-FFF2-40B4-BE49-F238E27FC236}">
                  <a16:creationId xmlns:a16="http://schemas.microsoft.com/office/drawing/2014/main" id="{C618C66B-0106-4981-83F8-924111F2F23F}"/>
                </a:ext>
              </a:extLst>
            </p:cNvPr>
            <p:cNvSpPr/>
            <p:nvPr/>
          </p:nvSpPr>
          <p:spPr>
            <a:xfrm>
              <a:off x="6171350" y="1460407"/>
              <a:ext cx="1299410" cy="1299410"/>
            </a:xfrm>
            <a:prstGeom prst="roundRect">
              <a:avLst/>
            </a:prstGeom>
            <a:solidFill>
              <a:schemeClr val="accent2"/>
            </a:solidFill>
            <a:ln w="571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/>
            </a:p>
          </p:txBody>
        </p:sp>
        <p:sp>
          <p:nvSpPr>
            <p:cNvPr id="225" name="íšḻïde">
              <a:extLst>
                <a:ext uri="{FF2B5EF4-FFF2-40B4-BE49-F238E27FC236}">
                  <a16:creationId xmlns:a16="http://schemas.microsoft.com/office/drawing/2014/main" id="{D1F7B1C4-A050-448B-83E5-3E27F6C75FCF}"/>
                </a:ext>
              </a:extLst>
            </p:cNvPr>
            <p:cNvSpPr/>
            <p:nvPr/>
          </p:nvSpPr>
          <p:spPr>
            <a:xfrm>
              <a:off x="3341597" y="1941863"/>
              <a:ext cx="895609" cy="955987"/>
            </a:xfrm>
            <a:prstGeom prst="bentArrow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26" name="íŝḻidè">
              <a:extLst>
                <a:ext uri="{FF2B5EF4-FFF2-40B4-BE49-F238E27FC236}">
                  <a16:creationId xmlns:a16="http://schemas.microsoft.com/office/drawing/2014/main" id="{29DACD1A-297C-4D07-ACE6-9A74C6AC9BCE}"/>
                </a:ext>
              </a:extLst>
            </p:cNvPr>
            <p:cNvSpPr/>
            <p:nvPr/>
          </p:nvSpPr>
          <p:spPr>
            <a:xfrm flipH="1">
              <a:off x="7954795" y="1941862"/>
              <a:ext cx="895609" cy="955987"/>
            </a:xfrm>
            <a:prstGeom prst="bentArrow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27" name="ïṡḷîḋê">
              <a:extLst>
                <a:ext uri="{FF2B5EF4-FFF2-40B4-BE49-F238E27FC236}">
                  <a16:creationId xmlns:a16="http://schemas.microsoft.com/office/drawing/2014/main" id="{05420687-F654-4709-98C7-E0BA94EAE455}"/>
                </a:ext>
              </a:extLst>
            </p:cNvPr>
            <p:cNvSpPr/>
            <p:nvPr/>
          </p:nvSpPr>
          <p:spPr bwMode="auto">
            <a:xfrm>
              <a:off x="5199163" y="1964940"/>
              <a:ext cx="414812" cy="452295"/>
            </a:xfrm>
            <a:custGeom>
              <a:avLst/>
              <a:gdLst>
                <a:gd name="T0" fmla="*/ 156 w 208"/>
                <a:gd name="T1" fmla="*/ 0 h 224"/>
                <a:gd name="T2" fmla="*/ 156 w 208"/>
                <a:gd name="T3" fmla="*/ 8 h 224"/>
                <a:gd name="T4" fmla="*/ 144 w 208"/>
                <a:gd name="T5" fmla="*/ 8 h 224"/>
                <a:gd name="T6" fmla="*/ 144 w 208"/>
                <a:gd name="T7" fmla="*/ 59 h 224"/>
                <a:gd name="T8" fmla="*/ 208 w 208"/>
                <a:gd name="T9" fmla="*/ 204 h 224"/>
                <a:gd name="T10" fmla="*/ 201 w 208"/>
                <a:gd name="T11" fmla="*/ 224 h 224"/>
                <a:gd name="T12" fmla="*/ 7 w 208"/>
                <a:gd name="T13" fmla="*/ 224 h 224"/>
                <a:gd name="T14" fmla="*/ 0 w 208"/>
                <a:gd name="T15" fmla="*/ 204 h 224"/>
                <a:gd name="T16" fmla="*/ 64 w 208"/>
                <a:gd name="T17" fmla="*/ 59 h 224"/>
                <a:gd name="T18" fmla="*/ 64 w 208"/>
                <a:gd name="T19" fmla="*/ 8 h 224"/>
                <a:gd name="T20" fmla="*/ 52 w 208"/>
                <a:gd name="T21" fmla="*/ 8 h 224"/>
                <a:gd name="T22" fmla="*/ 52 w 208"/>
                <a:gd name="T23" fmla="*/ 0 h 224"/>
                <a:gd name="T24" fmla="*/ 156 w 208"/>
                <a:gd name="T25" fmla="*/ 0 h 224"/>
                <a:gd name="T26" fmla="*/ 108 w 208"/>
                <a:gd name="T27" fmla="*/ 174 h 224"/>
                <a:gd name="T28" fmla="*/ 106 w 208"/>
                <a:gd name="T29" fmla="*/ 175 h 224"/>
                <a:gd name="T30" fmla="*/ 22 w 208"/>
                <a:gd name="T31" fmla="*/ 174 h 224"/>
                <a:gd name="T32" fmla="*/ 8 w 208"/>
                <a:gd name="T33" fmla="*/ 204 h 224"/>
                <a:gd name="T34" fmla="*/ 13 w 208"/>
                <a:gd name="T35" fmla="*/ 216 h 224"/>
                <a:gd name="T36" fmla="*/ 195 w 208"/>
                <a:gd name="T37" fmla="*/ 216 h 224"/>
                <a:gd name="T38" fmla="*/ 200 w 208"/>
                <a:gd name="T39" fmla="*/ 204 h 224"/>
                <a:gd name="T40" fmla="*/ 185 w 208"/>
                <a:gd name="T41" fmla="*/ 171 h 224"/>
                <a:gd name="T42" fmla="*/ 108 w 208"/>
                <a:gd name="T43" fmla="*/ 174 h 224"/>
                <a:gd name="T44" fmla="*/ 136 w 208"/>
                <a:gd name="T45" fmla="*/ 8 h 224"/>
                <a:gd name="T46" fmla="*/ 72 w 208"/>
                <a:gd name="T47" fmla="*/ 8 h 224"/>
                <a:gd name="T48" fmla="*/ 72 w 208"/>
                <a:gd name="T49" fmla="*/ 61 h 224"/>
                <a:gd name="T50" fmla="*/ 25 w 208"/>
                <a:gd name="T51" fmla="*/ 166 h 224"/>
                <a:gd name="T52" fmla="*/ 101 w 208"/>
                <a:gd name="T53" fmla="*/ 170 h 224"/>
                <a:gd name="T54" fmla="*/ 102 w 208"/>
                <a:gd name="T55" fmla="*/ 169 h 224"/>
                <a:gd name="T56" fmla="*/ 180 w 208"/>
                <a:gd name="T57" fmla="*/ 160 h 224"/>
                <a:gd name="T58" fmla="*/ 136 w 208"/>
                <a:gd name="T59" fmla="*/ 61 h 224"/>
                <a:gd name="T60" fmla="*/ 136 w 208"/>
                <a:gd name="T61" fmla="*/ 8 h 224"/>
                <a:gd name="T62" fmla="*/ 130 w 208"/>
                <a:gd name="T63" fmla="*/ 104 h 224"/>
                <a:gd name="T64" fmla="*/ 148 w 208"/>
                <a:gd name="T65" fmla="*/ 122 h 224"/>
                <a:gd name="T66" fmla="*/ 130 w 208"/>
                <a:gd name="T67" fmla="*/ 140 h 224"/>
                <a:gd name="T68" fmla="*/ 112 w 208"/>
                <a:gd name="T69" fmla="*/ 122 h 224"/>
                <a:gd name="T70" fmla="*/ 130 w 208"/>
                <a:gd name="T71" fmla="*/ 104 h 224"/>
                <a:gd name="T72" fmla="*/ 130 w 208"/>
                <a:gd name="T73" fmla="*/ 112 h 224"/>
                <a:gd name="T74" fmla="*/ 120 w 208"/>
                <a:gd name="T75" fmla="*/ 122 h 224"/>
                <a:gd name="T76" fmla="*/ 130 w 208"/>
                <a:gd name="T77" fmla="*/ 132 h 224"/>
                <a:gd name="T78" fmla="*/ 140 w 208"/>
                <a:gd name="T79" fmla="*/ 122 h 224"/>
                <a:gd name="T80" fmla="*/ 130 w 208"/>
                <a:gd name="T81" fmla="*/ 112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8" h="224">
                  <a:moveTo>
                    <a:pt x="156" y="0"/>
                  </a:moveTo>
                  <a:cubicBezTo>
                    <a:pt x="156" y="8"/>
                    <a:pt x="156" y="8"/>
                    <a:pt x="156" y="8"/>
                  </a:cubicBezTo>
                  <a:cubicBezTo>
                    <a:pt x="144" y="8"/>
                    <a:pt x="144" y="8"/>
                    <a:pt x="144" y="8"/>
                  </a:cubicBezTo>
                  <a:cubicBezTo>
                    <a:pt x="144" y="59"/>
                    <a:pt x="144" y="59"/>
                    <a:pt x="144" y="59"/>
                  </a:cubicBezTo>
                  <a:cubicBezTo>
                    <a:pt x="208" y="204"/>
                    <a:pt x="208" y="204"/>
                    <a:pt x="208" y="204"/>
                  </a:cubicBezTo>
                  <a:cubicBezTo>
                    <a:pt x="201" y="224"/>
                    <a:pt x="201" y="224"/>
                    <a:pt x="201" y="224"/>
                  </a:cubicBezTo>
                  <a:cubicBezTo>
                    <a:pt x="7" y="224"/>
                    <a:pt x="7" y="224"/>
                    <a:pt x="7" y="224"/>
                  </a:cubicBezTo>
                  <a:cubicBezTo>
                    <a:pt x="0" y="204"/>
                    <a:pt x="0" y="204"/>
                    <a:pt x="0" y="204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2" y="0"/>
                    <a:pt x="52" y="0"/>
                    <a:pt x="52" y="0"/>
                  </a:cubicBezTo>
                  <a:lnTo>
                    <a:pt x="156" y="0"/>
                  </a:lnTo>
                  <a:close/>
                  <a:moveTo>
                    <a:pt x="108" y="174"/>
                  </a:moveTo>
                  <a:cubicBezTo>
                    <a:pt x="106" y="175"/>
                    <a:pt x="106" y="175"/>
                    <a:pt x="106" y="175"/>
                  </a:cubicBezTo>
                  <a:cubicBezTo>
                    <a:pt x="83" y="192"/>
                    <a:pt x="50" y="191"/>
                    <a:pt x="22" y="174"/>
                  </a:cubicBezTo>
                  <a:cubicBezTo>
                    <a:pt x="8" y="204"/>
                    <a:pt x="8" y="204"/>
                    <a:pt x="8" y="204"/>
                  </a:cubicBezTo>
                  <a:cubicBezTo>
                    <a:pt x="13" y="216"/>
                    <a:pt x="13" y="216"/>
                    <a:pt x="13" y="216"/>
                  </a:cubicBezTo>
                  <a:cubicBezTo>
                    <a:pt x="195" y="216"/>
                    <a:pt x="195" y="216"/>
                    <a:pt x="195" y="216"/>
                  </a:cubicBezTo>
                  <a:cubicBezTo>
                    <a:pt x="200" y="204"/>
                    <a:pt x="200" y="204"/>
                    <a:pt x="200" y="204"/>
                  </a:cubicBezTo>
                  <a:cubicBezTo>
                    <a:pt x="185" y="171"/>
                    <a:pt x="185" y="171"/>
                    <a:pt x="185" y="171"/>
                  </a:cubicBezTo>
                  <a:cubicBezTo>
                    <a:pt x="159" y="159"/>
                    <a:pt x="128" y="160"/>
                    <a:pt x="108" y="174"/>
                  </a:cubicBezTo>
                  <a:close/>
                  <a:moveTo>
                    <a:pt x="136" y="8"/>
                  </a:moveTo>
                  <a:cubicBezTo>
                    <a:pt x="72" y="8"/>
                    <a:pt x="72" y="8"/>
                    <a:pt x="72" y="8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25" y="166"/>
                    <a:pt x="25" y="166"/>
                    <a:pt x="25" y="166"/>
                  </a:cubicBezTo>
                  <a:cubicBezTo>
                    <a:pt x="50" y="182"/>
                    <a:pt x="80" y="183"/>
                    <a:pt x="101" y="170"/>
                  </a:cubicBezTo>
                  <a:cubicBezTo>
                    <a:pt x="102" y="169"/>
                    <a:pt x="102" y="169"/>
                    <a:pt x="102" y="169"/>
                  </a:cubicBezTo>
                  <a:cubicBezTo>
                    <a:pt x="123" y="154"/>
                    <a:pt x="153" y="151"/>
                    <a:pt x="180" y="160"/>
                  </a:cubicBezTo>
                  <a:cubicBezTo>
                    <a:pt x="136" y="61"/>
                    <a:pt x="136" y="61"/>
                    <a:pt x="136" y="61"/>
                  </a:cubicBezTo>
                  <a:lnTo>
                    <a:pt x="136" y="8"/>
                  </a:lnTo>
                  <a:close/>
                  <a:moveTo>
                    <a:pt x="130" y="104"/>
                  </a:moveTo>
                  <a:cubicBezTo>
                    <a:pt x="140" y="104"/>
                    <a:pt x="148" y="112"/>
                    <a:pt x="148" y="122"/>
                  </a:cubicBezTo>
                  <a:cubicBezTo>
                    <a:pt x="148" y="132"/>
                    <a:pt x="140" y="140"/>
                    <a:pt x="130" y="140"/>
                  </a:cubicBezTo>
                  <a:cubicBezTo>
                    <a:pt x="120" y="140"/>
                    <a:pt x="112" y="132"/>
                    <a:pt x="112" y="122"/>
                  </a:cubicBezTo>
                  <a:cubicBezTo>
                    <a:pt x="112" y="112"/>
                    <a:pt x="120" y="104"/>
                    <a:pt x="130" y="104"/>
                  </a:cubicBezTo>
                  <a:close/>
                  <a:moveTo>
                    <a:pt x="130" y="112"/>
                  </a:moveTo>
                  <a:cubicBezTo>
                    <a:pt x="124" y="112"/>
                    <a:pt x="120" y="116"/>
                    <a:pt x="120" y="122"/>
                  </a:cubicBezTo>
                  <a:cubicBezTo>
                    <a:pt x="120" y="128"/>
                    <a:pt x="124" y="132"/>
                    <a:pt x="130" y="132"/>
                  </a:cubicBezTo>
                  <a:cubicBezTo>
                    <a:pt x="136" y="132"/>
                    <a:pt x="140" y="128"/>
                    <a:pt x="140" y="122"/>
                  </a:cubicBezTo>
                  <a:cubicBezTo>
                    <a:pt x="140" y="116"/>
                    <a:pt x="136" y="112"/>
                    <a:pt x="130" y="112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28" name="íṩḻiḋè">
              <a:extLst>
                <a:ext uri="{FF2B5EF4-FFF2-40B4-BE49-F238E27FC236}">
                  <a16:creationId xmlns:a16="http://schemas.microsoft.com/office/drawing/2014/main" id="{F8AD34A5-5896-4E8C-A163-E0E8EDCCBD05}"/>
                </a:ext>
              </a:extLst>
            </p:cNvPr>
            <p:cNvSpPr/>
            <p:nvPr/>
          </p:nvSpPr>
          <p:spPr bwMode="auto">
            <a:xfrm>
              <a:off x="6611366" y="1996529"/>
              <a:ext cx="431091" cy="359845"/>
            </a:xfrm>
            <a:custGeom>
              <a:avLst/>
              <a:gdLst>
                <a:gd name="T0" fmla="*/ 224 w 224"/>
                <a:gd name="T1" fmla="*/ 0 h 184"/>
                <a:gd name="T2" fmla="*/ 224 w 224"/>
                <a:gd name="T3" fmla="*/ 156 h 184"/>
                <a:gd name="T4" fmla="*/ 86 w 224"/>
                <a:gd name="T5" fmla="*/ 156 h 184"/>
                <a:gd name="T6" fmla="*/ 48 w 224"/>
                <a:gd name="T7" fmla="*/ 184 h 184"/>
                <a:gd name="T8" fmla="*/ 48 w 224"/>
                <a:gd name="T9" fmla="*/ 156 h 184"/>
                <a:gd name="T10" fmla="*/ 0 w 224"/>
                <a:gd name="T11" fmla="*/ 156 h 184"/>
                <a:gd name="T12" fmla="*/ 0 w 224"/>
                <a:gd name="T13" fmla="*/ 0 h 184"/>
                <a:gd name="T14" fmla="*/ 224 w 224"/>
                <a:gd name="T15" fmla="*/ 0 h 184"/>
                <a:gd name="T16" fmla="*/ 216 w 224"/>
                <a:gd name="T17" fmla="*/ 8 h 184"/>
                <a:gd name="T18" fmla="*/ 8 w 224"/>
                <a:gd name="T19" fmla="*/ 8 h 184"/>
                <a:gd name="T20" fmla="*/ 8 w 224"/>
                <a:gd name="T21" fmla="*/ 148 h 184"/>
                <a:gd name="T22" fmla="*/ 56 w 224"/>
                <a:gd name="T23" fmla="*/ 148 h 184"/>
                <a:gd name="T24" fmla="*/ 56 w 224"/>
                <a:gd name="T25" fmla="*/ 168 h 184"/>
                <a:gd name="T26" fmla="*/ 83 w 224"/>
                <a:gd name="T27" fmla="*/ 148 h 184"/>
                <a:gd name="T28" fmla="*/ 216 w 224"/>
                <a:gd name="T29" fmla="*/ 148 h 184"/>
                <a:gd name="T30" fmla="*/ 216 w 224"/>
                <a:gd name="T31" fmla="*/ 8 h 184"/>
                <a:gd name="T32" fmla="*/ 56 w 224"/>
                <a:gd name="T33" fmla="*/ 60 h 184"/>
                <a:gd name="T34" fmla="*/ 74 w 224"/>
                <a:gd name="T35" fmla="*/ 78 h 184"/>
                <a:gd name="T36" fmla="*/ 56 w 224"/>
                <a:gd name="T37" fmla="*/ 96 h 184"/>
                <a:gd name="T38" fmla="*/ 38 w 224"/>
                <a:gd name="T39" fmla="*/ 78 h 184"/>
                <a:gd name="T40" fmla="*/ 56 w 224"/>
                <a:gd name="T41" fmla="*/ 60 h 184"/>
                <a:gd name="T42" fmla="*/ 112 w 224"/>
                <a:gd name="T43" fmla="*/ 60 h 184"/>
                <a:gd name="T44" fmla="*/ 130 w 224"/>
                <a:gd name="T45" fmla="*/ 78 h 184"/>
                <a:gd name="T46" fmla="*/ 112 w 224"/>
                <a:gd name="T47" fmla="*/ 96 h 184"/>
                <a:gd name="T48" fmla="*/ 94 w 224"/>
                <a:gd name="T49" fmla="*/ 78 h 184"/>
                <a:gd name="T50" fmla="*/ 112 w 224"/>
                <a:gd name="T51" fmla="*/ 60 h 184"/>
                <a:gd name="T52" fmla="*/ 168 w 224"/>
                <a:gd name="T53" fmla="*/ 60 h 184"/>
                <a:gd name="T54" fmla="*/ 186 w 224"/>
                <a:gd name="T55" fmla="*/ 78 h 184"/>
                <a:gd name="T56" fmla="*/ 168 w 224"/>
                <a:gd name="T57" fmla="*/ 96 h 184"/>
                <a:gd name="T58" fmla="*/ 150 w 224"/>
                <a:gd name="T59" fmla="*/ 78 h 184"/>
                <a:gd name="T60" fmla="*/ 168 w 224"/>
                <a:gd name="T61" fmla="*/ 60 h 184"/>
                <a:gd name="T62" fmla="*/ 56 w 224"/>
                <a:gd name="T63" fmla="*/ 68 h 184"/>
                <a:gd name="T64" fmla="*/ 46 w 224"/>
                <a:gd name="T65" fmla="*/ 78 h 184"/>
                <a:gd name="T66" fmla="*/ 56 w 224"/>
                <a:gd name="T67" fmla="*/ 88 h 184"/>
                <a:gd name="T68" fmla="*/ 66 w 224"/>
                <a:gd name="T69" fmla="*/ 78 h 184"/>
                <a:gd name="T70" fmla="*/ 56 w 224"/>
                <a:gd name="T71" fmla="*/ 68 h 184"/>
                <a:gd name="T72" fmla="*/ 112 w 224"/>
                <a:gd name="T73" fmla="*/ 68 h 184"/>
                <a:gd name="T74" fmla="*/ 102 w 224"/>
                <a:gd name="T75" fmla="*/ 78 h 184"/>
                <a:gd name="T76" fmla="*/ 112 w 224"/>
                <a:gd name="T77" fmla="*/ 88 h 184"/>
                <a:gd name="T78" fmla="*/ 122 w 224"/>
                <a:gd name="T79" fmla="*/ 78 h 184"/>
                <a:gd name="T80" fmla="*/ 112 w 224"/>
                <a:gd name="T81" fmla="*/ 68 h 184"/>
                <a:gd name="T82" fmla="*/ 168 w 224"/>
                <a:gd name="T83" fmla="*/ 68 h 184"/>
                <a:gd name="T84" fmla="*/ 158 w 224"/>
                <a:gd name="T85" fmla="*/ 78 h 184"/>
                <a:gd name="T86" fmla="*/ 168 w 224"/>
                <a:gd name="T87" fmla="*/ 88 h 184"/>
                <a:gd name="T88" fmla="*/ 178 w 224"/>
                <a:gd name="T89" fmla="*/ 78 h 184"/>
                <a:gd name="T90" fmla="*/ 168 w 224"/>
                <a:gd name="T91" fmla="*/ 68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4" h="184">
                  <a:moveTo>
                    <a:pt x="224" y="0"/>
                  </a:moveTo>
                  <a:cubicBezTo>
                    <a:pt x="224" y="156"/>
                    <a:pt x="224" y="156"/>
                    <a:pt x="224" y="156"/>
                  </a:cubicBezTo>
                  <a:cubicBezTo>
                    <a:pt x="86" y="156"/>
                    <a:pt x="86" y="156"/>
                    <a:pt x="86" y="156"/>
                  </a:cubicBezTo>
                  <a:cubicBezTo>
                    <a:pt x="48" y="184"/>
                    <a:pt x="48" y="184"/>
                    <a:pt x="48" y="184"/>
                  </a:cubicBezTo>
                  <a:cubicBezTo>
                    <a:pt x="48" y="156"/>
                    <a:pt x="48" y="156"/>
                    <a:pt x="48" y="156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24" y="0"/>
                  </a:lnTo>
                  <a:close/>
                  <a:moveTo>
                    <a:pt x="216" y="8"/>
                  </a:moveTo>
                  <a:cubicBezTo>
                    <a:pt x="8" y="8"/>
                    <a:pt x="8" y="8"/>
                    <a:pt x="8" y="8"/>
                  </a:cubicBezTo>
                  <a:cubicBezTo>
                    <a:pt x="8" y="148"/>
                    <a:pt x="8" y="148"/>
                    <a:pt x="8" y="148"/>
                  </a:cubicBezTo>
                  <a:cubicBezTo>
                    <a:pt x="56" y="148"/>
                    <a:pt x="56" y="148"/>
                    <a:pt x="56" y="148"/>
                  </a:cubicBezTo>
                  <a:cubicBezTo>
                    <a:pt x="56" y="168"/>
                    <a:pt x="56" y="168"/>
                    <a:pt x="56" y="168"/>
                  </a:cubicBezTo>
                  <a:cubicBezTo>
                    <a:pt x="83" y="148"/>
                    <a:pt x="83" y="148"/>
                    <a:pt x="83" y="148"/>
                  </a:cubicBezTo>
                  <a:cubicBezTo>
                    <a:pt x="216" y="148"/>
                    <a:pt x="216" y="148"/>
                    <a:pt x="216" y="148"/>
                  </a:cubicBezTo>
                  <a:lnTo>
                    <a:pt x="216" y="8"/>
                  </a:lnTo>
                  <a:close/>
                  <a:moveTo>
                    <a:pt x="56" y="60"/>
                  </a:moveTo>
                  <a:cubicBezTo>
                    <a:pt x="66" y="60"/>
                    <a:pt x="74" y="68"/>
                    <a:pt x="74" y="78"/>
                  </a:cubicBezTo>
                  <a:cubicBezTo>
                    <a:pt x="74" y="88"/>
                    <a:pt x="66" y="96"/>
                    <a:pt x="56" y="96"/>
                  </a:cubicBezTo>
                  <a:cubicBezTo>
                    <a:pt x="46" y="96"/>
                    <a:pt x="38" y="88"/>
                    <a:pt x="38" y="78"/>
                  </a:cubicBezTo>
                  <a:cubicBezTo>
                    <a:pt x="38" y="68"/>
                    <a:pt x="46" y="60"/>
                    <a:pt x="56" y="60"/>
                  </a:cubicBezTo>
                  <a:close/>
                  <a:moveTo>
                    <a:pt x="112" y="60"/>
                  </a:moveTo>
                  <a:cubicBezTo>
                    <a:pt x="122" y="60"/>
                    <a:pt x="130" y="68"/>
                    <a:pt x="130" y="78"/>
                  </a:cubicBezTo>
                  <a:cubicBezTo>
                    <a:pt x="130" y="88"/>
                    <a:pt x="122" y="96"/>
                    <a:pt x="112" y="96"/>
                  </a:cubicBezTo>
                  <a:cubicBezTo>
                    <a:pt x="102" y="96"/>
                    <a:pt x="94" y="88"/>
                    <a:pt x="94" y="78"/>
                  </a:cubicBezTo>
                  <a:cubicBezTo>
                    <a:pt x="94" y="68"/>
                    <a:pt x="102" y="60"/>
                    <a:pt x="112" y="60"/>
                  </a:cubicBezTo>
                  <a:close/>
                  <a:moveTo>
                    <a:pt x="168" y="60"/>
                  </a:moveTo>
                  <a:cubicBezTo>
                    <a:pt x="178" y="60"/>
                    <a:pt x="186" y="68"/>
                    <a:pt x="186" y="78"/>
                  </a:cubicBezTo>
                  <a:cubicBezTo>
                    <a:pt x="186" y="88"/>
                    <a:pt x="178" y="96"/>
                    <a:pt x="168" y="96"/>
                  </a:cubicBezTo>
                  <a:cubicBezTo>
                    <a:pt x="158" y="96"/>
                    <a:pt x="150" y="88"/>
                    <a:pt x="150" y="78"/>
                  </a:cubicBezTo>
                  <a:cubicBezTo>
                    <a:pt x="150" y="68"/>
                    <a:pt x="158" y="60"/>
                    <a:pt x="168" y="60"/>
                  </a:cubicBezTo>
                  <a:close/>
                  <a:moveTo>
                    <a:pt x="56" y="68"/>
                  </a:moveTo>
                  <a:cubicBezTo>
                    <a:pt x="50" y="68"/>
                    <a:pt x="46" y="72"/>
                    <a:pt x="46" y="78"/>
                  </a:cubicBezTo>
                  <a:cubicBezTo>
                    <a:pt x="46" y="84"/>
                    <a:pt x="50" y="88"/>
                    <a:pt x="56" y="88"/>
                  </a:cubicBezTo>
                  <a:cubicBezTo>
                    <a:pt x="62" y="88"/>
                    <a:pt x="66" y="84"/>
                    <a:pt x="66" y="78"/>
                  </a:cubicBezTo>
                  <a:cubicBezTo>
                    <a:pt x="66" y="72"/>
                    <a:pt x="62" y="68"/>
                    <a:pt x="56" y="68"/>
                  </a:cubicBezTo>
                  <a:close/>
                  <a:moveTo>
                    <a:pt x="112" y="68"/>
                  </a:moveTo>
                  <a:cubicBezTo>
                    <a:pt x="106" y="68"/>
                    <a:pt x="102" y="72"/>
                    <a:pt x="102" y="78"/>
                  </a:cubicBezTo>
                  <a:cubicBezTo>
                    <a:pt x="102" y="84"/>
                    <a:pt x="106" y="88"/>
                    <a:pt x="112" y="88"/>
                  </a:cubicBezTo>
                  <a:cubicBezTo>
                    <a:pt x="118" y="88"/>
                    <a:pt x="122" y="84"/>
                    <a:pt x="122" y="78"/>
                  </a:cubicBezTo>
                  <a:cubicBezTo>
                    <a:pt x="122" y="72"/>
                    <a:pt x="118" y="68"/>
                    <a:pt x="112" y="68"/>
                  </a:cubicBezTo>
                  <a:close/>
                  <a:moveTo>
                    <a:pt x="168" y="68"/>
                  </a:moveTo>
                  <a:cubicBezTo>
                    <a:pt x="162" y="68"/>
                    <a:pt x="158" y="72"/>
                    <a:pt x="158" y="78"/>
                  </a:cubicBezTo>
                  <a:cubicBezTo>
                    <a:pt x="158" y="84"/>
                    <a:pt x="162" y="88"/>
                    <a:pt x="168" y="88"/>
                  </a:cubicBezTo>
                  <a:cubicBezTo>
                    <a:pt x="174" y="88"/>
                    <a:pt x="178" y="84"/>
                    <a:pt x="178" y="78"/>
                  </a:cubicBezTo>
                  <a:cubicBezTo>
                    <a:pt x="178" y="72"/>
                    <a:pt x="174" y="68"/>
                    <a:pt x="168" y="68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29" name="iṣ1íḓé">
              <a:extLst>
                <a:ext uri="{FF2B5EF4-FFF2-40B4-BE49-F238E27FC236}">
                  <a16:creationId xmlns:a16="http://schemas.microsoft.com/office/drawing/2014/main" id="{5306A6A8-712D-4CEB-BA96-02FB372E771F}"/>
                </a:ext>
              </a:extLst>
            </p:cNvPr>
            <p:cNvSpPr/>
            <p:nvPr/>
          </p:nvSpPr>
          <p:spPr>
            <a:xfrm>
              <a:off x="4732230" y="2818277"/>
              <a:ext cx="2878246" cy="769441"/>
            </a:xfrm>
            <a:prstGeom prst="rect">
              <a:avLst/>
            </a:prstGeom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4400" b="1" dirty="0">
                  <a:solidFill>
                    <a:schemeClr val="accent2"/>
                  </a:solidFill>
                </a:rPr>
                <a:t>$2</a:t>
              </a:r>
              <a:r>
                <a:rPr lang="en-US" altLang="zh-CN" sz="4400" b="1" dirty="0">
                  <a:solidFill>
                    <a:schemeClr val="accent2"/>
                  </a:solidFill>
                </a:rPr>
                <a:t>33</a:t>
              </a:r>
              <a:r>
                <a:rPr lang="en-US" sz="4400" b="1" dirty="0">
                  <a:solidFill>
                    <a:schemeClr val="accent2"/>
                  </a:solidFill>
                </a:rPr>
                <a:t>,000</a:t>
              </a:r>
            </a:p>
          </p:txBody>
        </p:sp>
        <p:sp>
          <p:nvSpPr>
            <p:cNvPr id="230" name="í$ľïḍè">
              <a:extLst>
                <a:ext uri="{FF2B5EF4-FFF2-40B4-BE49-F238E27FC236}">
                  <a16:creationId xmlns:a16="http://schemas.microsoft.com/office/drawing/2014/main" id="{76B855CA-FDAD-45A0-AD23-3A74A66719B2}"/>
                </a:ext>
              </a:extLst>
            </p:cNvPr>
            <p:cNvSpPr/>
            <p:nvPr/>
          </p:nvSpPr>
          <p:spPr bwMode="auto">
            <a:xfrm>
              <a:off x="4789381" y="3587718"/>
              <a:ext cx="2763944" cy="9271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000" dirty="0"/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000" dirty="0"/>
                <a:t>……</a:t>
              </a:r>
            </a:p>
          </p:txBody>
        </p:sp>
        <p:grpSp>
          <p:nvGrpSpPr>
            <p:cNvPr id="231" name="iṣļiḋe">
              <a:extLst>
                <a:ext uri="{FF2B5EF4-FFF2-40B4-BE49-F238E27FC236}">
                  <a16:creationId xmlns:a16="http://schemas.microsoft.com/office/drawing/2014/main" id="{E88308CF-C797-478D-B834-60776BA27D9B}"/>
                </a:ext>
              </a:extLst>
            </p:cNvPr>
            <p:cNvGrpSpPr/>
            <p:nvPr/>
          </p:nvGrpSpPr>
          <p:grpSpPr>
            <a:xfrm>
              <a:off x="1127479" y="3176747"/>
              <a:ext cx="3063380" cy="2436653"/>
              <a:chOff x="1127479" y="3176747"/>
              <a:chExt cx="3063380" cy="2436653"/>
            </a:xfrm>
          </p:grpSpPr>
          <p:sp>
            <p:nvSpPr>
              <p:cNvPr id="243" name="îṥ1íde">
                <a:extLst>
                  <a:ext uri="{FF2B5EF4-FFF2-40B4-BE49-F238E27FC236}">
                    <a16:creationId xmlns:a16="http://schemas.microsoft.com/office/drawing/2014/main" id="{0DFFEB48-8CA4-45E6-9CBD-F0BC3A8215CE}"/>
                  </a:ext>
                </a:extLst>
              </p:cNvPr>
              <p:cNvSpPr/>
              <p:nvPr/>
            </p:nvSpPr>
            <p:spPr>
              <a:xfrm>
                <a:off x="1179449" y="3176747"/>
                <a:ext cx="1299410" cy="1299410"/>
              </a:xfrm>
              <a:prstGeom prst="round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244" name="išlîḋè">
                <a:extLst>
                  <a:ext uri="{FF2B5EF4-FFF2-40B4-BE49-F238E27FC236}">
                    <a16:creationId xmlns:a16="http://schemas.microsoft.com/office/drawing/2014/main" id="{2DBBEEBE-4BAA-4F20-8DF2-1EEFD64E37F6}"/>
                  </a:ext>
                </a:extLst>
              </p:cNvPr>
              <p:cNvSpPr/>
              <p:nvPr/>
            </p:nvSpPr>
            <p:spPr>
              <a:xfrm>
                <a:off x="2839479" y="3176747"/>
                <a:ext cx="1299410" cy="1299410"/>
              </a:xfrm>
              <a:prstGeom prst="round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245" name="ïṣlïďé">
                <a:extLst>
                  <a:ext uri="{FF2B5EF4-FFF2-40B4-BE49-F238E27FC236}">
                    <a16:creationId xmlns:a16="http://schemas.microsoft.com/office/drawing/2014/main" id="{CC9FBB4F-CDC9-44B8-B4C7-982D6FF2D971}"/>
                  </a:ext>
                </a:extLst>
              </p:cNvPr>
              <p:cNvSpPr/>
              <p:nvPr/>
            </p:nvSpPr>
            <p:spPr bwMode="auto">
              <a:xfrm>
                <a:off x="1606127" y="3600934"/>
                <a:ext cx="446052" cy="451036"/>
              </a:xfrm>
              <a:custGeom>
                <a:avLst/>
                <a:gdLst>
                  <a:gd name="T0" fmla="*/ 160 w 224"/>
                  <a:gd name="T1" fmla="*/ 0 h 224"/>
                  <a:gd name="T2" fmla="*/ 160 w 224"/>
                  <a:gd name="T3" fmla="*/ 48 h 224"/>
                  <a:gd name="T4" fmla="*/ 224 w 224"/>
                  <a:gd name="T5" fmla="*/ 48 h 224"/>
                  <a:gd name="T6" fmla="*/ 224 w 224"/>
                  <a:gd name="T7" fmla="*/ 176 h 224"/>
                  <a:gd name="T8" fmla="*/ 160 w 224"/>
                  <a:gd name="T9" fmla="*/ 176 h 224"/>
                  <a:gd name="T10" fmla="*/ 160 w 224"/>
                  <a:gd name="T11" fmla="*/ 224 h 224"/>
                  <a:gd name="T12" fmla="*/ 64 w 224"/>
                  <a:gd name="T13" fmla="*/ 224 h 224"/>
                  <a:gd name="T14" fmla="*/ 64 w 224"/>
                  <a:gd name="T15" fmla="*/ 176 h 224"/>
                  <a:gd name="T16" fmla="*/ 0 w 224"/>
                  <a:gd name="T17" fmla="*/ 176 h 224"/>
                  <a:gd name="T18" fmla="*/ 0 w 224"/>
                  <a:gd name="T19" fmla="*/ 76 h 224"/>
                  <a:gd name="T20" fmla="*/ 26 w 224"/>
                  <a:gd name="T21" fmla="*/ 48 h 224"/>
                  <a:gd name="T22" fmla="*/ 64 w 224"/>
                  <a:gd name="T23" fmla="*/ 48 h 224"/>
                  <a:gd name="T24" fmla="*/ 64 w 224"/>
                  <a:gd name="T25" fmla="*/ 0 h 224"/>
                  <a:gd name="T26" fmla="*/ 160 w 224"/>
                  <a:gd name="T27" fmla="*/ 0 h 224"/>
                  <a:gd name="T28" fmla="*/ 152 w 224"/>
                  <a:gd name="T29" fmla="*/ 120 h 224"/>
                  <a:gd name="T30" fmla="*/ 72 w 224"/>
                  <a:gd name="T31" fmla="*/ 120 h 224"/>
                  <a:gd name="T32" fmla="*/ 72 w 224"/>
                  <a:gd name="T33" fmla="*/ 216 h 224"/>
                  <a:gd name="T34" fmla="*/ 152 w 224"/>
                  <a:gd name="T35" fmla="*/ 216 h 224"/>
                  <a:gd name="T36" fmla="*/ 152 w 224"/>
                  <a:gd name="T37" fmla="*/ 120 h 224"/>
                  <a:gd name="T38" fmla="*/ 216 w 224"/>
                  <a:gd name="T39" fmla="*/ 56 h 224"/>
                  <a:gd name="T40" fmla="*/ 30 w 224"/>
                  <a:gd name="T41" fmla="*/ 56 h 224"/>
                  <a:gd name="T42" fmla="*/ 8 w 224"/>
                  <a:gd name="T43" fmla="*/ 80 h 224"/>
                  <a:gd name="T44" fmla="*/ 8 w 224"/>
                  <a:gd name="T45" fmla="*/ 168 h 224"/>
                  <a:gd name="T46" fmla="*/ 64 w 224"/>
                  <a:gd name="T47" fmla="*/ 168 h 224"/>
                  <a:gd name="T48" fmla="*/ 64 w 224"/>
                  <a:gd name="T49" fmla="*/ 112 h 224"/>
                  <a:gd name="T50" fmla="*/ 160 w 224"/>
                  <a:gd name="T51" fmla="*/ 112 h 224"/>
                  <a:gd name="T52" fmla="*/ 160 w 224"/>
                  <a:gd name="T53" fmla="*/ 168 h 224"/>
                  <a:gd name="T54" fmla="*/ 216 w 224"/>
                  <a:gd name="T55" fmla="*/ 168 h 224"/>
                  <a:gd name="T56" fmla="*/ 216 w 224"/>
                  <a:gd name="T57" fmla="*/ 56 h 224"/>
                  <a:gd name="T58" fmla="*/ 194 w 224"/>
                  <a:gd name="T59" fmla="*/ 72 h 224"/>
                  <a:gd name="T60" fmla="*/ 200 w 224"/>
                  <a:gd name="T61" fmla="*/ 78 h 224"/>
                  <a:gd name="T62" fmla="*/ 194 w 224"/>
                  <a:gd name="T63" fmla="*/ 84 h 224"/>
                  <a:gd name="T64" fmla="*/ 188 w 224"/>
                  <a:gd name="T65" fmla="*/ 78 h 224"/>
                  <a:gd name="T66" fmla="*/ 194 w 224"/>
                  <a:gd name="T67" fmla="*/ 72 h 224"/>
                  <a:gd name="T68" fmla="*/ 152 w 224"/>
                  <a:gd name="T69" fmla="*/ 8 h 224"/>
                  <a:gd name="T70" fmla="*/ 72 w 224"/>
                  <a:gd name="T71" fmla="*/ 8 h 224"/>
                  <a:gd name="T72" fmla="*/ 72 w 224"/>
                  <a:gd name="T73" fmla="*/ 48 h 224"/>
                  <a:gd name="T74" fmla="*/ 152 w 224"/>
                  <a:gd name="T75" fmla="*/ 48 h 224"/>
                  <a:gd name="T76" fmla="*/ 152 w 224"/>
                  <a:gd name="T77" fmla="*/ 8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24" h="224">
                    <a:moveTo>
                      <a:pt x="160" y="0"/>
                    </a:moveTo>
                    <a:cubicBezTo>
                      <a:pt x="160" y="48"/>
                      <a:pt x="160" y="48"/>
                      <a:pt x="160" y="48"/>
                    </a:cubicBezTo>
                    <a:cubicBezTo>
                      <a:pt x="224" y="48"/>
                      <a:pt x="224" y="48"/>
                      <a:pt x="224" y="48"/>
                    </a:cubicBezTo>
                    <a:cubicBezTo>
                      <a:pt x="224" y="176"/>
                      <a:pt x="224" y="176"/>
                      <a:pt x="224" y="176"/>
                    </a:cubicBezTo>
                    <a:cubicBezTo>
                      <a:pt x="160" y="176"/>
                      <a:pt x="160" y="176"/>
                      <a:pt x="160" y="176"/>
                    </a:cubicBezTo>
                    <a:cubicBezTo>
                      <a:pt x="160" y="224"/>
                      <a:pt x="160" y="224"/>
                      <a:pt x="160" y="224"/>
                    </a:cubicBezTo>
                    <a:cubicBezTo>
                      <a:pt x="64" y="224"/>
                      <a:pt x="64" y="224"/>
                      <a:pt x="64" y="224"/>
                    </a:cubicBezTo>
                    <a:cubicBezTo>
                      <a:pt x="64" y="176"/>
                      <a:pt x="64" y="176"/>
                      <a:pt x="64" y="176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6" y="48"/>
                      <a:pt x="26" y="48"/>
                      <a:pt x="26" y="48"/>
                    </a:cubicBezTo>
                    <a:cubicBezTo>
                      <a:pt x="64" y="48"/>
                      <a:pt x="64" y="48"/>
                      <a:pt x="64" y="48"/>
                    </a:cubicBezTo>
                    <a:cubicBezTo>
                      <a:pt x="64" y="0"/>
                      <a:pt x="64" y="0"/>
                      <a:pt x="64" y="0"/>
                    </a:cubicBezTo>
                    <a:lnTo>
                      <a:pt x="160" y="0"/>
                    </a:lnTo>
                    <a:close/>
                    <a:moveTo>
                      <a:pt x="152" y="120"/>
                    </a:moveTo>
                    <a:cubicBezTo>
                      <a:pt x="72" y="120"/>
                      <a:pt x="72" y="120"/>
                      <a:pt x="72" y="120"/>
                    </a:cubicBezTo>
                    <a:cubicBezTo>
                      <a:pt x="72" y="216"/>
                      <a:pt x="72" y="216"/>
                      <a:pt x="72" y="216"/>
                    </a:cubicBezTo>
                    <a:cubicBezTo>
                      <a:pt x="152" y="216"/>
                      <a:pt x="152" y="216"/>
                      <a:pt x="152" y="216"/>
                    </a:cubicBezTo>
                    <a:lnTo>
                      <a:pt x="152" y="120"/>
                    </a:lnTo>
                    <a:close/>
                    <a:moveTo>
                      <a:pt x="216" y="56"/>
                    </a:moveTo>
                    <a:cubicBezTo>
                      <a:pt x="30" y="56"/>
                      <a:pt x="30" y="56"/>
                      <a:pt x="30" y="56"/>
                    </a:cubicBezTo>
                    <a:cubicBezTo>
                      <a:pt x="8" y="80"/>
                      <a:pt x="8" y="80"/>
                      <a:pt x="8" y="80"/>
                    </a:cubicBezTo>
                    <a:cubicBezTo>
                      <a:pt x="8" y="168"/>
                      <a:pt x="8" y="168"/>
                      <a:pt x="8" y="168"/>
                    </a:cubicBezTo>
                    <a:cubicBezTo>
                      <a:pt x="64" y="168"/>
                      <a:pt x="64" y="168"/>
                      <a:pt x="64" y="168"/>
                    </a:cubicBezTo>
                    <a:cubicBezTo>
                      <a:pt x="64" y="112"/>
                      <a:pt x="64" y="112"/>
                      <a:pt x="64" y="112"/>
                    </a:cubicBezTo>
                    <a:cubicBezTo>
                      <a:pt x="160" y="112"/>
                      <a:pt x="160" y="112"/>
                      <a:pt x="160" y="112"/>
                    </a:cubicBezTo>
                    <a:cubicBezTo>
                      <a:pt x="160" y="168"/>
                      <a:pt x="160" y="168"/>
                      <a:pt x="160" y="168"/>
                    </a:cubicBezTo>
                    <a:cubicBezTo>
                      <a:pt x="216" y="168"/>
                      <a:pt x="216" y="168"/>
                      <a:pt x="216" y="168"/>
                    </a:cubicBezTo>
                    <a:lnTo>
                      <a:pt x="216" y="56"/>
                    </a:lnTo>
                    <a:close/>
                    <a:moveTo>
                      <a:pt x="194" y="72"/>
                    </a:moveTo>
                    <a:cubicBezTo>
                      <a:pt x="197" y="72"/>
                      <a:pt x="200" y="75"/>
                      <a:pt x="200" y="78"/>
                    </a:cubicBezTo>
                    <a:cubicBezTo>
                      <a:pt x="200" y="81"/>
                      <a:pt x="197" y="84"/>
                      <a:pt x="194" y="84"/>
                    </a:cubicBezTo>
                    <a:cubicBezTo>
                      <a:pt x="191" y="84"/>
                      <a:pt x="188" y="81"/>
                      <a:pt x="188" y="78"/>
                    </a:cubicBezTo>
                    <a:cubicBezTo>
                      <a:pt x="188" y="75"/>
                      <a:pt x="191" y="72"/>
                      <a:pt x="194" y="72"/>
                    </a:cubicBezTo>
                    <a:close/>
                    <a:moveTo>
                      <a:pt x="152" y="8"/>
                    </a:moveTo>
                    <a:cubicBezTo>
                      <a:pt x="72" y="8"/>
                      <a:pt x="72" y="8"/>
                      <a:pt x="72" y="8"/>
                    </a:cubicBezTo>
                    <a:cubicBezTo>
                      <a:pt x="72" y="48"/>
                      <a:pt x="72" y="48"/>
                      <a:pt x="72" y="48"/>
                    </a:cubicBezTo>
                    <a:cubicBezTo>
                      <a:pt x="152" y="48"/>
                      <a:pt x="152" y="48"/>
                      <a:pt x="152" y="48"/>
                    </a:cubicBezTo>
                    <a:lnTo>
                      <a:pt x="152" y="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246" name="îṡļîḓè">
                <a:extLst>
                  <a:ext uri="{FF2B5EF4-FFF2-40B4-BE49-F238E27FC236}">
                    <a16:creationId xmlns:a16="http://schemas.microsoft.com/office/drawing/2014/main" id="{2451C490-4AEC-4D1E-A5AB-00CB97A779B4}"/>
                  </a:ext>
                </a:extLst>
              </p:cNvPr>
              <p:cNvSpPr/>
              <p:nvPr/>
            </p:nvSpPr>
            <p:spPr bwMode="auto">
              <a:xfrm>
                <a:off x="3263666" y="3634320"/>
                <a:ext cx="451036" cy="384262"/>
              </a:xfrm>
              <a:custGeom>
                <a:avLst/>
                <a:gdLst>
                  <a:gd name="T0" fmla="*/ 332 w 358"/>
                  <a:gd name="T1" fmla="*/ 0 h 305"/>
                  <a:gd name="T2" fmla="*/ 332 w 358"/>
                  <a:gd name="T3" fmla="*/ 91 h 305"/>
                  <a:gd name="T4" fmla="*/ 358 w 358"/>
                  <a:gd name="T5" fmla="*/ 91 h 305"/>
                  <a:gd name="T6" fmla="*/ 345 w 358"/>
                  <a:gd name="T7" fmla="*/ 272 h 305"/>
                  <a:gd name="T8" fmla="*/ 306 w 358"/>
                  <a:gd name="T9" fmla="*/ 272 h 305"/>
                  <a:gd name="T10" fmla="*/ 306 w 358"/>
                  <a:gd name="T11" fmla="*/ 305 h 305"/>
                  <a:gd name="T12" fmla="*/ 294 w 358"/>
                  <a:gd name="T13" fmla="*/ 305 h 305"/>
                  <a:gd name="T14" fmla="*/ 294 w 358"/>
                  <a:gd name="T15" fmla="*/ 272 h 305"/>
                  <a:gd name="T16" fmla="*/ 64 w 358"/>
                  <a:gd name="T17" fmla="*/ 272 h 305"/>
                  <a:gd name="T18" fmla="*/ 64 w 358"/>
                  <a:gd name="T19" fmla="*/ 305 h 305"/>
                  <a:gd name="T20" fmla="*/ 51 w 358"/>
                  <a:gd name="T21" fmla="*/ 305 h 305"/>
                  <a:gd name="T22" fmla="*/ 51 w 358"/>
                  <a:gd name="T23" fmla="*/ 272 h 305"/>
                  <a:gd name="T24" fmla="*/ 13 w 358"/>
                  <a:gd name="T25" fmla="*/ 272 h 305"/>
                  <a:gd name="T26" fmla="*/ 0 w 358"/>
                  <a:gd name="T27" fmla="*/ 91 h 305"/>
                  <a:gd name="T28" fmla="*/ 32 w 358"/>
                  <a:gd name="T29" fmla="*/ 91 h 305"/>
                  <a:gd name="T30" fmla="*/ 32 w 358"/>
                  <a:gd name="T31" fmla="*/ 0 h 305"/>
                  <a:gd name="T32" fmla="*/ 332 w 358"/>
                  <a:gd name="T33" fmla="*/ 0 h 305"/>
                  <a:gd name="T34" fmla="*/ 59 w 358"/>
                  <a:gd name="T35" fmla="*/ 104 h 305"/>
                  <a:gd name="T36" fmla="*/ 13 w 358"/>
                  <a:gd name="T37" fmla="*/ 104 h 305"/>
                  <a:gd name="T38" fmla="*/ 26 w 358"/>
                  <a:gd name="T39" fmla="*/ 259 h 305"/>
                  <a:gd name="T40" fmla="*/ 332 w 358"/>
                  <a:gd name="T41" fmla="*/ 259 h 305"/>
                  <a:gd name="T42" fmla="*/ 345 w 358"/>
                  <a:gd name="T43" fmla="*/ 104 h 305"/>
                  <a:gd name="T44" fmla="*/ 298 w 358"/>
                  <a:gd name="T45" fmla="*/ 104 h 305"/>
                  <a:gd name="T46" fmla="*/ 279 w 358"/>
                  <a:gd name="T47" fmla="*/ 208 h 305"/>
                  <a:gd name="T48" fmla="*/ 78 w 358"/>
                  <a:gd name="T49" fmla="*/ 208 h 305"/>
                  <a:gd name="T50" fmla="*/ 59 w 358"/>
                  <a:gd name="T51" fmla="*/ 104 h 305"/>
                  <a:gd name="T52" fmla="*/ 319 w 358"/>
                  <a:gd name="T53" fmla="*/ 13 h 305"/>
                  <a:gd name="T54" fmla="*/ 45 w 358"/>
                  <a:gd name="T55" fmla="*/ 13 h 305"/>
                  <a:gd name="T56" fmla="*/ 45 w 358"/>
                  <a:gd name="T57" fmla="*/ 91 h 305"/>
                  <a:gd name="T58" fmla="*/ 69 w 358"/>
                  <a:gd name="T59" fmla="*/ 91 h 305"/>
                  <a:gd name="T60" fmla="*/ 88 w 358"/>
                  <a:gd name="T61" fmla="*/ 195 h 305"/>
                  <a:gd name="T62" fmla="*/ 270 w 358"/>
                  <a:gd name="T63" fmla="*/ 195 h 305"/>
                  <a:gd name="T64" fmla="*/ 289 w 358"/>
                  <a:gd name="T65" fmla="*/ 91 h 305"/>
                  <a:gd name="T66" fmla="*/ 319 w 358"/>
                  <a:gd name="T67" fmla="*/ 91 h 305"/>
                  <a:gd name="T68" fmla="*/ 319 w 358"/>
                  <a:gd name="T69" fmla="*/ 13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58" h="305">
                    <a:moveTo>
                      <a:pt x="332" y="0"/>
                    </a:moveTo>
                    <a:lnTo>
                      <a:pt x="332" y="91"/>
                    </a:lnTo>
                    <a:lnTo>
                      <a:pt x="358" y="91"/>
                    </a:lnTo>
                    <a:lnTo>
                      <a:pt x="345" y="272"/>
                    </a:lnTo>
                    <a:lnTo>
                      <a:pt x="306" y="272"/>
                    </a:lnTo>
                    <a:lnTo>
                      <a:pt x="306" y="305"/>
                    </a:lnTo>
                    <a:lnTo>
                      <a:pt x="294" y="305"/>
                    </a:lnTo>
                    <a:lnTo>
                      <a:pt x="294" y="272"/>
                    </a:lnTo>
                    <a:lnTo>
                      <a:pt x="64" y="272"/>
                    </a:lnTo>
                    <a:lnTo>
                      <a:pt x="64" y="305"/>
                    </a:lnTo>
                    <a:lnTo>
                      <a:pt x="51" y="305"/>
                    </a:lnTo>
                    <a:lnTo>
                      <a:pt x="51" y="272"/>
                    </a:lnTo>
                    <a:lnTo>
                      <a:pt x="13" y="272"/>
                    </a:lnTo>
                    <a:lnTo>
                      <a:pt x="0" y="91"/>
                    </a:lnTo>
                    <a:lnTo>
                      <a:pt x="32" y="91"/>
                    </a:lnTo>
                    <a:lnTo>
                      <a:pt x="32" y="0"/>
                    </a:lnTo>
                    <a:lnTo>
                      <a:pt x="332" y="0"/>
                    </a:lnTo>
                    <a:close/>
                    <a:moveTo>
                      <a:pt x="59" y="104"/>
                    </a:moveTo>
                    <a:lnTo>
                      <a:pt x="13" y="104"/>
                    </a:lnTo>
                    <a:lnTo>
                      <a:pt x="26" y="259"/>
                    </a:lnTo>
                    <a:lnTo>
                      <a:pt x="332" y="259"/>
                    </a:lnTo>
                    <a:lnTo>
                      <a:pt x="345" y="104"/>
                    </a:lnTo>
                    <a:lnTo>
                      <a:pt x="298" y="104"/>
                    </a:lnTo>
                    <a:lnTo>
                      <a:pt x="279" y="208"/>
                    </a:lnTo>
                    <a:lnTo>
                      <a:pt x="78" y="208"/>
                    </a:lnTo>
                    <a:lnTo>
                      <a:pt x="59" y="104"/>
                    </a:lnTo>
                    <a:close/>
                    <a:moveTo>
                      <a:pt x="319" y="13"/>
                    </a:moveTo>
                    <a:lnTo>
                      <a:pt x="45" y="13"/>
                    </a:lnTo>
                    <a:lnTo>
                      <a:pt x="45" y="91"/>
                    </a:lnTo>
                    <a:lnTo>
                      <a:pt x="69" y="91"/>
                    </a:lnTo>
                    <a:lnTo>
                      <a:pt x="88" y="195"/>
                    </a:lnTo>
                    <a:lnTo>
                      <a:pt x="270" y="195"/>
                    </a:lnTo>
                    <a:lnTo>
                      <a:pt x="289" y="91"/>
                    </a:lnTo>
                    <a:lnTo>
                      <a:pt x="319" y="91"/>
                    </a:lnTo>
                    <a:lnTo>
                      <a:pt x="319" y="13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  <p:grpSp>
            <p:nvGrpSpPr>
              <p:cNvPr id="247" name="îsľíḋe">
                <a:extLst>
                  <a:ext uri="{FF2B5EF4-FFF2-40B4-BE49-F238E27FC236}">
                    <a16:creationId xmlns:a16="http://schemas.microsoft.com/office/drawing/2014/main" id="{85374EC2-E6BE-4A8E-9F3F-6E812D1986A6}"/>
                  </a:ext>
                </a:extLst>
              </p:cNvPr>
              <p:cNvGrpSpPr/>
              <p:nvPr/>
            </p:nvGrpSpPr>
            <p:grpSpPr>
              <a:xfrm>
                <a:off x="1127479" y="4661736"/>
                <a:ext cx="1403350" cy="951664"/>
                <a:chOff x="6553263" y="4439485"/>
                <a:chExt cx="1361802" cy="951664"/>
              </a:xfrm>
            </p:grpSpPr>
            <p:sp>
              <p:nvSpPr>
                <p:cNvPr id="251" name="ïSḻíḑê">
                  <a:extLst>
                    <a:ext uri="{FF2B5EF4-FFF2-40B4-BE49-F238E27FC236}">
                      <a16:creationId xmlns:a16="http://schemas.microsoft.com/office/drawing/2014/main" id="{FD95CEE6-74D5-454B-B28D-E8298A71E7FD}"/>
                    </a:ext>
                  </a:extLst>
                </p:cNvPr>
                <p:cNvSpPr/>
                <p:nvPr/>
              </p:nvSpPr>
              <p:spPr bwMode="auto">
                <a:xfrm>
                  <a:off x="6553263" y="4881290"/>
                  <a:ext cx="1361802" cy="50985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 fontScale="92500"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100" dirty="0"/>
                    <a:t>Supporting text here.</a:t>
                  </a: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100" dirty="0"/>
                    <a:t>…… </a:t>
                  </a:r>
                </a:p>
              </p:txBody>
            </p:sp>
            <p:sp>
              <p:nvSpPr>
                <p:cNvPr id="252" name="ïşḻîdê">
                  <a:extLst>
                    <a:ext uri="{FF2B5EF4-FFF2-40B4-BE49-F238E27FC236}">
                      <a16:creationId xmlns:a16="http://schemas.microsoft.com/office/drawing/2014/main" id="{6D4E8C5C-17D3-4CA7-B341-15C336A0E9FC}"/>
                    </a:ext>
                  </a:extLst>
                </p:cNvPr>
                <p:cNvSpPr txBox="1"/>
                <p:nvPr/>
              </p:nvSpPr>
              <p:spPr bwMode="auto">
                <a:xfrm>
                  <a:off x="6553263" y="4439485"/>
                  <a:ext cx="1361802" cy="4418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eaLnBrk="1" hangingPunct="1">
                    <a:lnSpc>
                      <a:spcPct val="100000"/>
                    </a:lnSpc>
                    <a:spcBef>
                      <a:spcPct val="0"/>
                    </a:spcBef>
                  </a:pPr>
                  <a:r>
                    <a:rPr lang="en-US" altLang="zh-CN" b="1" dirty="0"/>
                    <a:t>Text here</a:t>
                  </a:r>
                </a:p>
              </p:txBody>
            </p:sp>
          </p:grpSp>
          <p:grpSp>
            <p:nvGrpSpPr>
              <p:cNvPr id="248" name="îśļîḑe">
                <a:extLst>
                  <a:ext uri="{FF2B5EF4-FFF2-40B4-BE49-F238E27FC236}">
                    <a16:creationId xmlns:a16="http://schemas.microsoft.com/office/drawing/2014/main" id="{66FB579C-0C05-4046-AC5C-CF48AAF78155}"/>
                  </a:ext>
                </a:extLst>
              </p:cNvPr>
              <p:cNvGrpSpPr/>
              <p:nvPr/>
            </p:nvGrpSpPr>
            <p:grpSpPr>
              <a:xfrm>
                <a:off x="2787509" y="4661736"/>
                <a:ext cx="1403350" cy="951664"/>
                <a:chOff x="6553263" y="4439485"/>
                <a:chExt cx="1361802" cy="951664"/>
              </a:xfrm>
            </p:grpSpPr>
            <p:sp>
              <p:nvSpPr>
                <p:cNvPr id="249" name="î$lïďè">
                  <a:extLst>
                    <a:ext uri="{FF2B5EF4-FFF2-40B4-BE49-F238E27FC236}">
                      <a16:creationId xmlns:a16="http://schemas.microsoft.com/office/drawing/2014/main" id="{BC253B8E-E430-4B16-87BA-8B552553C255}"/>
                    </a:ext>
                  </a:extLst>
                </p:cNvPr>
                <p:cNvSpPr/>
                <p:nvPr/>
              </p:nvSpPr>
              <p:spPr bwMode="auto">
                <a:xfrm>
                  <a:off x="6553263" y="4881290"/>
                  <a:ext cx="1361802" cy="50985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 fontScale="92500"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100" dirty="0"/>
                    <a:t>Supporting text here.</a:t>
                  </a: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100" dirty="0"/>
                    <a:t>…… </a:t>
                  </a:r>
                </a:p>
              </p:txBody>
            </p:sp>
            <p:sp>
              <p:nvSpPr>
                <p:cNvPr id="250" name="iṡľîḑe">
                  <a:extLst>
                    <a:ext uri="{FF2B5EF4-FFF2-40B4-BE49-F238E27FC236}">
                      <a16:creationId xmlns:a16="http://schemas.microsoft.com/office/drawing/2014/main" id="{200D8A14-3780-443C-9DAD-A5A3C0BD087A}"/>
                    </a:ext>
                  </a:extLst>
                </p:cNvPr>
                <p:cNvSpPr txBox="1"/>
                <p:nvPr/>
              </p:nvSpPr>
              <p:spPr bwMode="auto">
                <a:xfrm>
                  <a:off x="6553263" y="4439485"/>
                  <a:ext cx="1361802" cy="4418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eaLnBrk="1" hangingPunct="1">
                    <a:lnSpc>
                      <a:spcPct val="100000"/>
                    </a:lnSpc>
                    <a:spcBef>
                      <a:spcPct val="0"/>
                    </a:spcBef>
                  </a:pPr>
                  <a:r>
                    <a:rPr lang="en-US" altLang="zh-CN" b="1" dirty="0"/>
                    <a:t>Text here</a:t>
                  </a:r>
                </a:p>
              </p:txBody>
            </p:sp>
          </p:grpSp>
        </p:grpSp>
        <p:grpSp>
          <p:nvGrpSpPr>
            <p:cNvPr id="232" name="îṣ1íḓé">
              <a:extLst>
                <a:ext uri="{FF2B5EF4-FFF2-40B4-BE49-F238E27FC236}">
                  <a16:creationId xmlns:a16="http://schemas.microsoft.com/office/drawing/2014/main" id="{A3FD7BDA-6F94-4065-979A-8A5007FDD807}"/>
                </a:ext>
              </a:extLst>
            </p:cNvPr>
            <p:cNvGrpSpPr/>
            <p:nvPr/>
          </p:nvGrpSpPr>
          <p:grpSpPr>
            <a:xfrm>
              <a:off x="8105500" y="3176747"/>
              <a:ext cx="3063380" cy="2436653"/>
              <a:chOff x="1127479" y="3176747"/>
              <a:chExt cx="3063380" cy="2436653"/>
            </a:xfrm>
          </p:grpSpPr>
          <p:sp>
            <p:nvSpPr>
              <p:cNvPr id="233" name="îṥlîde">
                <a:extLst>
                  <a:ext uri="{FF2B5EF4-FFF2-40B4-BE49-F238E27FC236}">
                    <a16:creationId xmlns:a16="http://schemas.microsoft.com/office/drawing/2014/main" id="{9AAF82F8-AE22-4A56-A513-A56ED4CECB05}"/>
                  </a:ext>
                </a:extLst>
              </p:cNvPr>
              <p:cNvSpPr/>
              <p:nvPr/>
            </p:nvSpPr>
            <p:spPr>
              <a:xfrm>
                <a:off x="1179449" y="3176747"/>
                <a:ext cx="1299410" cy="1299410"/>
              </a:xfrm>
              <a:prstGeom prst="round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234" name="îsḻîḍe">
                <a:extLst>
                  <a:ext uri="{FF2B5EF4-FFF2-40B4-BE49-F238E27FC236}">
                    <a16:creationId xmlns:a16="http://schemas.microsoft.com/office/drawing/2014/main" id="{7AF812FE-DCB9-4352-A31F-B17F8A00744F}"/>
                  </a:ext>
                </a:extLst>
              </p:cNvPr>
              <p:cNvSpPr/>
              <p:nvPr/>
            </p:nvSpPr>
            <p:spPr>
              <a:xfrm>
                <a:off x="2839479" y="3176747"/>
                <a:ext cx="1299410" cy="1299410"/>
              </a:xfrm>
              <a:prstGeom prst="round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235" name="išlíďè">
                <a:extLst>
                  <a:ext uri="{FF2B5EF4-FFF2-40B4-BE49-F238E27FC236}">
                    <a16:creationId xmlns:a16="http://schemas.microsoft.com/office/drawing/2014/main" id="{3A599C1B-18B7-45DD-BD56-49B7781267A4}"/>
                  </a:ext>
                </a:extLst>
              </p:cNvPr>
              <p:cNvSpPr/>
              <p:nvPr/>
            </p:nvSpPr>
            <p:spPr bwMode="auto">
              <a:xfrm>
                <a:off x="1662195" y="3600934"/>
                <a:ext cx="333916" cy="451036"/>
              </a:xfrm>
              <a:custGeom>
                <a:avLst/>
                <a:gdLst>
                  <a:gd name="T0" fmla="*/ 197 w 268"/>
                  <a:gd name="T1" fmla="*/ 0 h 362"/>
                  <a:gd name="T2" fmla="*/ 197 w 268"/>
                  <a:gd name="T3" fmla="*/ 25 h 362"/>
                  <a:gd name="T4" fmla="*/ 268 w 268"/>
                  <a:gd name="T5" fmla="*/ 25 h 362"/>
                  <a:gd name="T6" fmla="*/ 268 w 268"/>
                  <a:gd name="T7" fmla="*/ 362 h 362"/>
                  <a:gd name="T8" fmla="*/ 0 w 268"/>
                  <a:gd name="T9" fmla="*/ 362 h 362"/>
                  <a:gd name="T10" fmla="*/ 0 w 268"/>
                  <a:gd name="T11" fmla="*/ 25 h 362"/>
                  <a:gd name="T12" fmla="*/ 70 w 268"/>
                  <a:gd name="T13" fmla="*/ 25 h 362"/>
                  <a:gd name="T14" fmla="*/ 70 w 268"/>
                  <a:gd name="T15" fmla="*/ 0 h 362"/>
                  <a:gd name="T16" fmla="*/ 197 w 268"/>
                  <a:gd name="T17" fmla="*/ 0 h 362"/>
                  <a:gd name="T18" fmla="*/ 70 w 268"/>
                  <a:gd name="T19" fmla="*/ 38 h 362"/>
                  <a:gd name="T20" fmla="*/ 12 w 268"/>
                  <a:gd name="T21" fmla="*/ 38 h 362"/>
                  <a:gd name="T22" fmla="*/ 12 w 268"/>
                  <a:gd name="T23" fmla="*/ 349 h 362"/>
                  <a:gd name="T24" fmla="*/ 255 w 268"/>
                  <a:gd name="T25" fmla="*/ 349 h 362"/>
                  <a:gd name="T26" fmla="*/ 255 w 268"/>
                  <a:gd name="T27" fmla="*/ 38 h 362"/>
                  <a:gd name="T28" fmla="*/ 197 w 268"/>
                  <a:gd name="T29" fmla="*/ 38 h 362"/>
                  <a:gd name="T30" fmla="*/ 197 w 268"/>
                  <a:gd name="T31" fmla="*/ 64 h 362"/>
                  <a:gd name="T32" fmla="*/ 70 w 268"/>
                  <a:gd name="T33" fmla="*/ 64 h 362"/>
                  <a:gd name="T34" fmla="*/ 70 w 268"/>
                  <a:gd name="T35" fmla="*/ 38 h 362"/>
                  <a:gd name="T36" fmla="*/ 134 w 268"/>
                  <a:gd name="T37" fmla="*/ 233 h 362"/>
                  <a:gd name="T38" fmla="*/ 134 w 268"/>
                  <a:gd name="T39" fmla="*/ 246 h 362"/>
                  <a:gd name="T40" fmla="*/ 57 w 268"/>
                  <a:gd name="T41" fmla="*/ 246 h 362"/>
                  <a:gd name="T42" fmla="*/ 57 w 268"/>
                  <a:gd name="T43" fmla="*/ 233 h 362"/>
                  <a:gd name="T44" fmla="*/ 134 w 268"/>
                  <a:gd name="T45" fmla="*/ 233 h 362"/>
                  <a:gd name="T46" fmla="*/ 210 w 268"/>
                  <a:gd name="T47" fmla="*/ 181 h 362"/>
                  <a:gd name="T48" fmla="*/ 210 w 268"/>
                  <a:gd name="T49" fmla="*/ 194 h 362"/>
                  <a:gd name="T50" fmla="*/ 57 w 268"/>
                  <a:gd name="T51" fmla="*/ 194 h 362"/>
                  <a:gd name="T52" fmla="*/ 57 w 268"/>
                  <a:gd name="T53" fmla="*/ 181 h 362"/>
                  <a:gd name="T54" fmla="*/ 210 w 268"/>
                  <a:gd name="T55" fmla="*/ 181 h 362"/>
                  <a:gd name="T56" fmla="*/ 210 w 268"/>
                  <a:gd name="T57" fmla="*/ 129 h 362"/>
                  <a:gd name="T58" fmla="*/ 210 w 268"/>
                  <a:gd name="T59" fmla="*/ 142 h 362"/>
                  <a:gd name="T60" fmla="*/ 57 w 268"/>
                  <a:gd name="T61" fmla="*/ 142 h 362"/>
                  <a:gd name="T62" fmla="*/ 57 w 268"/>
                  <a:gd name="T63" fmla="*/ 129 h 362"/>
                  <a:gd name="T64" fmla="*/ 210 w 268"/>
                  <a:gd name="T65" fmla="*/ 129 h 362"/>
                  <a:gd name="T66" fmla="*/ 185 w 268"/>
                  <a:gd name="T67" fmla="*/ 12 h 362"/>
                  <a:gd name="T68" fmla="*/ 83 w 268"/>
                  <a:gd name="T69" fmla="*/ 12 h 362"/>
                  <a:gd name="T70" fmla="*/ 83 w 268"/>
                  <a:gd name="T71" fmla="*/ 51 h 362"/>
                  <a:gd name="T72" fmla="*/ 185 w 268"/>
                  <a:gd name="T73" fmla="*/ 51 h 362"/>
                  <a:gd name="T74" fmla="*/ 185 w 268"/>
                  <a:gd name="T75" fmla="*/ 12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68" h="362">
                    <a:moveTo>
                      <a:pt x="197" y="0"/>
                    </a:moveTo>
                    <a:lnTo>
                      <a:pt x="197" y="25"/>
                    </a:lnTo>
                    <a:lnTo>
                      <a:pt x="268" y="25"/>
                    </a:lnTo>
                    <a:lnTo>
                      <a:pt x="268" y="362"/>
                    </a:lnTo>
                    <a:lnTo>
                      <a:pt x="0" y="362"/>
                    </a:lnTo>
                    <a:lnTo>
                      <a:pt x="0" y="25"/>
                    </a:lnTo>
                    <a:lnTo>
                      <a:pt x="70" y="25"/>
                    </a:lnTo>
                    <a:lnTo>
                      <a:pt x="70" y="0"/>
                    </a:lnTo>
                    <a:lnTo>
                      <a:pt x="197" y="0"/>
                    </a:lnTo>
                    <a:close/>
                    <a:moveTo>
                      <a:pt x="70" y="38"/>
                    </a:moveTo>
                    <a:lnTo>
                      <a:pt x="12" y="38"/>
                    </a:lnTo>
                    <a:lnTo>
                      <a:pt x="12" y="349"/>
                    </a:lnTo>
                    <a:lnTo>
                      <a:pt x="255" y="349"/>
                    </a:lnTo>
                    <a:lnTo>
                      <a:pt x="255" y="38"/>
                    </a:lnTo>
                    <a:lnTo>
                      <a:pt x="197" y="38"/>
                    </a:lnTo>
                    <a:lnTo>
                      <a:pt x="197" y="64"/>
                    </a:lnTo>
                    <a:lnTo>
                      <a:pt x="70" y="64"/>
                    </a:lnTo>
                    <a:lnTo>
                      <a:pt x="70" y="38"/>
                    </a:lnTo>
                    <a:close/>
                    <a:moveTo>
                      <a:pt x="134" y="233"/>
                    </a:moveTo>
                    <a:lnTo>
                      <a:pt x="134" y="246"/>
                    </a:lnTo>
                    <a:lnTo>
                      <a:pt x="57" y="246"/>
                    </a:lnTo>
                    <a:lnTo>
                      <a:pt x="57" y="233"/>
                    </a:lnTo>
                    <a:lnTo>
                      <a:pt x="134" y="233"/>
                    </a:lnTo>
                    <a:close/>
                    <a:moveTo>
                      <a:pt x="210" y="181"/>
                    </a:moveTo>
                    <a:lnTo>
                      <a:pt x="210" y="194"/>
                    </a:lnTo>
                    <a:lnTo>
                      <a:pt x="57" y="194"/>
                    </a:lnTo>
                    <a:lnTo>
                      <a:pt x="57" y="181"/>
                    </a:lnTo>
                    <a:lnTo>
                      <a:pt x="210" y="181"/>
                    </a:lnTo>
                    <a:close/>
                    <a:moveTo>
                      <a:pt x="210" y="129"/>
                    </a:moveTo>
                    <a:lnTo>
                      <a:pt x="210" y="142"/>
                    </a:lnTo>
                    <a:lnTo>
                      <a:pt x="57" y="142"/>
                    </a:lnTo>
                    <a:lnTo>
                      <a:pt x="57" y="129"/>
                    </a:lnTo>
                    <a:lnTo>
                      <a:pt x="210" y="129"/>
                    </a:lnTo>
                    <a:close/>
                    <a:moveTo>
                      <a:pt x="185" y="12"/>
                    </a:moveTo>
                    <a:lnTo>
                      <a:pt x="83" y="12"/>
                    </a:lnTo>
                    <a:lnTo>
                      <a:pt x="83" y="51"/>
                    </a:lnTo>
                    <a:lnTo>
                      <a:pt x="185" y="51"/>
                    </a:lnTo>
                    <a:lnTo>
                      <a:pt x="185" y="1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236" name="îṡļíḋê">
                <a:extLst>
                  <a:ext uri="{FF2B5EF4-FFF2-40B4-BE49-F238E27FC236}">
                    <a16:creationId xmlns:a16="http://schemas.microsoft.com/office/drawing/2014/main" id="{6F17F77A-375B-402B-A5CC-985BA6DA7674}"/>
                  </a:ext>
                </a:extLst>
              </p:cNvPr>
              <p:cNvSpPr/>
              <p:nvPr/>
            </p:nvSpPr>
            <p:spPr bwMode="auto">
              <a:xfrm>
                <a:off x="3263666" y="3614792"/>
                <a:ext cx="451036" cy="423318"/>
              </a:xfrm>
              <a:custGeom>
                <a:avLst/>
                <a:gdLst>
                  <a:gd name="T0" fmla="*/ 275 w 358"/>
                  <a:gd name="T1" fmla="*/ 0 h 336"/>
                  <a:gd name="T2" fmla="*/ 275 w 358"/>
                  <a:gd name="T3" fmla="*/ 77 h 336"/>
                  <a:gd name="T4" fmla="*/ 358 w 358"/>
                  <a:gd name="T5" fmla="*/ 77 h 336"/>
                  <a:gd name="T6" fmla="*/ 358 w 358"/>
                  <a:gd name="T7" fmla="*/ 336 h 336"/>
                  <a:gd name="T8" fmla="*/ 0 w 358"/>
                  <a:gd name="T9" fmla="*/ 336 h 336"/>
                  <a:gd name="T10" fmla="*/ 0 w 358"/>
                  <a:gd name="T11" fmla="*/ 77 h 336"/>
                  <a:gd name="T12" fmla="*/ 83 w 358"/>
                  <a:gd name="T13" fmla="*/ 77 h 336"/>
                  <a:gd name="T14" fmla="*/ 83 w 358"/>
                  <a:gd name="T15" fmla="*/ 0 h 336"/>
                  <a:gd name="T16" fmla="*/ 275 w 358"/>
                  <a:gd name="T17" fmla="*/ 0 h 336"/>
                  <a:gd name="T18" fmla="*/ 83 w 358"/>
                  <a:gd name="T19" fmla="*/ 155 h 336"/>
                  <a:gd name="T20" fmla="*/ 13 w 358"/>
                  <a:gd name="T21" fmla="*/ 155 h 336"/>
                  <a:gd name="T22" fmla="*/ 13 w 358"/>
                  <a:gd name="T23" fmla="*/ 323 h 336"/>
                  <a:gd name="T24" fmla="*/ 345 w 358"/>
                  <a:gd name="T25" fmla="*/ 323 h 336"/>
                  <a:gd name="T26" fmla="*/ 345 w 358"/>
                  <a:gd name="T27" fmla="*/ 155 h 336"/>
                  <a:gd name="T28" fmla="*/ 275 w 358"/>
                  <a:gd name="T29" fmla="*/ 155 h 336"/>
                  <a:gd name="T30" fmla="*/ 275 w 358"/>
                  <a:gd name="T31" fmla="*/ 187 h 336"/>
                  <a:gd name="T32" fmla="*/ 262 w 358"/>
                  <a:gd name="T33" fmla="*/ 187 h 336"/>
                  <a:gd name="T34" fmla="*/ 262 w 358"/>
                  <a:gd name="T35" fmla="*/ 155 h 336"/>
                  <a:gd name="T36" fmla="*/ 96 w 358"/>
                  <a:gd name="T37" fmla="*/ 155 h 336"/>
                  <a:gd name="T38" fmla="*/ 96 w 358"/>
                  <a:gd name="T39" fmla="*/ 187 h 336"/>
                  <a:gd name="T40" fmla="*/ 83 w 358"/>
                  <a:gd name="T41" fmla="*/ 187 h 336"/>
                  <a:gd name="T42" fmla="*/ 83 w 358"/>
                  <a:gd name="T43" fmla="*/ 155 h 336"/>
                  <a:gd name="T44" fmla="*/ 345 w 358"/>
                  <a:gd name="T45" fmla="*/ 90 h 336"/>
                  <a:gd name="T46" fmla="*/ 13 w 358"/>
                  <a:gd name="T47" fmla="*/ 90 h 336"/>
                  <a:gd name="T48" fmla="*/ 13 w 358"/>
                  <a:gd name="T49" fmla="*/ 142 h 336"/>
                  <a:gd name="T50" fmla="*/ 345 w 358"/>
                  <a:gd name="T51" fmla="*/ 142 h 336"/>
                  <a:gd name="T52" fmla="*/ 345 w 358"/>
                  <a:gd name="T53" fmla="*/ 90 h 336"/>
                  <a:gd name="T54" fmla="*/ 262 w 358"/>
                  <a:gd name="T55" fmla="*/ 12 h 336"/>
                  <a:gd name="T56" fmla="*/ 96 w 358"/>
                  <a:gd name="T57" fmla="*/ 12 h 336"/>
                  <a:gd name="T58" fmla="*/ 96 w 358"/>
                  <a:gd name="T59" fmla="*/ 77 h 336"/>
                  <a:gd name="T60" fmla="*/ 262 w 358"/>
                  <a:gd name="T61" fmla="*/ 77 h 336"/>
                  <a:gd name="T62" fmla="*/ 262 w 358"/>
                  <a:gd name="T63" fmla="*/ 12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58" h="336">
                    <a:moveTo>
                      <a:pt x="275" y="0"/>
                    </a:moveTo>
                    <a:lnTo>
                      <a:pt x="275" y="77"/>
                    </a:lnTo>
                    <a:lnTo>
                      <a:pt x="358" y="77"/>
                    </a:lnTo>
                    <a:lnTo>
                      <a:pt x="358" y="336"/>
                    </a:lnTo>
                    <a:lnTo>
                      <a:pt x="0" y="336"/>
                    </a:lnTo>
                    <a:lnTo>
                      <a:pt x="0" y="77"/>
                    </a:lnTo>
                    <a:lnTo>
                      <a:pt x="83" y="77"/>
                    </a:lnTo>
                    <a:lnTo>
                      <a:pt x="83" y="0"/>
                    </a:lnTo>
                    <a:lnTo>
                      <a:pt x="275" y="0"/>
                    </a:lnTo>
                    <a:close/>
                    <a:moveTo>
                      <a:pt x="83" y="155"/>
                    </a:moveTo>
                    <a:lnTo>
                      <a:pt x="13" y="155"/>
                    </a:lnTo>
                    <a:lnTo>
                      <a:pt x="13" y="323"/>
                    </a:lnTo>
                    <a:lnTo>
                      <a:pt x="345" y="323"/>
                    </a:lnTo>
                    <a:lnTo>
                      <a:pt x="345" y="155"/>
                    </a:lnTo>
                    <a:lnTo>
                      <a:pt x="275" y="155"/>
                    </a:lnTo>
                    <a:lnTo>
                      <a:pt x="275" y="187"/>
                    </a:lnTo>
                    <a:lnTo>
                      <a:pt x="262" y="187"/>
                    </a:lnTo>
                    <a:lnTo>
                      <a:pt x="262" y="155"/>
                    </a:lnTo>
                    <a:lnTo>
                      <a:pt x="96" y="155"/>
                    </a:lnTo>
                    <a:lnTo>
                      <a:pt x="96" y="187"/>
                    </a:lnTo>
                    <a:lnTo>
                      <a:pt x="83" y="187"/>
                    </a:lnTo>
                    <a:lnTo>
                      <a:pt x="83" y="155"/>
                    </a:lnTo>
                    <a:close/>
                    <a:moveTo>
                      <a:pt x="345" y="90"/>
                    </a:moveTo>
                    <a:lnTo>
                      <a:pt x="13" y="90"/>
                    </a:lnTo>
                    <a:lnTo>
                      <a:pt x="13" y="142"/>
                    </a:lnTo>
                    <a:lnTo>
                      <a:pt x="345" y="142"/>
                    </a:lnTo>
                    <a:lnTo>
                      <a:pt x="345" y="90"/>
                    </a:lnTo>
                    <a:close/>
                    <a:moveTo>
                      <a:pt x="262" y="12"/>
                    </a:moveTo>
                    <a:lnTo>
                      <a:pt x="96" y="12"/>
                    </a:lnTo>
                    <a:lnTo>
                      <a:pt x="96" y="77"/>
                    </a:lnTo>
                    <a:lnTo>
                      <a:pt x="262" y="77"/>
                    </a:lnTo>
                    <a:lnTo>
                      <a:pt x="262" y="1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  <p:grpSp>
            <p:nvGrpSpPr>
              <p:cNvPr id="237" name="íṧľîḍe">
                <a:extLst>
                  <a:ext uri="{FF2B5EF4-FFF2-40B4-BE49-F238E27FC236}">
                    <a16:creationId xmlns:a16="http://schemas.microsoft.com/office/drawing/2014/main" id="{8FECF035-EA0B-4AF6-810E-A0967236E040}"/>
                  </a:ext>
                </a:extLst>
              </p:cNvPr>
              <p:cNvGrpSpPr/>
              <p:nvPr/>
            </p:nvGrpSpPr>
            <p:grpSpPr>
              <a:xfrm>
                <a:off x="1127479" y="4661736"/>
                <a:ext cx="1403350" cy="951664"/>
                <a:chOff x="6553263" y="4439485"/>
                <a:chExt cx="1361802" cy="951664"/>
              </a:xfrm>
            </p:grpSpPr>
            <p:sp>
              <p:nvSpPr>
                <p:cNvPr id="241" name="íšļíḑè">
                  <a:extLst>
                    <a:ext uri="{FF2B5EF4-FFF2-40B4-BE49-F238E27FC236}">
                      <a16:creationId xmlns:a16="http://schemas.microsoft.com/office/drawing/2014/main" id="{76F9D9AD-A186-4D38-90BC-EAB5CC6225BC}"/>
                    </a:ext>
                  </a:extLst>
                </p:cNvPr>
                <p:cNvSpPr/>
                <p:nvPr/>
              </p:nvSpPr>
              <p:spPr bwMode="auto">
                <a:xfrm>
                  <a:off x="6553263" y="4881290"/>
                  <a:ext cx="1361802" cy="50985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 fontScale="92500"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100" dirty="0"/>
                    <a:t>Supporting text here.</a:t>
                  </a: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100" dirty="0"/>
                    <a:t>…… </a:t>
                  </a:r>
                </a:p>
              </p:txBody>
            </p:sp>
            <p:sp>
              <p:nvSpPr>
                <p:cNvPr id="242" name="i$ľîḓê">
                  <a:extLst>
                    <a:ext uri="{FF2B5EF4-FFF2-40B4-BE49-F238E27FC236}">
                      <a16:creationId xmlns:a16="http://schemas.microsoft.com/office/drawing/2014/main" id="{44C9E458-F931-4E44-B882-FD4C1023C179}"/>
                    </a:ext>
                  </a:extLst>
                </p:cNvPr>
                <p:cNvSpPr txBox="1"/>
                <p:nvPr/>
              </p:nvSpPr>
              <p:spPr bwMode="auto">
                <a:xfrm>
                  <a:off x="6553263" y="4439485"/>
                  <a:ext cx="1361802" cy="4418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eaLnBrk="1" hangingPunct="1">
                    <a:lnSpc>
                      <a:spcPct val="100000"/>
                    </a:lnSpc>
                    <a:spcBef>
                      <a:spcPct val="0"/>
                    </a:spcBef>
                  </a:pPr>
                  <a:r>
                    <a:rPr lang="en-US" altLang="zh-CN" b="1" dirty="0"/>
                    <a:t>Text here</a:t>
                  </a:r>
                </a:p>
              </p:txBody>
            </p:sp>
          </p:grpSp>
          <p:grpSp>
            <p:nvGrpSpPr>
              <p:cNvPr id="238" name="ï$líḋê">
                <a:extLst>
                  <a:ext uri="{FF2B5EF4-FFF2-40B4-BE49-F238E27FC236}">
                    <a16:creationId xmlns:a16="http://schemas.microsoft.com/office/drawing/2014/main" id="{05AA807C-2884-44A9-8A5C-6D131C62C413}"/>
                  </a:ext>
                </a:extLst>
              </p:cNvPr>
              <p:cNvGrpSpPr/>
              <p:nvPr/>
            </p:nvGrpSpPr>
            <p:grpSpPr>
              <a:xfrm>
                <a:off x="2787509" y="4661736"/>
                <a:ext cx="1403350" cy="951664"/>
                <a:chOff x="6553263" y="4439485"/>
                <a:chExt cx="1361802" cy="951664"/>
              </a:xfrm>
            </p:grpSpPr>
            <p:sp>
              <p:nvSpPr>
                <p:cNvPr id="239" name="îśḻïďê">
                  <a:extLst>
                    <a:ext uri="{FF2B5EF4-FFF2-40B4-BE49-F238E27FC236}">
                      <a16:creationId xmlns:a16="http://schemas.microsoft.com/office/drawing/2014/main" id="{B42D1ADF-74BE-4071-863F-A62881286280}"/>
                    </a:ext>
                  </a:extLst>
                </p:cNvPr>
                <p:cNvSpPr/>
                <p:nvPr/>
              </p:nvSpPr>
              <p:spPr bwMode="auto">
                <a:xfrm>
                  <a:off x="6553263" y="4881290"/>
                  <a:ext cx="1361802" cy="50985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 fontScale="92500"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100" dirty="0"/>
                    <a:t>Supporting text here.</a:t>
                  </a: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100" dirty="0"/>
                    <a:t>…… </a:t>
                  </a:r>
                </a:p>
              </p:txBody>
            </p:sp>
            <p:sp>
              <p:nvSpPr>
                <p:cNvPr id="240" name="ïSḷiḑe">
                  <a:extLst>
                    <a:ext uri="{FF2B5EF4-FFF2-40B4-BE49-F238E27FC236}">
                      <a16:creationId xmlns:a16="http://schemas.microsoft.com/office/drawing/2014/main" id="{16CAC90F-41C8-435D-8A86-E6E043CD0892}"/>
                    </a:ext>
                  </a:extLst>
                </p:cNvPr>
                <p:cNvSpPr txBox="1"/>
                <p:nvPr/>
              </p:nvSpPr>
              <p:spPr bwMode="auto">
                <a:xfrm>
                  <a:off x="6553263" y="4439485"/>
                  <a:ext cx="1361802" cy="4418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eaLnBrk="1" hangingPunct="1">
                    <a:lnSpc>
                      <a:spcPct val="100000"/>
                    </a:lnSpc>
                    <a:spcBef>
                      <a:spcPct val="0"/>
                    </a:spcBef>
                  </a:pPr>
                  <a:r>
                    <a:rPr lang="en-US" altLang="zh-CN" b="1" dirty="0"/>
                    <a:t>Text here</a:t>
                  </a:r>
                </a:p>
              </p:txBody>
            </p:sp>
          </p:grp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9760953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30C1184-3D0C-4EE3-AA04-B9B90D32CF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FF5B9A43-4B6B-4A9F-885A-0AF9CB6B3A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E8F2D0A-738B-41B9-B707-035FAA3C19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 dirty="0"/>
          </a:p>
        </p:txBody>
      </p:sp>
      <p:grpSp>
        <p:nvGrpSpPr>
          <p:cNvPr id="38" name="21866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21DCE8C-6313-4390-8545-CCE8B1E2100E}"/>
              </a:ext>
            </a:extLst>
          </p:cNvPr>
          <p:cNvGrpSpPr>
            <a:grpSpLocks noChangeAspect="1"/>
          </p:cNvGrpSpPr>
          <p:nvPr/>
        </p:nvGrpSpPr>
        <p:grpSpPr>
          <a:xfrm>
            <a:off x="0" y="1320422"/>
            <a:ext cx="12192000" cy="4633508"/>
            <a:chOff x="0" y="1320422"/>
            <a:chExt cx="12192000" cy="4633508"/>
          </a:xfrm>
        </p:grpSpPr>
        <p:grpSp>
          <p:nvGrpSpPr>
            <p:cNvPr id="39" name="iṧ1iďè">
              <a:extLst>
                <a:ext uri="{FF2B5EF4-FFF2-40B4-BE49-F238E27FC236}">
                  <a16:creationId xmlns:a16="http://schemas.microsoft.com/office/drawing/2014/main" id="{E98A326D-C393-4E9F-9476-90D1C749B13F}"/>
                </a:ext>
              </a:extLst>
            </p:cNvPr>
            <p:cNvGrpSpPr/>
            <p:nvPr/>
          </p:nvGrpSpPr>
          <p:grpSpPr>
            <a:xfrm>
              <a:off x="2799285" y="1320422"/>
              <a:ext cx="1865929" cy="2166327"/>
              <a:chOff x="2799285" y="1320422"/>
              <a:chExt cx="1865929" cy="2166327"/>
            </a:xfrm>
          </p:grpSpPr>
          <p:sp>
            <p:nvSpPr>
              <p:cNvPr id="71" name="islïḍè">
                <a:extLst>
                  <a:ext uri="{FF2B5EF4-FFF2-40B4-BE49-F238E27FC236}">
                    <a16:creationId xmlns:a16="http://schemas.microsoft.com/office/drawing/2014/main" id="{BF6F66D4-6325-407C-BB99-33DC0209E52F}"/>
                  </a:ext>
                </a:extLst>
              </p:cNvPr>
              <p:cNvSpPr/>
              <p:nvPr/>
            </p:nvSpPr>
            <p:spPr>
              <a:xfrm rot="5400000">
                <a:off x="2174153" y="1945554"/>
                <a:ext cx="2166327" cy="916064"/>
              </a:xfrm>
              <a:custGeom>
                <a:avLst/>
                <a:gdLst>
                  <a:gd name="connsiteX0" fmla="*/ 0 w 2166327"/>
                  <a:gd name="connsiteY0" fmla="*/ 0 h 916064"/>
                  <a:gd name="connsiteX1" fmla="*/ 2166327 w 2166327"/>
                  <a:gd name="connsiteY1" fmla="*/ 0 h 916064"/>
                  <a:gd name="connsiteX2" fmla="*/ 2159127 w 2166327"/>
                  <a:gd name="connsiteY2" fmla="*/ 12497 h 916064"/>
                  <a:gd name="connsiteX3" fmla="*/ 2166326 w 2166327"/>
                  <a:gd name="connsiteY3" fmla="*/ 12497 h 916064"/>
                  <a:gd name="connsiteX4" fmla="*/ 1714542 w 2166327"/>
                  <a:gd name="connsiteY4" fmla="*/ 916064 h 916064"/>
                  <a:gd name="connsiteX5" fmla="*/ 451785 w 2166327"/>
                  <a:gd name="connsiteY5" fmla="*/ 916064 h 916064"/>
                  <a:gd name="connsiteX6" fmla="*/ 2 w 2166327"/>
                  <a:gd name="connsiteY6" fmla="*/ 12497 h 916064"/>
                  <a:gd name="connsiteX7" fmla="*/ 7200 w 2166327"/>
                  <a:gd name="connsiteY7" fmla="*/ 12497 h 916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66327" h="916064">
                    <a:moveTo>
                      <a:pt x="0" y="0"/>
                    </a:moveTo>
                    <a:lnTo>
                      <a:pt x="2166327" y="0"/>
                    </a:lnTo>
                    <a:lnTo>
                      <a:pt x="2159127" y="12497"/>
                    </a:lnTo>
                    <a:lnTo>
                      <a:pt x="2166326" y="12497"/>
                    </a:lnTo>
                    <a:lnTo>
                      <a:pt x="1714542" y="916064"/>
                    </a:lnTo>
                    <a:lnTo>
                      <a:pt x="451785" y="916064"/>
                    </a:lnTo>
                    <a:lnTo>
                      <a:pt x="2" y="12497"/>
                    </a:lnTo>
                    <a:lnTo>
                      <a:pt x="7200" y="12497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id-ID"/>
              </a:p>
            </p:txBody>
          </p:sp>
          <p:sp>
            <p:nvSpPr>
              <p:cNvPr id="72" name="iŝḷîďe">
                <a:extLst>
                  <a:ext uri="{FF2B5EF4-FFF2-40B4-BE49-F238E27FC236}">
                    <a16:creationId xmlns:a16="http://schemas.microsoft.com/office/drawing/2014/main" id="{62CFE1B6-5FBD-4CBE-81F0-C1260118CF32}"/>
                  </a:ext>
                </a:extLst>
              </p:cNvPr>
              <p:cNvSpPr/>
              <p:nvPr/>
            </p:nvSpPr>
            <p:spPr>
              <a:xfrm rot="5400000">
                <a:off x="3130269" y="1951803"/>
                <a:ext cx="2166323" cy="903566"/>
              </a:xfrm>
              <a:custGeom>
                <a:avLst/>
                <a:gdLst>
                  <a:gd name="connsiteX0" fmla="*/ 1419283 w 2166323"/>
                  <a:gd name="connsiteY0" fmla="*/ 178156 h 903566"/>
                  <a:gd name="connsiteX1" fmla="*/ 1419283 w 2166323"/>
                  <a:gd name="connsiteY1" fmla="*/ 0 h 903566"/>
                  <a:gd name="connsiteX2" fmla="*/ 1714541 w 2166323"/>
                  <a:gd name="connsiteY2" fmla="*/ 0 h 903566"/>
                  <a:gd name="connsiteX3" fmla="*/ 2166323 w 2166323"/>
                  <a:gd name="connsiteY3" fmla="*/ 903566 h 903566"/>
                  <a:gd name="connsiteX4" fmla="*/ 1957743 w 2166323"/>
                  <a:gd name="connsiteY4" fmla="*/ 903566 h 903566"/>
                  <a:gd name="connsiteX5" fmla="*/ 1595038 w 2166323"/>
                  <a:gd name="connsiteY5" fmla="*/ 178156 h 903566"/>
                  <a:gd name="connsiteX6" fmla="*/ 0 w 2166323"/>
                  <a:gd name="connsiteY6" fmla="*/ 903566 h 903566"/>
                  <a:gd name="connsiteX7" fmla="*/ 451784 w 2166323"/>
                  <a:gd name="connsiteY7" fmla="*/ 0 h 903566"/>
                  <a:gd name="connsiteX8" fmla="*/ 883730 w 2166323"/>
                  <a:gd name="connsiteY8" fmla="*/ 0 h 903566"/>
                  <a:gd name="connsiteX9" fmla="*/ 883730 w 2166323"/>
                  <a:gd name="connsiteY9" fmla="*/ 178156 h 903566"/>
                  <a:gd name="connsiteX10" fmla="*/ 571289 w 2166323"/>
                  <a:gd name="connsiteY10" fmla="*/ 178156 h 903566"/>
                  <a:gd name="connsiteX11" fmla="*/ 208584 w 2166323"/>
                  <a:gd name="connsiteY11" fmla="*/ 903566 h 903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66323" h="903566">
                    <a:moveTo>
                      <a:pt x="1419283" y="178156"/>
                    </a:moveTo>
                    <a:lnTo>
                      <a:pt x="1419283" y="0"/>
                    </a:lnTo>
                    <a:lnTo>
                      <a:pt x="1714541" y="0"/>
                    </a:lnTo>
                    <a:lnTo>
                      <a:pt x="2166323" y="903566"/>
                    </a:lnTo>
                    <a:lnTo>
                      <a:pt x="1957743" y="903566"/>
                    </a:lnTo>
                    <a:lnTo>
                      <a:pt x="1595038" y="178156"/>
                    </a:lnTo>
                    <a:close/>
                    <a:moveTo>
                      <a:pt x="0" y="903566"/>
                    </a:moveTo>
                    <a:lnTo>
                      <a:pt x="451784" y="0"/>
                    </a:lnTo>
                    <a:lnTo>
                      <a:pt x="883730" y="0"/>
                    </a:lnTo>
                    <a:lnTo>
                      <a:pt x="883730" y="178156"/>
                    </a:lnTo>
                    <a:lnTo>
                      <a:pt x="571289" y="178156"/>
                    </a:lnTo>
                    <a:lnTo>
                      <a:pt x="208584" y="90356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id-ID"/>
              </a:p>
            </p:txBody>
          </p:sp>
        </p:grpSp>
        <p:sp>
          <p:nvSpPr>
            <p:cNvPr id="40" name="íšlïḍé">
              <a:extLst>
                <a:ext uri="{FF2B5EF4-FFF2-40B4-BE49-F238E27FC236}">
                  <a16:creationId xmlns:a16="http://schemas.microsoft.com/office/drawing/2014/main" id="{3019AF38-CAAD-4DAF-9FCF-BA757E31FB33}"/>
                </a:ext>
              </a:extLst>
            </p:cNvPr>
            <p:cNvSpPr/>
            <p:nvPr/>
          </p:nvSpPr>
          <p:spPr>
            <a:xfrm>
              <a:off x="0" y="2288406"/>
              <a:ext cx="2799285" cy="2303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/>
            </a:p>
          </p:txBody>
        </p:sp>
        <p:sp>
          <p:nvSpPr>
            <p:cNvPr id="41" name="ïš1ídè">
              <a:extLst>
                <a:ext uri="{FF2B5EF4-FFF2-40B4-BE49-F238E27FC236}">
                  <a16:creationId xmlns:a16="http://schemas.microsoft.com/office/drawing/2014/main" id="{0ACFA9AD-B1D5-4086-98FF-32787AC2C11B}"/>
                </a:ext>
              </a:extLst>
            </p:cNvPr>
            <p:cNvSpPr/>
            <p:nvPr/>
          </p:nvSpPr>
          <p:spPr>
            <a:xfrm>
              <a:off x="5839485" y="2290382"/>
              <a:ext cx="6352515" cy="2264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/>
            </a:p>
          </p:txBody>
        </p:sp>
        <p:sp>
          <p:nvSpPr>
            <p:cNvPr id="42" name="ïsļiḋê">
              <a:extLst>
                <a:ext uri="{FF2B5EF4-FFF2-40B4-BE49-F238E27FC236}">
                  <a16:creationId xmlns:a16="http://schemas.microsoft.com/office/drawing/2014/main" id="{6FA8394A-C750-42B5-8172-8693CBBD3803}"/>
                </a:ext>
              </a:extLst>
            </p:cNvPr>
            <p:cNvSpPr txBox="1"/>
            <p:nvPr/>
          </p:nvSpPr>
          <p:spPr bwMode="auto">
            <a:xfrm>
              <a:off x="4443787" y="2207453"/>
              <a:ext cx="1305357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000" b="1" dirty="0"/>
                <a:t>Text here</a:t>
              </a:r>
            </a:p>
          </p:txBody>
        </p:sp>
        <p:grpSp>
          <p:nvGrpSpPr>
            <p:cNvPr id="43" name="îṥľiďè">
              <a:extLst>
                <a:ext uri="{FF2B5EF4-FFF2-40B4-BE49-F238E27FC236}">
                  <a16:creationId xmlns:a16="http://schemas.microsoft.com/office/drawing/2014/main" id="{44DAA851-D6D3-4904-B9A3-524920F71E10}"/>
                </a:ext>
              </a:extLst>
            </p:cNvPr>
            <p:cNvGrpSpPr/>
            <p:nvPr/>
          </p:nvGrpSpPr>
          <p:grpSpPr>
            <a:xfrm>
              <a:off x="6985770" y="5218510"/>
              <a:ext cx="4533129" cy="735420"/>
              <a:chOff x="6987359" y="5381472"/>
              <a:chExt cx="4533129" cy="735420"/>
            </a:xfrm>
          </p:grpSpPr>
          <p:sp>
            <p:nvSpPr>
              <p:cNvPr id="68" name="îṩḻîḑê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>
                <a:off x="6987359" y="5381472"/>
                <a:ext cx="4533129" cy="3677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69" name="ïsḻíḑe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>
                <a:off x="6987359" y="5749182"/>
                <a:ext cx="4533129" cy="3677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cxnSp>
            <p:nvCxnSpPr>
              <p:cNvPr id="70" name="直接连接符 69">
                <a:extLst>
                  <a:ext uri="{FF2B5EF4-FFF2-40B4-BE49-F238E27FC236}">
                    <a16:creationId xmlns:a16="http://schemas.microsoft.com/office/drawing/2014/main" id="{7C56DE99-EBA2-40AE-80C1-2B253E291EC5}"/>
                  </a:ext>
                </a:extLst>
              </p:cNvPr>
              <p:cNvCxnSpPr/>
              <p:nvPr/>
            </p:nvCxnSpPr>
            <p:spPr>
              <a:xfrm>
                <a:off x="7088860" y="5749182"/>
                <a:ext cx="4431625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ïṩḻiḓê">
              <a:extLst>
                <a:ext uri="{FF2B5EF4-FFF2-40B4-BE49-F238E27FC236}">
                  <a16:creationId xmlns:a16="http://schemas.microsoft.com/office/drawing/2014/main" id="{25DC2947-3266-4DDE-A910-24B461BAF7A6}"/>
                </a:ext>
              </a:extLst>
            </p:cNvPr>
            <p:cNvGrpSpPr/>
            <p:nvPr/>
          </p:nvGrpSpPr>
          <p:grpSpPr>
            <a:xfrm>
              <a:off x="6985770" y="3123462"/>
              <a:ext cx="4533129" cy="753266"/>
              <a:chOff x="6987359" y="3614703"/>
              <a:chExt cx="4533129" cy="753266"/>
            </a:xfrm>
          </p:grpSpPr>
          <p:sp>
            <p:nvSpPr>
              <p:cNvPr id="65" name="ïSļïḓe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>
                <a:off x="6987359" y="4000259"/>
                <a:ext cx="4533129" cy="3677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66" name="işļîḑe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>
                <a:off x="6987359" y="3614703"/>
                <a:ext cx="4533129" cy="3677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cxnSp>
            <p:nvCxnSpPr>
              <p:cNvPr id="67" name="直接连接符 66">
                <a:extLst>
                  <a:ext uri="{FF2B5EF4-FFF2-40B4-BE49-F238E27FC236}">
                    <a16:creationId xmlns:a16="http://schemas.microsoft.com/office/drawing/2014/main" id="{83C8EA25-785D-43FD-B0E3-37280F889511}"/>
                  </a:ext>
                </a:extLst>
              </p:cNvPr>
              <p:cNvCxnSpPr/>
              <p:nvPr/>
            </p:nvCxnSpPr>
            <p:spPr>
              <a:xfrm>
                <a:off x="7088860" y="3991336"/>
                <a:ext cx="4431625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î$ľíḋê">
              <a:extLst>
                <a:ext uri="{FF2B5EF4-FFF2-40B4-BE49-F238E27FC236}">
                  <a16:creationId xmlns:a16="http://schemas.microsoft.com/office/drawing/2014/main" id="{AC311866-B59D-435F-A4D8-639EA52EFD65}"/>
                </a:ext>
              </a:extLst>
            </p:cNvPr>
            <p:cNvGrpSpPr/>
            <p:nvPr/>
          </p:nvGrpSpPr>
          <p:grpSpPr>
            <a:xfrm>
              <a:off x="6985770" y="4179909"/>
              <a:ext cx="4533129" cy="735420"/>
              <a:chOff x="6987359" y="4515933"/>
              <a:chExt cx="4533129" cy="735420"/>
            </a:xfrm>
          </p:grpSpPr>
          <p:sp>
            <p:nvSpPr>
              <p:cNvPr id="53" name="íṧ1ïdè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>
                <a:off x="6987359" y="4883643"/>
                <a:ext cx="4533129" cy="3677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63" name="ïsľïďé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>
                <a:off x="6987359" y="4515933"/>
                <a:ext cx="4533129" cy="3677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cxnSp>
            <p:nvCxnSpPr>
              <p:cNvPr id="64" name="直接连接符 63">
                <a:extLst>
                  <a:ext uri="{FF2B5EF4-FFF2-40B4-BE49-F238E27FC236}">
                    <a16:creationId xmlns:a16="http://schemas.microsoft.com/office/drawing/2014/main" id="{4933F74E-36DD-49E1-B1BE-0D382F31CB6D}"/>
                  </a:ext>
                </a:extLst>
              </p:cNvPr>
              <p:cNvCxnSpPr/>
              <p:nvPr/>
            </p:nvCxnSpPr>
            <p:spPr>
              <a:xfrm>
                <a:off x="7088860" y="4883643"/>
                <a:ext cx="4431625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6" name="iŝliďè">
              <a:extLst>
                <a:ext uri="{FF2B5EF4-FFF2-40B4-BE49-F238E27FC236}">
                  <a16:creationId xmlns:a16="http://schemas.microsoft.com/office/drawing/2014/main" id="{6FA8394A-C750-42B5-8172-8693CBBD3803}"/>
                </a:ext>
              </a:extLst>
            </p:cNvPr>
            <p:cNvSpPr txBox="1"/>
            <p:nvPr/>
          </p:nvSpPr>
          <p:spPr bwMode="auto">
            <a:xfrm>
              <a:off x="6407310" y="3262066"/>
              <a:ext cx="527709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400" b="1" dirty="0">
                  <a:solidFill>
                    <a:schemeClr val="accent1"/>
                  </a:solidFill>
                </a:rPr>
                <a:t>01</a:t>
              </a:r>
            </a:p>
          </p:txBody>
        </p:sp>
        <p:sp>
          <p:nvSpPr>
            <p:cNvPr id="47" name="îṡľïḍe">
              <a:extLst>
                <a:ext uri="{FF2B5EF4-FFF2-40B4-BE49-F238E27FC236}">
                  <a16:creationId xmlns:a16="http://schemas.microsoft.com/office/drawing/2014/main" id="{6FA8394A-C750-42B5-8172-8693CBBD3803}"/>
                </a:ext>
              </a:extLst>
            </p:cNvPr>
            <p:cNvSpPr txBox="1"/>
            <p:nvPr/>
          </p:nvSpPr>
          <p:spPr bwMode="auto">
            <a:xfrm>
              <a:off x="6407310" y="4305129"/>
              <a:ext cx="527709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400" b="1" dirty="0">
                  <a:solidFill>
                    <a:schemeClr val="accent1"/>
                  </a:solidFill>
                </a:rPr>
                <a:t>02</a:t>
              </a:r>
            </a:p>
          </p:txBody>
        </p:sp>
        <p:sp>
          <p:nvSpPr>
            <p:cNvPr id="48" name="ïšľídè">
              <a:extLst>
                <a:ext uri="{FF2B5EF4-FFF2-40B4-BE49-F238E27FC236}">
                  <a16:creationId xmlns:a16="http://schemas.microsoft.com/office/drawing/2014/main" id="{6FA8394A-C750-42B5-8172-8693CBBD3803}"/>
                </a:ext>
              </a:extLst>
            </p:cNvPr>
            <p:cNvSpPr txBox="1"/>
            <p:nvPr/>
          </p:nvSpPr>
          <p:spPr bwMode="auto">
            <a:xfrm>
              <a:off x="6407310" y="5348191"/>
              <a:ext cx="527709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400" b="1" dirty="0">
                  <a:solidFill>
                    <a:schemeClr val="accent1"/>
                  </a:solidFill>
                </a:rPr>
                <a:t>03</a:t>
              </a:r>
            </a:p>
          </p:txBody>
        </p:sp>
        <p:sp>
          <p:nvSpPr>
            <p:cNvPr id="49" name="íSḷïḋê">
              <a:extLst>
                <a:ext uri="{FF2B5EF4-FFF2-40B4-BE49-F238E27FC236}">
                  <a16:creationId xmlns:a16="http://schemas.microsoft.com/office/drawing/2014/main" id="{BFC7A776-3317-4B5A-B839-39B30D17FF0E}"/>
                </a:ext>
              </a:extLst>
            </p:cNvPr>
            <p:cNvSpPr/>
            <p:nvPr/>
          </p:nvSpPr>
          <p:spPr>
            <a:xfrm>
              <a:off x="3053504" y="2248734"/>
              <a:ext cx="407624" cy="309702"/>
            </a:xfrm>
            <a:custGeom>
              <a:avLst/>
              <a:gdLst>
                <a:gd name="T0" fmla="*/ 224 w 224"/>
                <a:gd name="T1" fmla="*/ 0 h 168"/>
                <a:gd name="T2" fmla="*/ 224 w 224"/>
                <a:gd name="T3" fmla="*/ 168 h 168"/>
                <a:gd name="T4" fmla="*/ 0 w 224"/>
                <a:gd name="T5" fmla="*/ 168 h 168"/>
                <a:gd name="T6" fmla="*/ 0 w 224"/>
                <a:gd name="T7" fmla="*/ 0 h 168"/>
                <a:gd name="T8" fmla="*/ 224 w 224"/>
                <a:gd name="T9" fmla="*/ 0 h 168"/>
                <a:gd name="T10" fmla="*/ 157 w 224"/>
                <a:gd name="T11" fmla="*/ 64 h 168"/>
                <a:gd name="T12" fmla="*/ 104 w 224"/>
                <a:gd name="T13" fmla="*/ 134 h 168"/>
                <a:gd name="T14" fmla="*/ 59 w 224"/>
                <a:gd name="T15" fmla="*/ 90 h 168"/>
                <a:gd name="T16" fmla="*/ 8 w 224"/>
                <a:gd name="T17" fmla="*/ 149 h 168"/>
                <a:gd name="T18" fmla="*/ 8 w 224"/>
                <a:gd name="T19" fmla="*/ 160 h 168"/>
                <a:gd name="T20" fmla="*/ 216 w 224"/>
                <a:gd name="T21" fmla="*/ 160 h 168"/>
                <a:gd name="T22" fmla="*/ 216 w 224"/>
                <a:gd name="T23" fmla="*/ 142 h 168"/>
                <a:gd name="T24" fmla="*/ 157 w 224"/>
                <a:gd name="T25" fmla="*/ 64 h 168"/>
                <a:gd name="T26" fmla="*/ 216 w 224"/>
                <a:gd name="T27" fmla="*/ 8 h 168"/>
                <a:gd name="T28" fmla="*/ 8 w 224"/>
                <a:gd name="T29" fmla="*/ 8 h 168"/>
                <a:gd name="T30" fmla="*/ 8 w 224"/>
                <a:gd name="T31" fmla="*/ 137 h 168"/>
                <a:gd name="T32" fmla="*/ 58 w 224"/>
                <a:gd name="T33" fmla="*/ 78 h 168"/>
                <a:gd name="T34" fmla="*/ 103 w 224"/>
                <a:gd name="T35" fmla="*/ 122 h 168"/>
                <a:gd name="T36" fmla="*/ 158 w 224"/>
                <a:gd name="T37" fmla="*/ 51 h 168"/>
                <a:gd name="T38" fmla="*/ 216 w 224"/>
                <a:gd name="T39" fmla="*/ 129 h 168"/>
                <a:gd name="T40" fmla="*/ 216 w 224"/>
                <a:gd name="T41" fmla="*/ 8 h 168"/>
                <a:gd name="T42" fmla="*/ 40 w 224"/>
                <a:gd name="T43" fmla="*/ 20 h 168"/>
                <a:gd name="T44" fmla="*/ 60 w 224"/>
                <a:gd name="T45" fmla="*/ 40 h 168"/>
                <a:gd name="T46" fmla="*/ 40 w 224"/>
                <a:gd name="T47" fmla="*/ 60 h 168"/>
                <a:gd name="T48" fmla="*/ 20 w 224"/>
                <a:gd name="T49" fmla="*/ 40 h 168"/>
                <a:gd name="T50" fmla="*/ 40 w 224"/>
                <a:gd name="T51" fmla="*/ 20 h 168"/>
                <a:gd name="T52" fmla="*/ 40 w 224"/>
                <a:gd name="T53" fmla="*/ 28 h 168"/>
                <a:gd name="T54" fmla="*/ 28 w 224"/>
                <a:gd name="T55" fmla="*/ 40 h 168"/>
                <a:gd name="T56" fmla="*/ 40 w 224"/>
                <a:gd name="T57" fmla="*/ 52 h 168"/>
                <a:gd name="T58" fmla="*/ 52 w 224"/>
                <a:gd name="T59" fmla="*/ 40 h 168"/>
                <a:gd name="T60" fmla="*/ 40 w 224"/>
                <a:gd name="T61" fmla="*/ 2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24" h="168">
                  <a:moveTo>
                    <a:pt x="224" y="0"/>
                  </a:moveTo>
                  <a:cubicBezTo>
                    <a:pt x="224" y="168"/>
                    <a:pt x="224" y="168"/>
                    <a:pt x="224" y="168"/>
                  </a:cubicBezTo>
                  <a:cubicBezTo>
                    <a:pt x="0" y="168"/>
                    <a:pt x="0" y="168"/>
                    <a:pt x="0" y="168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24" y="0"/>
                  </a:lnTo>
                  <a:close/>
                  <a:moveTo>
                    <a:pt x="157" y="64"/>
                  </a:moveTo>
                  <a:cubicBezTo>
                    <a:pt x="104" y="134"/>
                    <a:pt x="104" y="134"/>
                    <a:pt x="104" y="134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8" y="149"/>
                    <a:pt x="8" y="149"/>
                    <a:pt x="8" y="149"/>
                  </a:cubicBezTo>
                  <a:cubicBezTo>
                    <a:pt x="8" y="160"/>
                    <a:pt x="8" y="160"/>
                    <a:pt x="8" y="160"/>
                  </a:cubicBezTo>
                  <a:cubicBezTo>
                    <a:pt x="216" y="160"/>
                    <a:pt x="216" y="160"/>
                    <a:pt x="216" y="160"/>
                  </a:cubicBezTo>
                  <a:cubicBezTo>
                    <a:pt x="216" y="142"/>
                    <a:pt x="216" y="142"/>
                    <a:pt x="216" y="142"/>
                  </a:cubicBezTo>
                  <a:lnTo>
                    <a:pt x="157" y="64"/>
                  </a:lnTo>
                  <a:close/>
                  <a:moveTo>
                    <a:pt x="216" y="8"/>
                  </a:moveTo>
                  <a:cubicBezTo>
                    <a:pt x="8" y="8"/>
                    <a:pt x="8" y="8"/>
                    <a:pt x="8" y="8"/>
                  </a:cubicBezTo>
                  <a:cubicBezTo>
                    <a:pt x="8" y="137"/>
                    <a:pt x="8" y="137"/>
                    <a:pt x="8" y="137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103" y="122"/>
                    <a:pt x="103" y="122"/>
                    <a:pt x="103" y="122"/>
                  </a:cubicBezTo>
                  <a:cubicBezTo>
                    <a:pt x="158" y="51"/>
                    <a:pt x="158" y="51"/>
                    <a:pt x="158" y="51"/>
                  </a:cubicBezTo>
                  <a:cubicBezTo>
                    <a:pt x="216" y="129"/>
                    <a:pt x="216" y="129"/>
                    <a:pt x="216" y="129"/>
                  </a:cubicBezTo>
                  <a:lnTo>
                    <a:pt x="216" y="8"/>
                  </a:lnTo>
                  <a:close/>
                  <a:moveTo>
                    <a:pt x="40" y="20"/>
                  </a:moveTo>
                  <a:cubicBezTo>
                    <a:pt x="51" y="20"/>
                    <a:pt x="60" y="29"/>
                    <a:pt x="60" y="40"/>
                  </a:cubicBezTo>
                  <a:cubicBezTo>
                    <a:pt x="60" y="51"/>
                    <a:pt x="51" y="60"/>
                    <a:pt x="40" y="60"/>
                  </a:cubicBezTo>
                  <a:cubicBezTo>
                    <a:pt x="29" y="60"/>
                    <a:pt x="20" y="51"/>
                    <a:pt x="20" y="40"/>
                  </a:cubicBezTo>
                  <a:cubicBezTo>
                    <a:pt x="20" y="29"/>
                    <a:pt x="29" y="20"/>
                    <a:pt x="40" y="20"/>
                  </a:cubicBezTo>
                  <a:close/>
                  <a:moveTo>
                    <a:pt x="40" y="28"/>
                  </a:moveTo>
                  <a:cubicBezTo>
                    <a:pt x="33" y="28"/>
                    <a:pt x="28" y="33"/>
                    <a:pt x="28" y="40"/>
                  </a:cubicBezTo>
                  <a:cubicBezTo>
                    <a:pt x="28" y="47"/>
                    <a:pt x="33" y="52"/>
                    <a:pt x="40" y="52"/>
                  </a:cubicBezTo>
                  <a:cubicBezTo>
                    <a:pt x="47" y="52"/>
                    <a:pt x="52" y="47"/>
                    <a:pt x="52" y="40"/>
                  </a:cubicBezTo>
                  <a:cubicBezTo>
                    <a:pt x="52" y="33"/>
                    <a:pt x="47" y="28"/>
                    <a:pt x="40" y="2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grpSp>
          <p:nvGrpSpPr>
            <p:cNvPr id="50" name="ísḷïdè">
              <a:extLst>
                <a:ext uri="{FF2B5EF4-FFF2-40B4-BE49-F238E27FC236}">
                  <a16:creationId xmlns:a16="http://schemas.microsoft.com/office/drawing/2014/main" id="{D5B7038B-CA57-4E7C-BB7F-6260238A7401}"/>
                </a:ext>
              </a:extLst>
            </p:cNvPr>
            <p:cNvGrpSpPr/>
            <p:nvPr/>
          </p:nvGrpSpPr>
          <p:grpSpPr>
            <a:xfrm>
              <a:off x="673100" y="3723731"/>
              <a:ext cx="3992114" cy="1599181"/>
              <a:chOff x="673100" y="4547619"/>
              <a:chExt cx="4424001" cy="1599181"/>
            </a:xfrm>
          </p:grpSpPr>
          <p:sp>
            <p:nvSpPr>
              <p:cNvPr id="51" name="ïsḻîḓè">
                <a:extLst>
                  <a:ext uri="{FF2B5EF4-FFF2-40B4-BE49-F238E27FC236}">
                    <a16:creationId xmlns:a16="http://schemas.microsoft.com/office/drawing/2014/main" id="{2383217E-16C0-490A-91FC-3BE1C6BB5CD8}"/>
                  </a:ext>
                </a:extLst>
              </p:cNvPr>
              <p:cNvSpPr txBox="1"/>
              <p:nvPr/>
            </p:nvSpPr>
            <p:spPr>
              <a:xfrm>
                <a:off x="673100" y="4547619"/>
                <a:ext cx="4424001" cy="77704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buSzPct val="25000"/>
                </a:pPr>
                <a:r>
                  <a:rPr lang="en-US" sz="2000" b="1" dirty="0"/>
                  <a:t>Unified fonts make</a:t>
                </a:r>
              </a:p>
              <a:p>
                <a:pPr>
                  <a:buSzPct val="25000"/>
                </a:pPr>
                <a:r>
                  <a:rPr lang="en-US" sz="2000" b="1" dirty="0"/>
                  <a:t>reading more fluent.</a:t>
                </a:r>
              </a:p>
            </p:txBody>
          </p:sp>
          <p:sp>
            <p:nvSpPr>
              <p:cNvPr id="52" name="ïSliďe">
                <a:extLst>
                  <a:ext uri="{FF2B5EF4-FFF2-40B4-BE49-F238E27FC236}">
                    <a16:creationId xmlns:a16="http://schemas.microsoft.com/office/drawing/2014/main" id="{60E7B3A5-46B6-4DBA-A5E4-858C46E75CB2}"/>
                  </a:ext>
                </a:extLst>
              </p:cNvPr>
              <p:cNvSpPr txBox="1"/>
              <p:nvPr/>
            </p:nvSpPr>
            <p:spPr>
              <a:xfrm>
                <a:off x="673100" y="5324666"/>
                <a:ext cx="4424001" cy="82213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100" dirty="0"/>
                  <a:t>Theme color makes PPT more convenient to change.</a:t>
                </a:r>
              </a:p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100" dirty="0"/>
                  <a:t>Adjust the spacing to adapt to Chinese typesetting, use the reference line in PPT.</a:t>
                </a: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8538313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F0C867C-CFC4-4C5A-AB69-433B94A589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09FAA99-BBBF-4D00-A8E5-9FB482B12B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F967102-D70B-43BA-AC1B-601371B24A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grpSp>
        <p:nvGrpSpPr>
          <p:cNvPr id="86" name="25482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58787E97-AD30-4DAD-8C7C-126E66940BC0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666875"/>
            <a:ext cx="10845800" cy="3943350"/>
            <a:chOff x="673100" y="1666875"/>
            <a:chExt cx="10845800" cy="3943350"/>
          </a:xfrm>
        </p:grpSpPr>
        <p:grpSp>
          <p:nvGrpSpPr>
            <p:cNvPr id="87" name="ïśļíḍè">
              <a:extLst>
                <a:ext uri="{FF2B5EF4-FFF2-40B4-BE49-F238E27FC236}">
                  <a16:creationId xmlns:a16="http://schemas.microsoft.com/office/drawing/2014/main" id="{06B4C321-1DBC-4827-BD4A-9F0E3C8DCBCC}"/>
                </a:ext>
              </a:extLst>
            </p:cNvPr>
            <p:cNvGrpSpPr/>
            <p:nvPr/>
          </p:nvGrpSpPr>
          <p:grpSpPr>
            <a:xfrm>
              <a:off x="673100" y="3467357"/>
              <a:ext cx="342386" cy="342386"/>
              <a:chOff x="673100" y="3467357"/>
              <a:chExt cx="342386" cy="342386"/>
            </a:xfrm>
          </p:grpSpPr>
          <p:sp>
            <p:nvSpPr>
              <p:cNvPr id="111" name="iŝľíḓè">
                <a:extLst>
                  <a:ext uri="{FF2B5EF4-FFF2-40B4-BE49-F238E27FC236}">
                    <a16:creationId xmlns:a16="http://schemas.microsoft.com/office/drawing/2014/main" id="{5A4D74E0-7BE6-4BEB-94BD-0E8F27158F4E}"/>
                  </a:ext>
                </a:extLst>
              </p:cNvPr>
              <p:cNvSpPr/>
              <p:nvPr/>
            </p:nvSpPr>
            <p:spPr>
              <a:xfrm>
                <a:off x="673100" y="3467357"/>
                <a:ext cx="342386" cy="342386"/>
              </a:xfrm>
              <a:prstGeom prst="flowChartConnector">
                <a:avLst/>
              </a:prstGeom>
              <a:solidFill>
                <a:schemeClr val="bg1">
                  <a:lumMod val="75000"/>
                </a:schemeClr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íşļiḋe">
                <a:extLst>
                  <a:ext uri="{FF2B5EF4-FFF2-40B4-BE49-F238E27FC236}">
                    <a16:creationId xmlns:a16="http://schemas.microsoft.com/office/drawing/2014/main" id="{DFF8E1A9-3A0E-4FEC-B843-79F9C3F18087}"/>
                  </a:ext>
                </a:extLst>
              </p:cNvPr>
              <p:cNvSpPr/>
              <p:nvPr/>
            </p:nvSpPr>
            <p:spPr bwMode="auto">
              <a:xfrm flipH="1">
                <a:off x="777141" y="3533775"/>
                <a:ext cx="134304" cy="209550"/>
              </a:xfrm>
              <a:custGeom>
                <a:avLst/>
                <a:gdLst>
                  <a:gd name="T0" fmla="*/ 138 w 2351"/>
                  <a:gd name="T1" fmla="*/ 643 h 3663"/>
                  <a:gd name="T2" fmla="*/ 138 w 2351"/>
                  <a:gd name="T3" fmla="*/ 643 h 3663"/>
                  <a:gd name="T4" fmla="*/ 1337 w 2351"/>
                  <a:gd name="T5" fmla="*/ 1837 h 3663"/>
                  <a:gd name="T6" fmla="*/ 138 w 2351"/>
                  <a:gd name="T7" fmla="*/ 3020 h 3663"/>
                  <a:gd name="T8" fmla="*/ 138 w 2351"/>
                  <a:gd name="T9" fmla="*/ 3526 h 3663"/>
                  <a:gd name="T10" fmla="*/ 645 w 2351"/>
                  <a:gd name="T11" fmla="*/ 3526 h 3663"/>
                  <a:gd name="T12" fmla="*/ 2351 w 2351"/>
                  <a:gd name="T13" fmla="*/ 1837 h 3663"/>
                  <a:gd name="T14" fmla="*/ 645 w 2351"/>
                  <a:gd name="T15" fmla="*/ 138 h 3663"/>
                  <a:gd name="T16" fmla="*/ 138 w 2351"/>
                  <a:gd name="T17" fmla="*/ 138 h 3663"/>
                  <a:gd name="T18" fmla="*/ 35 w 2351"/>
                  <a:gd name="T19" fmla="*/ 391 h 3663"/>
                  <a:gd name="T20" fmla="*/ 138 w 2351"/>
                  <a:gd name="T21" fmla="*/ 643 h 36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51" h="3663">
                    <a:moveTo>
                      <a:pt x="138" y="643"/>
                    </a:moveTo>
                    <a:lnTo>
                      <a:pt x="138" y="643"/>
                    </a:lnTo>
                    <a:cubicBezTo>
                      <a:pt x="1337" y="1837"/>
                      <a:pt x="1337" y="1837"/>
                      <a:pt x="1337" y="1837"/>
                    </a:cubicBezTo>
                    <a:cubicBezTo>
                      <a:pt x="138" y="3020"/>
                      <a:pt x="138" y="3020"/>
                      <a:pt x="138" y="3020"/>
                    </a:cubicBezTo>
                    <a:cubicBezTo>
                      <a:pt x="0" y="3158"/>
                      <a:pt x="0" y="3388"/>
                      <a:pt x="138" y="3526"/>
                    </a:cubicBezTo>
                    <a:cubicBezTo>
                      <a:pt x="277" y="3663"/>
                      <a:pt x="507" y="3663"/>
                      <a:pt x="645" y="3526"/>
                    </a:cubicBezTo>
                    <a:cubicBezTo>
                      <a:pt x="2351" y="1837"/>
                      <a:pt x="2351" y="1837"/>
                      <a:pt x="2351" y="1837"/>
                    </a:cubicBezTo>
                    <a:cubicBezTo>
                      <a:pt x="645" y="138"/>
                      <a:pt x="645" y="138"/>
                      <a:pt x="645" y="138"/>
                    </a:cubicBezTo>
                    <a:cubicBezTo>
                      <a:pt x="507" y="0"/>
                      <a:pt x="277" y="0"/>
                      <a:pt x="138" y="138"/>
                    </a:cubicBezTo>
                    <a:cubicBezTo>
                      <a:pt x="69" y="207"/>
                      <a:pt x="35" y="299"/>
                      <a:pt x="35" y="391"/>
                    </a:cubicBezTo>
                    <a:cubicBezTo>
                      <a:pt x="35" y="482"/>
                      <a:pt x="69" y="574"/>
                      <a:pt x="138" y="643"/>
                    </a:cubicBezTo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4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88" name="îṧḻïḋé">
              <a:extLst>
                <a:ext uri="{FF2B5EF4-FFF2-40B4-BE49-F238E27FC236}">
                  <a16:creationId xmlns:a16="http://schemas.microsoft.com/office/drawing/2014/main" id="{D7E64533-51BE-4382-A17F-AAED39F26727}"/>
                </a:ext>
              </a:extLst>
            </p:cNvPr>
            <p:cNvGrpSpPr/>
            <p:nvPr/>
          </p:nvGrpSpPr>
          <p:grpSpPr>
            <a:xfrm>
              <a:off x="11176514" y="3467357"/>
              <a:ext cx="342386" cy="342386"/>
              <a:chOff x="11176514" y="3467357"/>
              <a:chExt cx="342386" cy="342386"/>
            </a:xfrm>
          </p:grpSpPr>
          <p:sp>
            <p:nvSpPr>
              <p:cNvPr id="109" name="iṩḻiḓê">
                <a:extLst>
                  <a:ext uri="{FF2B5EF4-FFF2-40B4-BE49-F238E27FC236}">
                    <a16:creationId xmlns:a16="http://schemas.microsoft.com/office/drawing/2014/main" id="{4239603D-7FEB-4108-8034-0F0713F51EBA}"/>
                  </a:ext>
                </a:extLst>
              </p:cNvPr>
              <p:cNvSpPr/>
              <p:nvPr/>
            </p:nvSpPr>
            <p:spPr>
              <a:xfrm>
                <a:off x="11176514" y="3467357"/>
                <a:ext cx="342386" cy="342386"/>
              </a:xfrm>
              <a:prstGeom prst="flowChartConnector">
                <a:avLst/>
              </a:prstGeom>
              <a:solidFill>
                <a:schemeClr val="bg1">
                  <a:lumMod val="75000"/>
                </a:schemeClr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0" name="îś1iḑe">
                <a:extLst>
                  <a:ext uri="{FF2B5EF4-FFF2-40B4-BE49-F238E27FC236}">
                    <a16:creationId xmlns:a16="http://schemas.microsoft.com/office/drawing/2014/main" id="{324ADE11-FBDE-4F68-BE65-7AA0E9D033D8}"/>
                  </a:ext>
                </a:extLst>
              </p:cNvPr>
              <p:cNvSpPr/>
              <p:nvPr/>
            </p:nvSpPr>
            <p:spPr bwMode="auto">
              <a:xfrm>
                <a:off x="11280555" y="3533775"/>
                <a:ext cx="134304" cy="209550"/>
              </a:xfrm>
              <a:custGeom>
                <a:avLst/>
                <a:gdLst>
                  <a:gd name="T0" fmla="*/ 138 w 2351"/>
                  <a:gd name="T1" fmla="*/ 643 h 3663"/>
                  <a:gd name="T2" fmla="*/ 138 w 2351"/>
                  <a:gd name="T3" fmla="*/ 643 h 3663"/>
                  <a:gd name="T4" fmla="*/ 1337 w 2351"/>
                  <a:gd name="T5" fmla="*/ 1837 h 3663"/>
                  <a:gd name="T6" fmla="*/ 138 w 2351"/>
                  <a:gd name="T7" fmla="*/ 3020 h 3663"/>
                  <a:gd name="T8" fmla="*/ 138 w 2351"/>
                  <a:gd name="T9" fmla="*/ 3526 h 3663"/>
                  <a:gd name="T10" fmla="*/ 645 w 2351"/>
                  <a:gd name="T11" fmla="*/ 3526 h 3663"/>
                  <a:gd name="T12" fmla="*/ 2351 w 2351"/>
                  <a:gd name="T13" fmla="*/ 1837 h 3663"/>
                  <a:gd name="T14" fmla="*/ 645 w 2351"/>
                  <a:gd name="T15" fmla="*/ 138 h 3663"/>
                  <a:gd name="T16" fmla="*/ 138 w 2351"/>
                  <a:gd name="T17" fmla="*/ 138 h 3663"/>
                  <a:gd name="T18" fmla="*/ 35 w 2351"/>
                  <a:gd name="T19" fmla="*/ 391 h 3663"/>
                  <a:gd name="T20" fmla="*/ 138 w 2351"/>
                  <a:gd name="T21" fmla="*/ 643 h 36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51" h="3663">
                    <a:moveTo>
                      <a:pt x="138" y="643"/>
                    </a:moveTo>
                    <a:lnTo>
                      <a:pt x="138" y="643"/>
                    </a:lnTo>
                    <a:cubicBezTo>
                      <a:pt x="1337" y="1837"/>
                      <a:pt x="1337" y="1837"/>
                      <a:pt x="1337" y="1837"/>
                    </a:cubicBezTo>
                    <a:cubicBezTo>
                      <a:pt x="138" y="3020"/>
                      <a:pt x="138" y="3020"/>
                      <a:pt x="138" y="3020"/>
                    </a:cubicBezTo>
                    <a:cubicBezTo>
                      <a:pt x="0" y="3158"/>
                      <a:pt x="0" y="3388"/>
                      <a:pt x="138" y="3526"/>
                    </a:cubicBezTo>
                    <a:cubicBezTo>
                      <a:pt x="277" y="3663"/>
                      <a:pt x="507" y="3663"/>
                      <a:pt x="645" y="3526"/>
                    </a:cubicBezTo>
                    <a:cubicBezTo>
                      <a:pt x="2351" y="1837"/>
                      <a:pt x="2351" y="1837"/>
                      <a:pt x="2351" y="1837"/>
                    </a:cubicBezTo>
                    <a:cubicBezTo>
                      <a:pt x="645" y="138"/>
                      <a:pt x="645" y="138"/>
                      <a:pt x="645" y="138"/>
                    </a:cubicBezTo>
                    <a:cubicBezTo>
                      <a:pt x="507" y="0"/>
                      <a:pt x="277" y="0"/>
                      <a:pt x="138" y="138"/>
                    </a:cubicBezTo>
                    <a:cubicBezTo>
                      <a:pt x="69" y="207"/>
                      <a:pt x="35" y="299"/>
                      <a:pt x="35" y="391"/>
                    </a:cubicBezTo>
                    <a:cubicBezTo>
                      <a:pt x="35" y="482"/>
                      <a:pt x="69" y="574"/>
                      <a:pt x="138" y="643"/>
                    </a:cubicBezTo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4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89" name="íśḷiḑe">
              <a:extLst>
                <a:ext uri="{FF2B5EF4-FFF2-40B4-BE49-F238E27FC236}">
                  <a16:creationId xmlns:a16="http://schemas.microsoft.com/office/drawing/2014/main" id="{024BAA43-D6D8-47A8-8E84-E0818622748A}"/>
                </a:ext>
              </a:extLst>
            </p:cNvPr>
            <p:cNvGrpSpPr/>
            <p:nvPr/>
          </p:nvGrpSpPr>
          <p:grpSpPr>
            <a:xfrm>
              <a:off x="4578590" y="1666875"/>
              <a:ext cx="3034821" cy="3943350"/>
              <a:chOff x="4578590" y="1666875"/>
              <a:chExt cx="3034821" cy="3943350"/>
            </a:xfrm>
          </p:grpSpPr>
          <p:sp>
            <p:nvSpPr>
              <p:cNvPr id="102" name="îṧḷiḍè">
                <a:extLst>
                  <a:ext uri="{FF2B5EF4-FFF2-40B4-BE49-F238E27FC236}">
                    <a16:creationId xmlns:a16="http://schemas.microsoft.com/office/drawing/2014/main" id="{F68692DB-56CB-4702-968A-54EF43E65F6B}"/>
                  </a:ext>
                </a:extLst>
              </p:cNvPr>
              <p:cNvSpPr/>
              <p:nvPr/>
            </p:nvSpPr>
            <p:spPr>
              <a:xfrm>
                <a:off x="4578590" y="1666875"/>
                <a:ext cx="3034821" cy="3943350"/>
              </a:xfrm>
              <a:prstGeom prst="roundRect">
                <a:avLst>
                  <a:gd name="adj" fmla="val 3877"/>
                </a:avLst>
              </a:pr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  <a:effectLst>
                <a:outerShdw blurRad="127000" sx="101000" sy="101000" algn="ctr" rotWithShape="0">
                  <a:prstClr val="black">
                    <a:alpha val="1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endParaRPr lang="zh-CN" altLang="en-US"/>
              </a:p>
            </p:txBody>
          </p:sp>
          <p:sp>
            <p:nvSpPr>
              <p:cNvPr id="103" name="ïsḷiďé">
                <a:extLst>
                  <a:ext uri="{FF2B5EF4-FFF2-40B4-BE49-F238E27FC236}">
                    <a16:creationId xmlns:a16="http://schemas.microsoft.com/office/drawing/2014/main" id="{EBCF8742-9B16-43F2-BECB-241D39D96A3E}"/>
                  </a:ext>
                </a:extLst>
              </p:cNvPr>
              <p:cNvSpPr/>
              <p:nvPr/>
            </p:nvSpPr>
            <p:spPr>
              <a:xfrm>
                <a:off x="5826000" y="2706130"/>
                <a:ext cx="540000" cy="410279"/>
              </a:xfrm>
              <a:custGeom>
                <a:avLst/>
                <a:gdLst>
                  <a:gd name="T0" fmla="*/ 224 w 224"/>
                  <a:gd name="T1" fmla="*/ 0 h 168"/>
                  <a:gd name="T2" fmla="*/ 224 w 224"/>
                  <a:gd name="T3" fmla="*/ 168 h 168"/>
                  <a:gd name="T4" fmla="*/ 0 w 224"/>
                  <a:gd name="T5" fmla="*/ 168 h 168"/>
                  <a:gd name="T6" fmla="*/ 0 w 224"/>
                  <a:gd name="T7" fmla="*/ 0 h 168"/>
                  <a:gd name="T8" fmla="*/ 224 w 224"/>
                  <a:gd name="T9" fmla="*/ 0 h 168"/>
                  <a:gd name="T10" fmla="*/ 157 w 224"/>
                  <a:gd name="T11" fmla="*/ 64 h 168"/>
                  <a:gd name="T12" fmla="*/ 104 w 224"/>
                  <a:gd name="T13" fmla="*/ 134 h 168"/>
                  <a:gd name="T14" fmla="*/ 59 w 224"/>
                  <a:gd name="T15" fmla="*/ 90 h 168"/>
                  <a:gd name="T16" fmla="*/ 8 w 224"/>
                  <a:gd name="T17" fmla="*/ 149 h 168"/>
                  <a:gd name="T18" fmla="*/ 8 w 224"/>
                  <a:gd name="T19" fmla="*/ 160 h 168"/>
                  <a:gd name="T20" fmla="*/ 216 w 224"/>
                  <a:gd name="T21" fmla="*/ 160 h 168"/>
                  <a:gd name="T22" fmla="*/ 216 w 224"/>
                  <a:gd name="T23" fmla="*/ 142 h 168"/>
                  <a:gd name="T24" fmla="*/ 157 w 224"/>
                  <a:gd name="T25" fmla="*/ 64 h 168"/>
                  <a:gd name="T26" fmla="*/ 216 w 224"/>
                  <a:gd name="T27" fmla="*/ 8 h 168"/>
                  <a:gd name="T28" fmla="*/ 8 w 224"/>
                  <a:gd name="T29" fmla="*/ 8 h 168"/>
                  <a:gd name="T30" fmla="*/ 8 w 224"/>
                  <a:gd name="T31" fmla="*/ 137 h 168"/>
                  <a:gd name="T32" fmla="*/ 58 w 224"/>
                  <a:gd name="T33" fmla="*/ 78 h 168"/>
                  <a:gd name="T34" fmla="*/ 103 w 224"/>
                  <a:gd name="T35" fmla="*/ 122 h 168"/>
                  <a:gd name="T36" fmla="*/ 158 w 224"/>
                  <a:gd name="T37" fmla="*/ 51 h 168"/>
                  <a:gd name="T38" fmla="*/ 216 w 224"/>
                  <a:gd name="T39" fmla="*/ 129 h 168"/>
                  <a:gd name="T40" fmla="*/ 216 w 224"/>
                  <a:gd name="T41" fmla="*/ 8 h 168"/>
                  <a:gd name="T42" fmla="*/ 40 w 224"/>
                  <a:gd name="T43" fmla="*/ 20 h 168"/>
                  <a:gd name="T44" fmla="*/ 60 w 224"/>
                  <a:gd name="T45" fmla="*/ 40 h 168"/>
                  <a:gd name="T46" fmla="*/ 40 w 224"/>
                  <a:gd name="T47" fmla="*/ 60 h 168"/>
                  <a:gd name="T48" fmla="*/ 20 w 224"/>
                  <a:gd name="T49" fmla="*/ 40 h 168"/>
                  <a:gd name="T50" fmla="*/ 40 w 224"/>
                  <a:gd name="T51" fmla="*/ 20 h 168"/>
                  <a:gd name="T52" fmla="*/ 40 w 224"/>
                  <a:gd name="T53" fmla="*/ 28 h 168"/>
                  <a:gd name="T54" fmla="*/ 28 w 224"/>
                  <a:gd name="T55" fmla="*/ 40 h 168"/>
                  <a:gd name="T56" fmla="*/ 40 w 224"/>
                  <a:gd name="T57" fmla="*/ 52 h 168"/>
                  <a:gd name="T58" fmla="*/ 52 w 224"/>
                  <a:gd name="T59" fmla="*/ 40 h 168"/>
                  <a:gd name="T60" fmla="*/ 40 w 224"/>
                  <a:gd name="T61" fmla="*/ 2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24" h="168">
                    <a:moveTo>
                      <a:pt x="224" y="0"/>
                    </a:moveTo>
                    <a:cubicBezTo>
                      <a:pt x="224" y="168"/>
                      <a:pt x="224" y="168"/>
                      <a:pt x="224" y="168"/>
                    </a:cubicBezTo>
                    <a:cubicBezTo>
                      <a:pt x="0" y="168"/>
                      <a:pt x="0" y="168"/>
                      <a:pt x="0" y="168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224" y="0"/>
                    </a:lnTo>
                    <a:close/>
                    <a:moveTo>
                      <a:pt x="157" y="64"/>
                    </a:moveTo>
                    <a:cubicBezTo>
                      <a:pt x="104" y="134"/>
                      <a:pt x="104" y="134"/>
                      <a:pt x="104" y="134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8" y="149"/>
                      <a:pt x="8" y="149"/>
                      <a:pt x="8" y="149"/>
                    </a:cubicBezTo>
                    <a:cubicBezTo>
                      <a:pt x="8" y="160"/>
                      <a:pt x="8" y="160"/>
                      <a:pt x="8" y="160"/>
                    </a:cubicBezTo>
                    <a:cubicBezTo>
                      <a:pt x="216" y="160"/>
                      <a:pt x="216" y="160"/>
                      <a:pt x="216" y="160"/>
                    </a:cubicBezTo>
                    <a:cubicBezTo>
                      <a:pt x="216" y="142"/>
                      <a:pt x="216" y="142"/>
                      <a:pt x="216" y="142"/>
                    </a:cubicBezTo>
                    <a:lnTo>
                      <a:pt x="157" y="64"/>
                    </a:lnTo>
                    <a:close/>
                    <a:moveTo>
                      <a:pt x="216" y="8"/>
                    </a:moveTo>
                    <a:cubicBezTo>
                      <a:pt x="8" y="8"/>
                      <a:pt x="8" y="8"/>
                      <a:pt x="8" y="8"/>
                    </a:cubicBezTo>
                    <a:cubicBezTo>
                      <a:pt x="8" y="137"/>
                      <a:pt x="8" y="137"/>
                      <a:pt x="8" y="137"/>
                    </a:cubicBezTo>
                    <a:cubicBezTo>
                      <a:pt x="58" y="78"/>
                      <a:pt x="58" y="78"/>
                      <a:pt x="58" y="78"/>
                    </a:cubicBezTo>
                    <a:cubicBezTo>
                      <a:pt x="103" y="122"/>
                      <a:pt x="103" y="122"/>
                      <a:pt x="103" y="122"/>
                    </a:cubicBezTo>
                    <a:cubicBezTo>
                      <a:pt x="158" y="51"/>
                      <a:pt x="158" y="51"/>
                      <a:pt x="158" y="51"/>
                    </a:cubicBezTo>
                    <a:cubicBezTo>
                      <a:pt x="216" y="129"/>
                      <a:pt x="216" y="129"/>
                      <a:pt x="216" y="129"/>
                    </a:cubicBezTo>
                    <a:lnTo>
                      <a:pt x="216" y="8"/>
                    </a:lnTo>
                    <a:close/>
                    <a:moveTo>
                      <a:pt x="40" y="20"/>
                    </a:moveTo>
                    <a:cubicBezTo>
                      <a:pt x="51" y="20"/>
                      <a:pt x="60" y="29"/>
                      <a:pt x="60" y="40"/>
                    </a:cubicBezTo>
                    <a:cubicBezTo>
                      <a:pt x="60" y="51"/>
                      <a:pt x="51" y="60"/>
                      <a:pt x="40" y="60"/>
                    </a:cubicBezTo>
                    <a:cubicBezTo>
                      <a:pt x="29" y="60"/>
                      <a:pt x="20" y="51"/>
                      <a:pt x="20" y="40"/>
                    </a:cubicBezTo>
                    <a:cubicBezTo>
                      <a:pt x="20" y="29"/>
                      <a:pt x="29" y="20"/>
                      <a:pt x="40" y="20"/>
                    </a:cubicBezTo>
                    <a:close/>
                    <a:moveTo>
                      <a:pt x="40" y="28"/>
                    </a:moveTo>
                    <a:cubicBezTo>
                      <a:pt x="33" y="28"/>
                      <a:pt x="28" y="33"/>
                      <a:pt x="28" y="40"/>
                    </a:cubicBezTo>
                    <a:cubicBezTo>
                      <a:pt x="28" y="47"/>
                      <a:pt x="33" y="52"/>
                      <a:pt x="40" y="52"/>
                    </a:cubicBezTo>
                    <a:cubicBezTo>
                      <a:pt x="47" y="52"/>
                      <a:pt x="52" y="47"/>
                      <a:pt x="52" y="40"/>
                    </a:cubicBezTo>
                    <a:cubicBezTo>
                      <a:pt x="52" y="33"/>
                      <a:pt x="47" y="28"/>
                      <a:pt x="40" y="2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íṡľîḍé">
                <a:extLst>
                  <a:ext uri="{FF2B5EF4-FFF2-40B4-BE49-F238E27FC236}">
                    <a16:creationId xmlns:a16="http://schemas.microsoft.com/office/drawing/2014/main" id="{4E449FA9-0FC6-4EE7-B7CC-55EDC6A584A4}"/>
                  </a:ext>
                </a:extLst>
              </p:cNvPr>
              <p:cNvSpPr/>
              <p:nvPr/>
            </p:nvSpPr>
            <p:spPr>
              <a:xfrm>
                <a:off x="4578590" y="1666875"/>
                <a:ext cx="3034821" cy="715478"/>
              </a:xfrm>
              <a:prstGeom prst="roundRect">
                <a:avLst/>
              </a:pr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zh-CN" altLang="en-US" sz="2000" b="1" i="1" u="sng" dirty="0"/>
                  <a:t>￥</a:t>
                </a:r>
                <a:r>
                  <a:rPr lang="en-US" altLang="zh-CN" sz="2000" b="1" i="1" u="sng" dirty="0"/>
                  <a:t>1901</a:t>
                </a:r>
              </a:p>
            </p:txBody>
          </p:sp>
          <p:grpSp>
            <p:nvGrpSpPr>
              <p:cNvPr id="105" name="iş1iḋe">
                <a:extLst>
                  <a:ext uri="{FF2B5EF4-FFF2-40B4-BE49-F238E27FC236}">
                    <a16:creationId xmlns:a16="http://schemas.microsoft.com/office/drawing/2014/main" id="{D509FF58-775D-48AF-A2AE-AFEA07528DD9}"/>
                  </a:ext>
                </a:extLst>
              </p:cNvPr>
              <p:cNvGrpSpPr/>
              <p:nvPr/>
            </p:nvGrpSpPr>
            <p:grpSpPr>
              <a:xfrm>
                <a:off x="4805251" y="3155836"/>
                <a:ext cx="2581498" cy="2454389"/>
                <a:chOff x="4805251" y="3155836"/>
                <a:chExt cx="2581498" cy="2454389"/>
              </a:xfrm>
            </p:grpSpPr>
            <p:sp>
              <p:nvSpPr>
                <p:cNvPr id="106" name="íśḻiḍè">
                  <a:extLst>
                    <a:ext uri="{FF2B5EF4-FFF2-40B4-BE49-F238E27FC236}">
                      <a16:creationId xmlns:a16="http://schemas.microsoft.com/office/drawing/2014/main" id="{BAF77048-6151-4B25-B98F-2C92E82F4B6F}"/>
                    </a:ext>
                  </a:extLst>
                </p:cNvPr>
                <p:cNvSpPr txBox="1"/>
                <p:nvPr/>
              </p:nvSpPr>
              <p:spPr bwMode="auto">
                <a:xfrm>
                  <a:off x="4805251" y="3155836"/>
                  <a:ext cx="2581498" cy="42144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eaLnBrk="1" hangingPunct="1">
                    <a:lnSpc>
                      <a:spcPct val="100000"/>
                    </a:lnSpc>
                    <a:spcBef>
                      <a:spcPct val="0"/>
                    </a:spcBef>
                  </a:pPr>
                  <a:r>
                    <a:rPr lang="en-US" altLang="zh-CN" i="1" dirty="0"/>
                    <a:t>Text here</a:t>
                  </a:r>
                </a:p>
              </p:txBody>
            </p:sp>
            <p:sp>
              <p:nvSpPr>
                <p:cNvPr id="107" name="iSľiďé">
                  <a:extLst>
                    <a:ext uri="{FF2B5EF4-FFF2-40B4-BE49-F238E27FC236}">
                      <a16:creationId xmlns:a16="http://schemas.microsoft.com/office/drawing/2014/main" id="{23C7B27E-BA81-45BD-9D1A-90796134D0AB}"/>
                    </a:ext>
                  </a:extLst>
                </p:cNvPr>
                <p:cNvSpPr/>
                <p:nvPr/>
              </p:nvSpPr>
              <p:spPr bwMode="auto">
                <a:xfrm>
                  <a:off x="4805251" y="3691433"/>
                  <a:ext cx="2581498" cy="95939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Copy paste fonts. Choose the only option to retain text.</a:t>
                  </a:r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……</a:t>
                  </a:r>
                </a:p>
              </p:txBody>
            </p:sp>
            <p:sp>
              <p:nvSpPr>
                <p:cNvPr id="108" name="ïš1iďê">
                  <a:extLst>
                    <a:ext uri="{FF2B5EF4-FFF2-40B4-BE49-F238E27FC236}">
                      <a16:creationId xmlns:a16="http://schemas.microsoft.com/office/drawing/2014/main" id="{23C7B27E-BA81-45BD-9D1A-90796134D0AB}"/>
                    </a:ext>
                  </a:extLst>
                </p:cNvPr>
                <p:cNvSpPr/>
                <p:nvPr/>
              </p:nvSpPr>
              <p:spPr bwMode="auto">
                <a:xfrm>
                  <a:off x="4805251" y="4650829"/>
                  <a:ext cx="2581498" cy="95939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Copy paste fonts. Choose the only option to retain text.</a:t>
                  </a:r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……</a:t>
                  </a:r>
                </a:p>
              </p:txBody>
            </p:sp>
          </p:grpSp>
        </p:grpSp>
        <p:sp>
          <p:nvSpPr>
            <p:cNvPr id="90" name="îṩļíḋe">
              <a:extLst>
                <a:ext uri="{FF2B5EF4-FFF2-40B4-BE49-F238E27FC236}">
                  <a16:creationId xmlns:a16="http://schemas.microsoft.com/office/drawing/2014/main" id="{6B4FAE4A-80E6-4036-9325-B112BDBE6E5B}"/>
                </a:ext>
              </a:extLst>
            </p:cNvPr>
            <p:cNvSpPr/>
            <p:nvPr/>
          </p:nvSpPr>
          <p:spPr>
            <a:xfrm>
              <a:off x="1897800" y="1946134"/>
              <a:ext cx="2604984" cy="3384832"/>
            </a:xfrm>
            <a:prstGeom prst="roundRect">
              <a:avLst>
                <a:gd name="adj" fmla="val 3877"/>
              </a:avLst>
            </a:prstGeom>
            <a:solidFill>
              <a:schemeClr val="bg1"/>
            </a:solidFill>
            <a:ln w="3175">
              <a:noFill/>
              <a:prstDash val="solid"/>
              <a:round/>
              <a:headEnd/>
              <a:tailEnd/>
            </a:ln>
            <a:effectLst>
              <a:outerShdw blurRad="127000" sx="101000" sy="101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endParaRPr lang="zh-CN" altLang="en-US"/>
            </a:p>
          </p:txBody>
        </p:sp>
        <p:sp>
          <p:nvSpPr>
            <p:cNvPr id="91" name="íSļiḓè">
              <a:extLst>
                <a:ext uri="{FF2B5EF4-FFF2-40B4-BE49-F238E27FC236}">
                  <a16:creationId xmlns:a16="http://schemas.microsoft.com/office/drawing/2014/main" id="{E5C0BACE-DF09-4137-B5A9-8F3A191D9A92}"/>
                </a:ext>
              </a:extLst>
            </p:cNvPr>
            <p:cNvSpPr/>
            <p:nvPr/>
          </p:nvSpPr>
          <p:spPr>
            <a:xfrm>
              <a:off x="1897800" y="1946134"/>
              <a:ext cx="2604984" cy="614141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zh-CN" altLang="en-US" b="1" i="1" u="sng" dirty="0"/>
                <a:t>￥</a:t>
              </a:r>
              <a:r>
                <a:rPr lang="en-US" altLang="zh-CN" b="1" i="1" u="sng" dirty="0"/>
                <a:t>890</a:t>
              </a:r>
            </a:p>
          </p:txBody>
        </p:sp>
        <p:sp>
          <p:nvSpPr>
            <p:cNvPr id="92" name="íšḷíḓè">
              <a:extLst>
                <a:ext uri="{FF2B5EF4-FFF2-40B4-BE49-F238E27FC236}">
                  <a16:creationId xmlns:a16="http://schemas.microsoft.com/office/drawing/2014/main" id="{79F37E3F-73F1-4E84-B1FC-992371F898FB}"/>
                </a:ext>
              </a:extLst>
            </p:cNvPr>
            <p:cNvSpPr/>
            <p:nvPr/>
          </p:nvSpPr>
          <p:spPr>
            <a:xfrm>
              <a:off x="2987740" y="2889383"/>
              <a:ext cx="425104" cy="463517"/>
            </a:xfrm>
            <a:custGeom>
              <a:avLst/>
              <a:gdLst>
                <a:gd name="T0" fmla="*/ 168 w 208"/>
                <a:gd name="T1" fmla="*/ 0 h 224"/>
                <a:gd name="T2" fmla="*/ 168 w 208"/>
                <a:gd name="T3" fmla="*/ 68 h 224"/>
                <a:gd name="T4" fmla="*/ 108 w 208"/>
                <a:gd name="T5" fmla="*/ 68 h 224"/>
                <a:gd name="T6" fmla="*/ 108 w 208"/>
                <a:gd name="T7" fmla="*/ 124 h 224"/>
                <a:gd name="T8" fmla="*/ 192 w 208"/>
                <a:gd name="T9" fmla="*/ 124 h 224"/>
                <a:gd name="T10" fmla="*/ 192 w 208"/>
                <a:gd name="T11" fmla="*/ 184 h 224"/>
                <a:gd name="T12" fmla="*/ 208 w 208"/>
                <a:gd name="T13" fmla="*/ 184 h 224"/>
                <a:gd name="T14" fmla="*/ 208 w 208"/>
                <a:gd name="T15" fmla="*/ 224 h 224"/>
                <a:gd name="T16" fmla="*/ 168 w 208"/>
                <a:gd name="T17" fmla="*/ 224 h 224"/>
                <a:gd name="T18" fmla="*/ 168 w 208"/>
                <a:gd name="T19" fmla="*/ 184 h 224"/>
                <a:gd name="T20" fmla="*/ 184 w 208"/>
                <a:gd name="T21" fmla="*/ 184 h 224"/>
                <a:gd name="T22" fmla="*/ 184 w 208"/>
                <a:gd name="T23" fmla="*/ 132 h 224"/>
                <a:gd name="T24" fmla="*/ 108 w 208"/>
                <a:gd name="T25" fmla="*/ 132 h 224"/>
                <a:gd name="T26" fmla="*/ 108 w 208"/>
                <a:gd name="T27" fmla="*/ 184 h 224"/>
                <a:gd name="T28" fmla="*/ 124 w 208"/>
                <a:gd name="T29" fmla="*/ 184 h 224"/>
                <a:gd name="T30" fmla="*/ 124 w 208"/>
                <a:gd name="T31" fmla="*/ 224 h 224"/>
                <a:gd name="T32" fmla="*/ 84 w 208"/>
                <a:gd name="T33" fmla="*/ 224 h 224"/>
                <a:gd name="T34" fmla="*/ 84 w 208"/>
                <a:gd name="T35" fmla="*/ 184 h 224"/>
                <a:gd name="T36" fmla="*/ 100 w 208"/>
                <a:gd name="T37" fmla="*/ 184 h 224"/>
                <a:gd name="T38" fmla="*/ 100 w 208"/>
                <a:gd name="T39" fmla="*/ 132 h 224"/>
                <a:gd name="T40" fmla="*/ 24 w 208"/>
                <a:gd name="T41" fmla="*/ 132 h 224"/>
                <a:gd name="T42" fmla="*/ 24 w 208"/>
                <a:gd name="T43" fmla="*/ 184 h 224"/>
                <a:gd name="T44" fmla="*/ 40 w 208"/>
                <a:gd name="T45" fmla="*/ 184 h 224"/>
                <a:gd name="T46" fmla="*/ 40 w 208"/>
                <a:gd name="T47" fmla="*/ 224 h 224"/>
                <a:gd name="T48" fmla="*/ 0 w 208"/>
                <a:gd name="T49" fmla="*/ 224 h 224"/>
                <a:gd name="T50" fmla="*/ 0 w 208"/>
                <a:gd name="T51" fmla="*/ 184 h 224"/>
                <a:gd name="T52" fmla="*/ 16 w 208"/>
                <a:gd name="T53" fmla="*/ 184 h 224"/>
                <a:gd name="T54" fmla="*/ 16 w 208"/>
                <a:gd name="T55" fmla="*/ 124 h 224"/>
                <a:gd name="T56" fmla="*/ 100 w 208"/>
                <a:gd name="T57" fmla="*/ 124 h 224"/>
                <a:gd name="T58" fmla="*/ 100 w 208"/>
                <a:gd name="T59" fmla="*/ 68 h 224"/>
                <a:gd name="T60" fmla="*/ 40 w 208"/>
                <a:gd name="T61" fmla="*/ 68 h 224"/>
                <a:gd name="T62" fmla="*/ 40 w 208"/>
                <a:gd name="T63" fmla="*/ 0 h 224"/>
                <a:gd name="T64" fmla="*/ 168 w 208"/>
                <a:gd name="T65" fmla="*/ 0 h 224"/>
                <a:gd name="T66" fmla="*/ 32 w 208"/>
                <a:gd name="T67" fmla="*/ 192 h 224"/>
                <a:gd name="T68" fmla="*/ 8 w 208"/>
                <a:gd name="T69" fmla="*/ 192 h 224"/>
                <a:gd name="T70" fmla="*/ 8 w 208"/>
                <a:gd name="T71" fmla="*/ 216 h 224"/>
                <a:gd name="T72" fmla="*/ 32 w 208"/>
                <a:gd name="T73" fmla="*/ 216 h 224"/>
                <a:gd name="T74" fmla="*/ 32 w 208"/>
                <a:gd name="T75" fmla="*/ 192 h 224"/>
                <a:gd name="T76" fmla="*/ 116 w 208"/>
                <a:gd name="T77" fmla="*/ 192 h 224"/>
                <a:gd name="T78" fmla="*/ 92 w 208"/>
                <a:gd name="T79" fmla="*/ 192 h 224"/>
                <a:gd name="T80" fmla="*/ 92 w 208"/>
                <a:gd name="T81" fmla="*/ 216 h 224"/>
                <a:gd name="T82" fmla="*/ 116 w 208"/>
                <a:gd name="T83" fmla="*/ 216 h 224"/>
                <a:gd name="T84" fmla="*/ 116 w 208"/>
                <a:gd name="T85" fmla="*/ 192 h 224"/>
                <a:gd name="T86" fmla="*/ 200 w 208"/>
                <a:gd name="T87" fmla="*/ 192 h 224"/>
                <a:gd name="T88" fmla="*/ 176 w 208"/>
                <a:gd name="T89" fmla="*/ 192 h 224"/>
                <a:gd name="T90" fmla="*/ 176 w 208"/>
                <a:gd name="T91" fmla="*/ 216 h 224"/>
                <a:gd name="T92" fmla="*/ 200 w 208"/>
                <a:gd name="T93" fmla="*/ 216 h 224"/>
                <a:gd name="T94" fmla="*/ 200 w 208"/>
                <a:gd name="T95" fmla="*/ 192 h 224"/>
                <a:gd name="T96" fmla="*/ 160 w 208"/>
                <a:gd name="T97" fmla="*/ 8 h 224"/>
                <a:gd name="T98" fmla="*/ 48 w 208"/>
                <a:gd name="T99" fmla="*/ 8 h 224"/>
                <a:gd name="T100" fmla="*/ 48 w 208"/>
                <a:gd name="T101" fmla="*/ 60 h 224"/>
                <a:gd name="T102" fmla="*/ 160 w 208"/>
                <a:gd name="T103" fmla="*/ 60 h 224"/>
                <a:gd name="T104" fmla="*/ 160 w 208"/>
                <a:gd name="T105" fmla="*/ 8 h 224"/>
                <a:gd name="T106" fmla="*/ 66 w 208"/>
                <a:gd name="T107" fmla="*/ 36 h 224"/>
                <a:gd name="T108" fmla="*/ 72 w 208"/>
                <a:gd name="T109" fmla="*/ 42 h 224"/>
                <a:gd name="T110" fmla="*/ 66 w 208"/>
                <a:gd name="T111" fmla="*/ 48 h 224"/>
                <a:gd name="T112" fmla="*/ 60 w 208"/>
                <a:gd name="T113" fmla="*/ 42 h 224"/>
                <a:gd name="T114" fmla="*/ 66 w 208"/>
                <a:gd name="T115" fmla="*/ 36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8" h="224">
                  <a:moveTo>
                    <a:pt x="168" y="0"/>
                  </a:moveTo>
                  <a:cubicBezTo>
                    <a:pt x="168" y="68"/>
                    <a:pt x="168" y="68"/>
                    <a:pt x="168" y="68"/>
                  </a:cubicBezTo>
                  <a:cubicBezTo>
                    <a:pt x="108" y="68"/>
                    <a:pt x="108" y="68"/>
                    <a:pt x="108" y="68"/>
                  </a:cubicBezTo>
                  <a:cubicBezTo>
                    <a:pt x="108" y="124"/>
                    <a:pt x="108" y="124"/>
                    <a:pt x="108" y="124"/>
                  </a:cubicBezTo>
                  <a:cubicBezTo>
                    <a:pt x="192" y="124"/>
                    <a:pt x="192" y="124"/>
                    <a:pt x="192" y="124"/>
                  </a:cubicBezTo>
                  <a:cubicBezTo>
                    <a:pt x="192" y="184"/>
                    <a:pt x="192" y="184"/>
                    <a:pt x="192" y="184"/>
                  </a:cubicBezTo>
                  <a:cubicBezTo>
                    <a:pt x="208" y="184"/>
                    <a:pt x="208" y="184"/>
                    <a:pt x="208" y="184"/>
                  </a:cubicBezTo>
                  <a:cubicBezTo>
                    <a:pt x="208" y="224"/>
                    <a:pt x="208" y="224"/>
                    <a:pt x="208" y="224"/>
                  </a:cubicBezTo>
                  <a:cubicBezTo>
                    <a:pt x="168" y="224"/>
                    <a:pt x="168" y="224"/>
                    <a:pt x="168" y="224"/>
                  </a:cubicBezTo>
                  <a:cubicBezTo>
                    <a:pt x="168" y="184"/>
                    <a:pt x="168" y="184"/>
                    <a:pt x="168" y="184"/>
                  </a:cubicBezTo>
                  <a:cubicBezTo>
                    <a:pt x="184" y="184"/>
                    <a:pt x="184" y="184"/>
                    <a:pt x="184" y="184"/>
                  </a:cubicBezTo>
                  <a:cubicBezTo>
                    <a:pt x="184" y="132"/>
                    <a:pt x="184" y="132"/>
                    <a:pt x="184" y="132"/>
                  </a:cubicBezTo>
                  <a:cubicBezTo>
                    <a:pt x="108" y="132"/>
                    <a:pt x="108" y="132"/>
                    <a:pt x="108" y="132"/>
                  </a:cubicBezTo>
                  <a:cubicBezTo>
                    <a:pt x="108" y="184"/>
                    <a:pt x="108" y="184"/>
                    <a:pt x="108" y="184"/>
                  </a:cubicBezTo>
                  <a:cubicBezTo>
                    <a:pt x="124" y="184"/>
                    <a:pt x="124" y="184"/>
                    <a:pt x="124" y="184"/>
                  </a:cubicBezTo>
                  <a:cubicBezTo>
                    <a:pt x="124" y="224"/>
                    <a:pt x="124" y="224"/>
                    <a:pt x="124" y="224"/>
                  </a:cubicBezTo>
                  <a:cubicBezTo>
                    <a:pt x="84" y="224"/>
                    <a:pt x="84" y="224"/>
                    <a:pt x="84" y="224"/>
                  </a:cubicBezTo>
                  <a:cubicBezTo>
                    <a:pt x="84" y="184"/>
                    <a:pt x="84" y="184"/>
                    <a:pt x="84" y="184"/>
                  </a:cubicBezTo>
                  <a:cubicBezTo>
                    <a:pt x="100" y="184"/>
                    <a:pt x="100" y="184"/>
                    <a:pt x="100" y="184"/>
                  </a:cubicBezTo>
                  <a:cubicBezTo>
                    <a:pt x="100" y="132"/>
                    <a:pt x="100" y="132"/>
                    <a:pt x="100" y="132"/>
                  </a:cubicBezTo>
                  <a:cubicBezTo>
                    <a:pt x="24" y="132"/>
                    <a:pt x="24" y="132"/>
                    <a:pt x="24" y="132"/>
                  </a:cubicBezTo>
                  <a:cubicBezTo>
                    <a:pt x="24" y="184"/>
                    <a:pt x="24" y="184"/>
                    <a:pt x="24" y="184"/>
                  </a:cubicBezTo>
                  <a:cubicBezTo>
                    <a:pt x="40" y="184"/>
                    <a:pt x="40" y="184"/>
                    <a:pt x="40" y="184"/>
                  </a:cubicBezTo>
                  <a:cubicBezTo>
                    <a:pt x="40" y="224"/>
                    <a:pt x="40" y="224"/>
                    <a:pt x="40" y="224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16" y="184"/>
                    <a:pt x="16" y="184"/>
                    <a:pt x="16" y="184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00" y="124"/>
                    <a:pt x="100" y="124"/>
                    <a:pt x="100" y="124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40" y="68"/>
                    <a:pt x="40" y="68"/>
                    <a:pt x="40" y="68"/>
                  </a:cubicBezTo>
                  <a:cubicBezTo>
                    <a:pt x="40" y="0"/>
                    <a:pt x="40" y="0"/>
                    <a:pt x="40" y="0"/>
                  </a:cubicBezTo>
                  <a:lnTo>
                    <a:pt x="168" y="0"/>
                  </a:lnTo>
                  <a:close/>
                  <a:moveTo>
                    <a:pt x="32" y="192"/>
                  </a:moveTo>
                  <a:cubicBezTo>
                    <a:pt x="8" y="192"/>
                    <a:pt x="8" y="192"/>
                    <a:pt x="8" y="192"/>
                  </a:cubicBezTo>
                  <a:cubicBezTo>
                    <a:pt x="8" y="216"/>
                    <a:pt x="8" y="216"/>
                    <a:pt x="8" y="216"/>
                  </a:cubicBezTo>
                  <a:cubicBezTo>
                    <a:pt x="32" y="216"/>
                    <a:pt x="32" y="216"/>
                    <a:pt x="32" y="216"/>
                  </a:cubicBezTo>
                  <a:lnTo>
                    <a:pt x="32" y="192"/>
                  </a:lnTo>
                  <a:close/>
                  <a:moveTo>
                    <a:pt x="116" y="192"/>
                  </a:moveTo>
                  <a:cubicBezTo>
                    <a:pt x="92" y="192"/>
                    <a:pt x="92" y="192"/>
                    <a:pt x="92" y="192"/>
                  </a:cubicBezTo>
                  <a:cubicBezTo>
                    <a:pt x="92" y="216"/>
                    <a:pt x="92" y="216"/>
                    <a:pt x="92" y="216"/>
                  </a:cubicBezTo>
                  <a:cubicBezTo>
                    <a:pt x="116" y="216"/>
                    <a:pt x="116" y="216"/>
                    <a:pt x="116" y="216"/>
                  </a:cubicBezTo>
                  <a:lnTo>
                    <a:pt x="116" y="192"/>
                  </a:lnTo>
                  <a:close/>
                  <a:moveTo>
                    <a:pt x="200" y="192"/>
                  </a:moveTo>
                  <a:cubicBezTo>
                    <a:pt x="176" y="192"/>
                    <a:pt x="176" y="192"/>
                    <a:pt x="176" y="192"/>
                  </a:cubicBezTo>
                  <a:cubicBezTo>
                    <a:pt x="176" y="216"/>
                    <a:pt x="176" y="216"/>
                    <a:pt x="176" y="216"/>
                  </a:cubicBezTo>
                  <a:cubicBezTo>
                    <a:pt x="200" y="216"/>
                    <a:pt x="200" y="216"/>
                    <a:pt x="200" y="216"/>
                  </a:cubicBezTo>
                  <a:lnTo>
                    <a:pt x="200" y="192"/>
                  </a:lnTo>
                  <a:close/>
                  <a:moveTo>
                    <a:pt x="160" y="8"/>
                  </a:moveTo>
                  <a:cubicBezTo>
                    <a:pt x="48" y="8"/>
                    <a:pt x="48" y="8"/>
                    <a:pt x="48" y="8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160" y="60"/>
                    <a:pt x="160" y="60"/>
                    <a:pt x="160" y="60"/>
                  </a:cubicBezTo>
                  <a:lnTo>
                    <a:pt x="160" y="8"/>
                  </a:lnTo>
                  <a:close/>
                  <a:moveTo>
                    <a:pt x="66" y="36"/>
                  </a:moveTo>
                  <a:cubicBezTo>
                    <a:pt x="69" y="36"/>
                    <a:pt x="72" y="39"/>
                    <a:pt x="72" y="42"/>
                  </a:cubicBezTo>
                  <a:cubicBezTo>
                    <a:pt x="72" y="45"/>
                    <a:pt x="69" y="48"/>
                    <a:pt x="66" y="48"/>
                  </a:cubicBezTo>
                  <a:cubicBezTo>
                    <a:pt x="63" y="48"/>
                    <a:pt x="60" y="45"/>
                    <a:pt x="60" y="42"/>
                  </a:cubicBezTo>
                  <a:cubicBezTo>
                    <a:pt x="60" y="39"/>
                    <a:pt x="63" y="36"/>
                    <a:pt x="66" y="36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grpSp>
          <p:nvGrpSpPr>
            <p:cNvPr id="93" name="ïş1iďé">
              <a:extLst>
                <a:ext uri="{FF2B5EF4-FFF2-40B4-BE49-F238E27FC236}">
                  <a16:creationId xmlns:a16="http://schemas.microsoft.com/office/drawing/2014/main" id="{0EDF9E39-BC47-45FC-902D-21EEE19B8C6C}"/>
                </a:ext>
              </a:extLst>
            </p:cNvPr>
            <p:cNvGrpSpPr/>
            <p:nvPr/>
          </p:nvGrpSpPr>
          <p:grpSpPr>
            <a:xfrm>
              <a:off x="2092359" y="3423851"/>
              <a:ext cx="2215867" cy="1347794"/>
              <a:chOff x="2120594" y="3224205"/>
              <a:chExt cx="2215867" cy="1347794"/>
            </a:xfrm>
          </p:grpSpPr>
          <p:sp>
            <p:nvSpPr>
              <p:cNvPr id="100" name="iṩľíďè">
                <a:extLst>
                  <a:ext uri="{FF2B5EF4-FFF2-40B4-BE49-F238E27FC236}">
                    <a16:creationId xmlns:a16="http://schemas.microsoft.com/office/drawing/2014/main" id="{BAF77048-6151-4B25-B98F-2C92E82F4B6F}"/>
                  </a:ext>
                </a:extLst>
              </p:cNvPr>
              <p:cNvSpPr txBox="1"/>
              <p:nvPr/>
            </p:nvSpPr>
            <p:spPr bwMode="auto">
              <a:xfrm>
                <a:off x="2120594" y="3224205"/>
                <a:ext cx="2215867" cy="361754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600" i="1" dirty="0"/>
                  <a:t>Text here</a:t>
                </a:r>
              </a:p>
            </p:txBody>
          </p:sp>
          <p:sp>
            <p:nvSpPr>
              <p:cNvPr id="101" name="iṧliḍe">
                <a:extLst>
                  <a:ext uri="{FF2B5EF4-FFF2-40B4-BE49-F238E27FC236}">
                    <a16:creationId xmlns:a16="http://schemas.microsoft.com/office/drawing/2014/main" id="{23C7B27E-BA81-45BD-9D1A-90796134D0AB}"/>
                  </a:ext>
                </a:extLst>
              </p:cNvPr>
              <p:cNvSpPr/>
              <p:nvPr/>
            </p:nvSpPr>
            <p:spPr bwMode="auto">
              <a:xfrm>
                <a:off x="2120594" y="3683942"/>
                <a:ext cx="2215867" cy="88805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</p:grpSp>
        <p:sp>
          <p:nvSpPr>
            <p:cNvPr id="94" name="î$ļîde">
              <a:extLst>
                <a:ext uri="{FF2B5EF4-FFF2-40B4-BE49-F238E27FC236}">
                  <a16:creationId xmlns:a16="http://schemas.microsoft.com/office/drawing/2014/main" id="{6E5DE44C-5153-4BB8-84B1-42FC56696D7F}"/>
                </a:ext>
              </a:extLst>
            </p:cNvPr>
            <p:cNvSpPr/>
            <p:nvPr/>
          </p:nvSpPr>
          <p:spPr>
            <a:xfrm>
              <a:off x="7689216" y="1946134"/>
              <a:ext cx="2604984" cy="3384832"/>
            </a:xfrm>
            <a:prstGeom prst="roundRect">
              <a:avLst>
                <a:gd name="adj" fmla="val 3877"/>
              </a:avLst>
            </a:prstGeom>
            <a:solidFill>
              <a:schemeClr val="bg1"/>
            </a:solidFill>
            <a:ln w="3175">
              <a:noFill/>
              <a:prstDash val="solid"/>
              <a:round/>
              <a:headEnd/>
              <a:tailEnd/>
            </a:ln>
            <a:effectLst>
              <a:outerShdw blurRad="127000" sx="101000" sy="101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endParaRPr lang="zh-CN" altLang="en-US"/>
            </a:p>
          </p:txBody>
        </p:sp>
        <p:sp>
          <p:nvSpPr>
            <p:cNvPr id="95" name="isḻïḓè">
              <a:extLst>
                <a:ext uri="{FF2B5EF4-FFF2-40B4-BE49-F238E27FC236}">
                  <a16:creationId xmlns:a16="http://schemas.microsoft.com/office/drawing/2014/main" id="{CCC0AF17-9037-40DA-A657-08309F77559A}"/>
                </a:ext>
              </a:extLst>
            </p:cNvPr>
            <p:cNvSpPr/>
            <p:nvPr/>
          </p:nvSpPr>
          <p:spPr>
            <a:xfrm>
              <a:off x="7689216" y="1946134"/>
              <a:ext cx="2604984" cy="614141"/>
            </a:xfrm>
            <a:prstGeom prst="roundRect">
              <a:avLst/>
            </a:prstGeom>
            <a:solidFill>
              <a:schemeClr val="accent2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zh-CN" altLang="en-US" b="1" i="1" u="sng" dirty="0"/>
                <a:t>￥</a:t>
              </a:r>
              <a:r>
                <a:rPr lang="en-US" altLang="zh-CN" b="1" i="1" u="sng" dirty="0"/>
                <a:t>789</a:t>
              </a:r>
            </a:p>
          </p:txBody>
        </p:sp>
        <p:sp>
          <p:nvSpPr>
            <p:cNvPr id="96" name="ïšľiḓe">
              <a:extLst>
                <a:ext uri="{FF2B5EF4-FFF2-40B4-BE49-F238E27FC236}">
                  <a16:creationId xmlns:a16="http://schemas.microsoft.com/office/drawing/2014/main" id="{AC59135D-E886-430A-A344-562E173EA56E}"/>
                </a:ext>
              </a:extLst>
            </p:cNvPr>
            <p:cNvSpPr/>
            <p:nvPr/>
          </p:nvSpPr>
          <p:spPr>
            <a:xfrm>
              <a:off x="8762510" y="2873788"/>
              <a:ext cx="458395" cy="463517"/>
            </a:xfrm>
            <a:custGeom>
              <a:avLst/>
              <a:gdLst>
                <a:gd name="T0" fmla="*/ 160 w 224"/>
                <a:gd name="T1" fmla="*/ 0 h 224"/>
                <a:gd name="T2" fmla="*/ 160 w 224"/>
                <a:gd name="T3" fmla="*/ 48 h 224"/>
                <a:gd name="T4" fmla="*/ 224 w 224"/>
                <a:gd name="T5" fmla="*/ 48 h 224"/>
                <a:gd name="T6" fmla="*/ 224 w 224"/>
                <a:gd name="T7" fmla="*/ 176 h 224"/>
                <a:gd name="T8" fmla="*/ 160 w 224"/>
                <a:gd name="T9" fmla="*/ 176 h 224"/>
                <a:gd name="T10" fmla="*/ 160 w 224"/>
                <a:gd name="T11" fmla="*/ 224 h 224"/>
                <a:gd name="T12" fmla="*/ 64 w 224"/>
                <a:gd name="T13" fmla="*/ 224 h 224"/>
                <a:gd name="T14" fmla="*/ 64 w 224"/>
                <a:gd name="T15" fmla="*/ 176 h 224"/>
                <a:gd name="T16" fmla="*/ 0 w 224"/>
                <a:gd name="T17" fmla="*/ 176 h 224"/>
                <a:gd name="T18" fmla="*/ 0 w 224"/>
                <a:gd name="T19" fmla="*/ 76 h 224"/>
                <a:gd name="T20" fmla="*/ 26 w 224"/>
                <a:gd name="T21" fmla="*/ 48 h 224"/>
                <a:gd name="T22" fmla="*/ 64 w 224"/>
                <a:gd name="T23" fmla="*/ 48 h 224"/>
                <a:gd name="T24" fmla="*/ 64 w 224"/>
                <a:gd name="T25" fmla="*/ 0 h 224"/>
                <a:gd name="T26" fmla="*/ 160 w 224"/>
                <a:gd name="T27" fmla="*/ 0 h 224"/>
                <a:gd name="T28" fmla="*/ 152 w 224"/>
                <a:gd name="T29" fmla="*/ 120 h 224"/>
                <a:gd name="T30" fmla="*/ 72 w 224"/>
                <a:gd name="T31" fmla="*/ 120 h 224"/>
                <a:gd name="T32" fmla="*/ 72 w 224"/>
                <a:gd name="T33" fmla="*/ 216 h 224"/>
                <a:gd name="T34" fmla="*/ 152 w 224"/>
                <a:gd name="T35" fmla="*/ 216 h 224"/>
                <a:gd name="T36" fmla="*/ 152 w 224"/>
                <a:gd name="T37" fmla="*/ 120 h 224"/>
                <a:gd name="T38" fmla="*/ 216 w 224"/>
                <a:gd name="T39" fmla="*/ 56 h 224"/>
                <a:gd name="T40" fmla="*/ 30 w 224"/>
                <a:gd name="T41" fmla="*/ 56 h 224"/>
                <a:gd name="T42" fmla="*/ 8 w 224"/>
                <a:gd name="T43" fmla="*/ 80 h 224"/>
                <a:gd name="T44" fmla="*/ 8 w 224"/>
                <a:gd name="T45" fmla="*/ 168 h 224"/>
                <a:gd name="T46" fmla="*/ 64 w 224"/>
                <a:gd name="T47" fmla="*/ 168 h 224"/>
                <a:gd name="T48" fmla="*/ 64 w 224"/>
                <a:gd name="T49" fmla="*/ 112 h 224"/>
                <a:gd name="T50" fmla="*/ 160 w 224"/>
                <a:gd name="T51" fmla="*/ 112 h 224"/>
                <a:gd name="T52" fmla="*/ 160 w 224"/>
                <a:gd name="T53" fmla="*/ 168 h 224"/>
                <a:gd name="T54" fmla="*/ 216 w 224"/>
                <a:gd name="T55" fmla="*/ 168 h 224"/>
                <a:gd name="T56" fmla="*/ 216 w 224"/>
                <a:gd name="T57" fmla="*/ 56 h 224"/>
                <a:gd name="T58" fmla="*/ 194 w 224"/>
                <a:gd name="T59" fmla="*/ 72 h 224"/>
                <a:gd name="T60" fmla="*/ 200 w 224"/>
                <a:gd name="T61" fmla="*/ 78 h 224"/>
                <a:gd name="T62" fmla="*/ 194 w 224"/>
                <a:gd name="T63" fmla="*/ 84 h 224"/>
                <a:gd name="T64" fmla="*/ 188 w 224"/>
                <a:gd name="T65" fmla="*/ 78 h 224"/>
                <a:gd name="T66" fmla="*/ 194 w 224"/>
                <a:gd name="T67" fmla="*/ 72 h 224"/>
                <a:gd name="T68" fmla="*/ 152 w 224"/>
                <a:gd name="T69" fmla="*/ 8 h 224"/>
                <a:gd name="T70" fmla="*/ 72 w 224"/>
                <a:gd name="T71" fmla="*/ 8 h 224"/>
                <a:gd name="T72" fmla="*/ 72 w 224"/>
                <a:gd name="T73" fmla="*/ 48 h 224"/>
                <a:gd name="T74" fmla="*/ 152 w 224"/>
                <a:gd name="T75" fmla="*/ 48 h 224"/>
                <a:gd name="T76" fmla="*/ 152 w 224"/>
                <a:gd name="T77" fmla="*/ 8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24" h="224">
                  <a:moveTo>
                    <a:pt x="160" y="0"/>
                  </a:moveTo>
                  <a:cubicBezTo>
                    <a:pt x="160" y="48"/>
                    <a:pt x="160" y="48"/>
                    <a:pt x="160" y="48"/>
                  </a:cubicBezTo>
                  <a:cubicBezTo>
                    <a:pt x="224" y="48"/>
                    <a:pt x="224" y="48"/>
                    <a:pt x="224" y="48"/>
                  </a:cubicBezTo>
                  <a:cubicBezTo>
                    <a:pt x="224" y="176"/>
                    <a:pt x="224" y="176"/>
                    <a:pt x="224" y="176"/>
                  </a:cubicBezTo>
                  <a:cubicBezTo>
                    <a:pt x="160" y="176"/>
                    <a:pt x="160" y="176"/>
                    <a:pt x="160" y="176"/>
                  </a:cubicBezTo>
                  <a:cubicBezTo>
                    <a:pt x="160" y="224"/>
                    <a:pt x="160" y="224"/>
                    <a:pt x="160" y="224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4" y="0"/>
                    <a:pt x="64" y="0"/>
                    <a:pt x="64" y="0"/>
                  </a:cubicBezTo>
                  <a:lnTo>
                    <a:pt x="160" y="0"/>
                  </a:lnTo>
                  <a:close/>
                  <a:moveTo>
                    <a:pt x="152" y="120"/>
                  </a:moveTo>
                  <a:cubicBezTo>
                    <a:pt x="72" y="120"/>
                    <a:pt x="72" y="120"/>
                    <a:pt x="72" y="120"/>
                  </a:cubicBezTo>
                  <a:cubicBezTo>
                    <a:pt x="72" y="216"/>
                    <a:pt x="72" y="216"/>
                    <a:pt x="72" y="216"/>
                  </a:cubicBezTo>
                  <a:cubicBezTo>
                    <a:pt x="152" y="216"/>
                    <a:pt x="152" y="216"/>
                    <a:pt x="152" y="216"/>
                  </a:cubicBezTo>
                  <a:lnTo>
                    <a:pt x="152" y="120"/>
                  </a:lnTo>
                  <a:close/>
                  <a:moveTo>
                    <a:pt x="216" y="56"/>
                  </a:moveTo>
                  <a:cubicBezTo>
                    <a:pt x="30" y="56"/>
                    <a:pt x="30" y="56"/>
                    <a:pt x="30" y="56"/>
                  </a:cubicBezTo>
                  <a:cubicBezTo>
                    <a:pt x="8" y="80"/>
                    <a:pt x="8" y="80"/>
                    <a:pt x="8" y="80"/>
                  </a:cubicBezTo>
                  <a:cubicBezTo>
                    <a:pt x="8" y="168"/>
                    <a:pt x="8" y="168"/>
                    <a:pt x="8" y="168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64" y="112"/>
                    <a:pt x="64" y="112"/>
                    <a:pt x="64" y="112"/>
                  </a:cubicBezTo>
                  <a:cubicBezTo>
                    <a:pt x="160" y="112"/>
                    <a:pt x="160" y="112"/>
                    <a:pt x="160" y="112"/>
                  </a:cubicBezTo>
                  <a:cubicBezTo>
                    <a:pt x="160" y="168"/>
                    <a:pt x="160" y="168"/>
                    <a:pt x="160" y="168"/>
                  </a:cubicBezTo>
                  <a:cubicBezTo>
                    <a:pt x="216" y="168"/>
                    <a:pt x="216" y="168"/>
                    <a:pt x="216" y="168"/>
                  </a:cubicBezTo>
                  <a:lnTo>
                    <a:pt x="216" y="56"/>
                  </a:lnTo>
                  <a:close/>
                  <a:moveTo>
                    <a:pt x="194" y="72"/>
                  </a:moveTo>
                  <a:cubicBezTo>
                    <a:pt x="197" y="72"/>
                    <a:pt x="200" y="75"/>
                    <a:pt x="200" y="78"/>
                  </a:cubicBezTo>
                  <a:cubicBezTo>
                    <a:pt x="200" y="81"/>
                    <a:pt x="197" y="84"/>
                    <a:pt x="194" y="84"/>
                  </a:cubicBezTo>
                  <a:cubicBezTo>
                    <a:pt x="191" y="84"/>
                    <a:pt x="188" y="81"/>
                    <a:pt x="188" y="78"/>
                  </a:cubicBezTo>
                  <a:cubicBezTo>
                    <a:pt x="188" y="75"/>
                    <a:pt x="191" y="72"/>
                    <a:pt x="194" y="72"/>
                  </a:cubicBezTo>
                  <a:close/>
                  <a:moveTo>
                    <a:pt x="152" y="8"/>
                  </a:moveTo>
                  <a:cubicBezTo>
                    <a:pt x="72" y="8"/>
                    <a:pt x="72" y="8"/>
                    <a:pt x="72" y="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152" y="48"/>
                    <a:pt x="152" y="48"/>
                    <a:pt x="152" y="48"/>
                  </a:cubicBezTo>
                  <a:lnTo>
                    <a:pt x="152" y="8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grpSp>
          <p:nvGrpSpPr>
            <p:cNvPr id="97" name="îşḻídè">
              <a:extLst>
                <a:ext uri="{FF2B5EF4-FFF2-40B4-BE49-F238E27FC236}">
                  <a16:creationId xmlns:a16="http://schemas.microsoft.com/office/drawing/2014/main" id="{E23DF411-CECF-4382-AA66-8E1F2ADBABA5}"/>
                </a:ext>
              </a:extLst>
            </p:cNvPr>
            <p:cNvGrpSpPr/>
            <p:nvPr/>
          </p:nvGrpSpPr>
          <p:grpSpPr>
            <a:xfrm>
              <a:off x="7883775" y="3423851"/>
              <a:ext cx="2215867" cy="1347794"/>
              <a:chOff x="7855538" y="3224205"/>
              <a:chExt cx="2215867" cy="1347794"/>
            </a:xfrm>
          </p:grpSpPr>
          <p:sp>
            <p:nvSpPr>
              <p:cNvPr id="98" name="ïṡ1îdè">
                <a:extLst>
                  <a:ext uri="{FF2B5EF4-FFF2-40B4-BE49-F238E27FC236}">
                    <a16:creationId xmlns:a16="http://schemas.microsoft.com/office/drawing/2014/main" id="{BAF77048-6151-4B25-B98F-2C92E82F4B6F}"/>
                  </a:ext>
                </a:extLst>
              </p:cNvPr>
              <p:cNvSpPr txBox="1"/>
              <p:nvPr/>
            </p:nvSpPr>
            <p:spPr bwMode="auto">
              <a:xfrm>
                <a:off x="7855538" y="3224205"/>
                <a:ext cx="2215867" cy="361754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600" i="1" dirty="0"/>
                  <a:t>Text here</a:t>
                </a:r>
              </a:p>
            </p:txBody>
          </p:sp>
          <p:sp>
            <p:nvSpPr>
              <p:cNvPr id="99" name="îśľiḋé">
                <a:extLst>
                  <a:ext uri="{FF2B5EF4-FFF2-40B4-BE49-F238E27FC236}">
                    <a16:creationId xmlns:a16="http://schemas.microsoft.com/office/drawing/2014/main" id="{23C7B27E-BA81-45BD-9D1A-90796134D0AB}"/>
                  </a:ext>
                </a:extLst>
              </p:cNvPr>
              <p:cNvSpPr/>
              <p:nvPr/>
            </p:nvSpPr>
            <p:spPr bwMode="auto">
              <a:xfrm>
                <a:off x="7855538" y="3683942"/>
                <a:ext cx="2215867" cy="88805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2192111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6419833-458B-4CE7-924F-21742C6024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8491942-E8DD-4EEC-80F6-2689F0794A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08444C6-F932-4B3D-91B3-8E961A80AB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grpSp>
        <p:nvGrpSpPr>
          <p:cNvPr id="113" name="25984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5861A1D8-6020-4496-BC7E-E3F846BB4833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130300"/>
            <a:ext cx="10845800" cy="5016500"/>
            <a:chOff x="673100" y="1130300"/>
            <a:chExt cx="10845800" cy="5016500"/>
          </a:xfrm>
        </p:grpSpPr>
        <p:grpSp>
          <p:nvGrpSpPr>
            <p:cNvPr id="114" name="ísļíḋè">
              <a:extLst>
                <a:ext uri="{FF2B5EF4-FFF2-40B4-BE49-F238E27FC236}">
                  <a16:creationId xmlns:a16="http://schemas.microsoft.com/office/drawing/2014/main" id="{88A46115-28A6-4092-9050-4504DF6DA06C}"/>
                </a:ext>
              </a:extLst>
            </p:cNvPr>
            <p:cNvGrpSpPr/>
            <p:nvPr/>
          </p:nvGrpSpPr>
          <p:grpSpPr>
            <a:xfrm>
              <a:off x="4533325" y="2558406"/>
              <a:ext cx="3125350" cy="3588394"/>
              <a:chOff x="4056668" y="1463851"/>
              <a:chExt cx="4078664" cy="4682949"/>
            </a:xfrm>
          </p:grpSpPr>
          <p:sp>
            <p:nvSpPr>
              <p:cNvPr id="133" name="ïṡľïḍè">
                <a:extLst>
                  <a:ext uri="{FF2B5EF4-FFF2-40B4-BE49-F238E27FC236}">
                    <a16:creationId xmlns:a16="http://schemas.microsoft.com/office/drawing/2014/main" id="{9FBE0FE6-B40E-4661-988A-29F4C114D450}"/>
                  </a:ext>
                </a:extLst>
              </p:cNvPr>
              <p:cNvSpPr/>
              <p:nvPr/>
            </p:nvSpPr>
            <p:spPr>
              <a:xfrm>
                <a:off x="4056668" y="1463851"/>
                <a:ext cx="4078664" cy="4078664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134" name="ïşlïḍê">
                <a:extLst>
                  <a:ext uri="{FF2B5EF4-FFF2-40B4-BE49-F238E27FC236}">
                    <a16:creationId xmlns:a16="http://schemas.microsoft.com/office/drawing/2014/main" id="{FCB6E5A1-1F6F-4C47-83EE-5D7FB5F826D2}"/>
                  </a:ext>
                </a:extLst>
              </p:cNvPr>
              <p:cNvSpPr/>
              <p:nvPr/>
            </p:nvSpPr>
            <p:spPr>
              <a:xfrm>
                <a:off x="4511719" y="2373952"/>
                <a:ext cx="3168563" cy="3168563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135" name="îṡḷîḑe">
                <a:extLst>
                  <a:ext uri="{FF2B5EF4-FFF2-40B4-BE49-F238E27FC236}">
                    <a16:creationId xmlns:a16="http://schemas.microsoft.com/office/drawing/2014/main" id="{A217E4A1-6158-4A8E-929E-3576284E9DE2}"/>
                  </a:ext>
                </a:extLst>
              </p:cNvPr>
              <p:cNvSpPr/>
              <p:nvPr/>
            </p:nvSpPr>
            <p:spPr>
              <a:xfrm>
                <a:off x="4919318" y="3189150"/>
                <a:ext cx="2353365" cy="2353365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136" name="îṥlíḑê">
                <a:extLst>
                  <a:ext uri="{FF2B5EF4-FFF2-40B4-BE49-F238E27FC236}">
                    <a16:creationId xmlns:a16="http://schemas.microsoft.com/office/drawing/2014/main" id="{67CB70CE-967A-4974-A4A2-2C1EE29B6521}"/>
                  </a:ext>
                </a:extLst>
              </p:cNvPr>
              <p:cNvSpPr/>
              <p:nvPr/>
            </p:nvSpPr>
            <p:spPr>
              <a:xfrm>
                <a:off x="5368777" y="5577385"/>
                <a:ext cx="1454447" cy="569415"/>
              </a:xfrm>
              <a:prstGeom prst="roundRect">
                <a:avLst>
                  <a:gd name="adj" fmla="val 13693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altLang="zh-CN" sz="2000" dirty="0"/>
                  <a:t>Text</a:t>
                </a:r>
                <a:endParaRPr lang="zh-CN" altLang="en-US" sz="2000" dirty="0"/>
              </a:p>
            </p:txBody>
          </p:sp>
          <p:grpSp>
            <p:nvGrpSpPr>
              <p:cNvPr id="137" name="îṣlíḍê">
                <a:extLst>
                  <a:ext uri="{FF2B5EF4-FFF2-40B4-BE49-F238E27FC236}">
                    <a16:creationId xmlns:a16="http://schemas.microsoft.com/office/drawing/2014/main" id="{7B9BF466-E77E-488B-833B-BB4FAAA8F3B6}"/>
                  </a:ext>
                </a:extLst>
              </p:cNvPr>
              <p:cNvGrpSpPr/>
              <p:nvPr/>
            </p:nvGrpSpPr>
            <p:grpSpPr>
              <a:xfrm>
                <a:off x="5434974" y="4220463"/>
                <a:ext cx="1322052" cy="1322052"/>
                <a:chOff x="5434974" y="4220463"/>
                <a:chExt cx="1322052" cy="1322052"/>
              </a:xfrm>
            </p:grpSpPr>
            <p:sp>
              <p:nvSpPr>
                <p:cNvPr id="138" name="îşḻíḍê">
                  <a:extLst>
                    <a:ext uri="{FF2B5EF4-FFF2-40B4-BE49-F238E27FC236}">
                      <a16:creationId xmlns:a16="http://schemas.microsoft.com/office/drawing/2014/main" id="{0AAD3BF2-BE6C-41C7-B571-8624DE50EA35}"/>
                    </a:ext>
                  </a:extLst>
                </p:cNvPr>
                <p:cNvSpPr/>
                <p:nvPr/>
              </p:nvSpPr>
              <p:spPr>
                <a:xfrm>
                  <a:off x="5434974" y="4220463"/>
                  <a:ext cx="1322052" cy="1322052"/>
                </a:xfrm>
                <a:prstGeom prst="ellipse">
                  <a:avLst/>
                </a:prstGeom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zh-CN" altLang="en-US"/>
                </a:p>
              </p:txBody>
            </p:sp>
            <p:sp>
              <p:nvSpPr>
                <p:cNvPr id="139" name="iś1idé">
                  <a:extLst>
                    <a:ext uri="{FF2B5EF4-FFF2-40B4-BE49-F238E27FC236}">
                      <a16:creationId xmlns:a16="http://schemas.microsoft.com/office/drawing/2014/main" id="{D5263A6C-BBD8-4361-B8D7-FECDCD849915}"/>
                    </a:ext>
                  </a:extLst>
                </p:cNvPr>
                <p:cNvSpPr/>
                <p:nvPr/>
              </p:nvSpPr>
              <p:spPr bwMode="auto">
                <a:xfrm>
                  <a:off x="5777152" y="4609844"/>
                  <a:ext cx="637696" cy="543289"/>
                </a:xfrm>
                <a:custGeom>
                  <a:avLst/>
                  <a:gdLst>
                    <a:gd name="T0" fmla="*/ 332 w 358"/>
                    <a:gd name="T1" fmla="*/ 0 h 305"/>
                    <a:gd name="T2" fmla="*/ 332 w 358"/>
                    <a:gd name="T3" fmla="*/ 91 h 305"/>
                    <a:gd name="T4" fmla="*/ 358 w 358"/>
                    <a:gd name="T5" fmla="*/ 91 h 305"/>
                    <a:gd name="T6" fmla="*/ 345 w 358"/>
                    <a:gd name="T7" fmla="*/ 272 h 305"/>
                    <a:gd name="T8" fmla="*/ 306 w 358"/>
                    <a:gd name="T9" fmla="*/ 272 h 305"/>
                    <a:gd name="T10" fmla="*/ 306 w 358"/>
                    <a:gd name="T11" fmla="*/ 305 h 305"/>
                    <a:gd name="T12" fmla="*/ 294 w 358"/>
                    <a:gd name="T13" fmla="*/ 305 h 305"/>
                    <a:gd name="T14" fmla="*/ 294 w 358"/>
                    <a:gd name="T15" fmla="*/ 272 h 305"/>
                    <a:gd name="T16" fmla="*/ 64 w 358"/>
                    <a:gd name="T17" fmla="*/ 272 h 305"/>
                    <a:gd name="T18" fmla="*/ 64 w 358"/>
                    <a:gd name="T19" fmla="*/ 305 h 305"/>
                    <a:gd name="T20" fmla="*/ 51 w 358"/>
                    <a:gd name="T21" fmla="*/ 305 h 305"/>
                    <a:gd name="T22" fmla="*/ 51 w 358"/>
                    <a:gd name="T23" fmla="*/ 272 h 305"/>
                    <a:gd name="T24" fmla="*/ 13 w 358"/>
                    <a:gd name="T25" fmla="*/ 272 h 305"/>
                    <a:gd name="T26" fmla="*/ 0 w 358"/>
                    <a:gd name="T27" fmla="*/ 91 h 305"/>
                    <a:gd name="T28" fmla="*/ 32 w 358"/>
                    <a:gd name="T29" fmla="*/ 91 h 305"/>
                    <a:gd name="T30" fmla="*/ 32 w 358"/>
                    <a:gd name="T31" fmla="*/ 0 h 305"/>
                    <a:gd name="T32" fmla="*/ 332 w 358"/>
                    <a:gd name="T33" fmla="*/ 0 h 305"/>
                    <a:gd name="T34" fmla="*/ 59 w 358"/>
                    <a:gd name="T35" fmla="*/ 104 h 305"/>
                    <a:gd name="T36" fmla="*/ 13 w 358"/>
                    <a:gd name="T37" fmla="*/ 104 h 305"/>
                    <a:gd name="T38" fmla="*/ 26 w 358"/>
                    <a:gd name="T39" fmla="*/ 259 h 305"/>
                    <a:gd name="T40" fmla="*/ 332 w 358"/>
                    <a:gd name="T41" fmla="*/ 259 h 305"/>
                    <a:gd name="T42" fmla="*/ 345 w 358"/>
                    <a:gd name="T43" fmla="*/ 104 h 305"/>
                    <a:gd name="T44" fmla="*/ 298 w 358"/>
                    <a:gd name="T45" fmla="*/ 104 h 305"/>
                    <a:gd name="T46" fmla="*/ 279 w 358"/>
                    <a:gd name="T47" fmla="*/ 208 h 305"/>
                    <a:gd name="T48" fmla="*/ 78 w 358"/>
                    <a:gd name="T49" fmla="*/ 208 h 305"/>
                    <a:gd name="T50" fmla="*/ 59 w 358"/>
                    <a:gd name="T51" fmla="*/ 104 h 305"/>
                    <a:gd name="T52" fmla="*/ 319 w 358"/>
                    <a:gd name="T53" fmla="*/ 13 h 305"/>
                    <a:gd name="T54" fmla="*/ 45 w 358"/>
                    <a:gd name="T55" fmla="*/ 13 h 305"/>
                    <a:gd name="T56" fmla="*/ 45 w 358"/>
                    <a:gd name="T57" fmla="*/ 91 h 305"/>
                    <a:gd name="T58" fmla="*/ 69 w 358"/>
                    <a:gd name="T59" fmla="*/ 91 h 305"/>
                    <a:gd name="T60" fmla="*/ 88 w 358"/>
                    <a:gd name="T61" fmla="*/ 195 h 305"/>
                    <a:gd name="T62" fmla="*/ 270 w 358"/>
                    <a:gd name="T63" fmla="*/ 195 h 305"/>
                    <a:gd name="T64" fmla="*/ 289 w 358"/>
                    <a:gd name="T65" fmla="*/ 91 h 305"/>
                    <a:gd name="T66" fmla="*/ 319 w 358"/>
                    <a:gd name="T67" fmla="*/ 91 h 305"/>
                    <a:gd name="T68" fmla="*/ 319 w 358"/>
                    <a:gd name="T69" fmla="*/ 13 h 3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358" h="305">
                      <a:moveTo>
                        <a:pt x="332" y="0"/>
                      </a:moveTo>
                      <a:lnTo>
                        <a:pt x="332" y="91"/>
                      </a:lnTo>
                      <a:lnTo>
                        <a:pt x="358" y="91"/>
                      </a:lnTo>
                      <a:lnTo>
                        <a:pt x="345" y="272"/>
                      </a:lnTo>
                      <a:lnTo>
                        <a:pt x="306" y="272"/>
                      </a:lnTo>
                      <a:lnTo>
                        <a:pt x="306" y="305"/>
                      </a:lnTo>
                      <a:lnTo>
                        <a:pt x="294" y="305"/>
                      </a:lnTo>
                      <a:lnTo>
                        <a:pt x="294" y="272"/>
                      </a:lnTo>
                      <a:lnTo>
                        <a:pt x="64" y="272"/>
                      </a:lnTo>
                      <a:lnTo>
                        <a:pt x="64" y="305"/>
                      </a:lnTo>
                      <a:lnTo>
                        <a:pt x="51" y="305"/>
                      </a:lnTo>
                      <a:lnTo>
                        <a:pt x="51" y="272"/>
                      </a:lnTo>
                      <a:lnTo>
                        <a:pt x="13" y="272"/>
                      </a:lnTo>
                      <a:lnTo>
                        <a:pt x="0" y="91"/>
                      </a:lnTo>
                      <a:lnTo>
                        <a:pt x="32" y="91"/>
                      </a:lnTo>
                      <a:lnTo>
                        <a:pt x="32" y="0"/>
                      </a:lnTo>
                      <a:lnTo>
                        <a:pt x="332" y="0"/>
                      </a:lnTo>
                      <a:close/>
                      <a:moveTo>
                        <a:pt x="59" y="104"/>
                      </a:moveTo>
                      <a:lnTo>
                        <a:pt x="13" y="104"/>
                      </a:lnTo>
                      <a:lnTo>
                        <a:pt x="26" y="259"/>
                      </a:lnTo>
                      <a:lnTo>
                        <a:pt x="332" y="259"/>
                      </a:lnTo>
                      <a:lnTo>
                        <a:pt x="345" y="104"/>
                      </a:lnTo>
                      <a:lnTo>
                        <a:pt x="298" y="104"/>
                      </a:lnTo>
                      <a:lnTo>
                        <a:pt x="279" y="208"/>
                      </a:lnTo>
                      <a:lnTo>
                        <a:pt x="78" y="208"/>
                      </a:lnTo>
                      <a:lnTo>
                        <a:pt x="59" y="104"/>
                      </a:lnTo>
                      <a:close/>
                      <a:moveTo>
                        <a:pt x="319" y="13"/>
                      </a:moveTo>
                      <a:lnTo>
                        <a:pt x="45" y="13"/>
                      </a:lnTo>
                      <a:lnTo>
                        <a:pt x="45" y="91"/>
                      </a:lnTo>
                      <a:lnTo>
                        <a:pt x="69" y="91"/>
                      </a:lnTo>
                      <a:lnTo>
                        <a:pt x="88" y="195"/>
                      </a:lnTo>
                      <a:lnTo>
                        <a:pt x="270" y="195"/>
                      </a:lnTo>
                      <a:lnTo>
                        <a:pt x="289" y="91"/>
                      </a:lnTo>
                      <a:lnTo>
                        <a:pt x="319" y="91"/>
                      </a:lnTo>
                      <a:lnTo>
                        <a:pt x="319" y="13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wrap="square" lIns="91440" tIns="45720" rIns="91440" bIns="4572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/>
                </a:p>
              </p:txBody>
            </p:sp>
          </p:grpSp>
        </p:grpSp>
        <p:grpSp>
          <p:nvGrpSpPr>
            <p:cNvPr id="115" name="îṩ1îḍé">
              <a:extLst>
                <a:ext uri="{FF2B5EF4-FFF2-40B4-BE49-F238E27FC236}">
                  <a16:creationId xmlns:a16="http://schemas.microsoft.com/office/drawing/2014/main" id="{340525E3-2090-4E8D-934E-3168CE549A86}"/>
                </a:ext>
              </a:extLst>
            </p:cNvPr>
            <p:cNvGrpSpPr/>
            <p:nvPr/>
          </p:nvGrpSpPr>
          <p:grpSpPr>
            <a:xfrm>
              <a:off x="5807508" y="2619834"/>
              <a:ext cx="576984" cy="576988"/>
              <a:chOff x="6757026" y="1424588"/>
              <a:chExt cx="774078" cy="774084"/>
            </a:xfrm>
          </p:grpSpPr>
          <p:sp>
            <p:nvSpPr>
              <p:cNvPr id="131" name="íṥlîḋê">
                <a:extLst>
                  <a:ext uri="{FF2B5EF4-FFF2-40B4-BE49-F238E27FC236}">
                    <a16:creationId xmlns:a16="http://schemas.microsoft.com/office/drawing/2014/main" id="{624B80B4-CD6F-42A3-A290-E878CDF9C333}"/>
                  </a:ext>
                </a:extLst>
              </p:cNvPr>
              <p:cNvSpPr/>
              <p:nvPr/>
            </p:nvSpPr>
            <p:spPr>
              <a:xfrm>
                <a:off x="6757026" y="1424588"/>
                <a:ext cx="774078" cy="774084"/>
              </a:xfrm>
              <a:prstGeom prst="ellipse">
                <a:avLst/>
              </a:prstGeom>
              <a:solidFill>
                <a:schemeClr val="accent2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dirty="0"/>
              </a:p>
            </p:txBody>
          </p:sp>
          <p:sp>
            <p:nvSpPr>
              <p:cNvPr id="132" name="íşľîde">
                <a:extLst>
                  <a:ext uri="{FF2B5EF4-FFF2-40B4-BE49-F238E27FC236}">
                    <a16:creationId xmlns:a16="http://schemas.microsoft.com/office/drawing/2014/main" id="{8063945F-6915-4945-8DCF-F401BAA031FF}"/>
                  </a:ext>
                </a:extLst>
              </p:cNvPr>
              <p:cNvSpPr/>
              <p:nvPr/>
            </p:nvSpPr>
            <p:spPr bwMode="auto">
              <a:xfrm>
                <a:off x="6970350" y="1622218"/>
                <a:ext cx="347429" cy="378824"/>
              </a:xfrm>
              <a:custGeom>
                <a:avLst/>
                <a:gdLst>
                  <a:gd name="T0" fmla="*/ 156 w 208"/>
                  <a:gd name="T1" fmla="*/ 0 h 224"/>
                  <a:gd name="T2" fmla="*/ 156 w 208"/>
                  <a:gd name="T3" fmla="*/ 8 h 224"/>
                  <a:gd name="T4" fmla="*/ 144 w 208"/>
                  <a:gd name="T5" fmla="*/ 8 h 224"/>
                  <a:gd name="T6" fmla="*/ 144 w 208"/>
                  <a:gd name="T7" fmla="*/ 59 h 224"/>
                  <a:gd name="T8" fmla="*/ 208 w 208"/>
                  <a:gd name="T9" fmla="*/ 204 h 224"/>
                  <a:gd name="T10" fmla="*/ 201 w 208"/>
                  <a:gd name="T11" fmla="*/ 224 h 224"/>
                  <a:gd name="T12" fmla="*/ 7 w 208"/>
                  <a:gd name="T13" fmla="*/ 224 h 224"/>
                  <a:gd name="T14" fmla="*/ 0 w 208"/>
                  <a:gd name="T15" fmla="*/ 204 h 224"/>
                  <a:gd name="T16" fmla="*/ 64 w 208"/>
                  <a:gd name="T17" fmla="*/ 59 h 224"/>
                  <a:gd name="T18" fmla="*/ 64 w 208"/>
                  <a:gd name="T19" fmla="*/ 8 h 224"/>
                  <a:gd name="T20" fmla="*/ 52 w 208"/>
                  <a:gd name="T21" fmla="*/ 8 h 224"/>
                  <a:gd name="T22" fmla="*/ 52 w 208"/>
                  <a:gd name="T23" fmla="*/ 0 h 224"/>
                  <a:gd name="T24" fmla="*/ 156 w 208"/>
                  <a:gd name="T25" fmla="*/ 0 h 224"/>
                  <a:gd name="T26" fmla="*/ 108 w 208"/>
                  <a:gd name="T27" fmla="*/ 174 h 224"/>
                  <a:gd name="T28" fmla="*/ 106 w 208"/>
                  <a:gd name="T29" fmla="*/ 175 h 224"/>
                  <a:gd name="T30" fmla="*/ 22 w 208"/>
                  <a:gd name="T31" fmla="*/ 174 h 224"/>
                  <a:gd name="T32" fmla="*/ 8 w 208"/>
                  <a:gd name="T33" fmla="*/ 204 h 224"/>
                  <a:gd name="T34" fmla="*/ 13 w 208"/>
                  <a:gd name="T35" fmla="*/ 216 h 224"/>
                  <a:gd name="T36" fmla="*/ 195 w 208"/>
                  <a:gd name="T37" fmla="*/ 216 h 224"/>
                  <a:gd name="T38" fmla="*/ 200 w 208"/>
                  <a:gd name="T39" fmla="*/ 204 h 224"/>
                  <a:gd name="T40" fmla="*/ 185 w 208"/>
                  <a:gd name="T41" fmla="*/ 171 h 224"/>
                  <a:gd name="T42" fmla="*/ 108 w 208"/>
                  <a:gd name="T43" fmla="*/ 174 h 224"/>
                  <a:gd name="T44" fmla="*/ 136 w 208"/>
                  <a:gd name="T45" fmla="*/ 8 h 224"/>
                  <a:gd name="T46" fmla="*/ 72 w 208"/>
                  <a:gd name="T47" fmla="*/ 8 h 224"/>
                  <a:gd name="T48" fmla="*/ 72 w 208"/>
                  <a:gd name="T49" fmla="*/ 61 h 224"/>
                  <a:gd name="T50" fmla="*/ 25 w 208"/>
                  <a:gd name="T51" fmla="*/ 166 h 224"/>
                  <a:gd name="T52" fmla="*/ 101 w 208"/>
                  <a:gd name="T53" fmla="*/ 170 h 224"/>
                  <a:gd name="T54" fmla="*/ 102 w 208"/>
                  <a:gd name="T55" fmla="*/ 169 h 224"/>
                  <a:gd name="T56" fmla="*/ 180 w 208"/>
                  <a:gd name="T57" fmla="*/ 160 h 224"/>
                  <a:gd name="T58" fmla="*/ 136 w 208"/>
                  <a:gd name="T59" fmla="*/ 61 h 224"/>
                  <a:gd name="T60" fmla="*/ 136 w 208"/>
                  <a:gd name="T61" fmla="*/ 8 h 224"/>
                  <a:gd name="T62" fmla="*/ 130 w 208"/>
                  <a:gd name="T63" fmla="*/ 104 h 224"/>
                  <a:gd name="T64" fmla="*/ 148 w 208"/>
                  <a:gd name="T65" fmla="*/ 122 h 224"/>
                  <a:gd name="T66" fmla="*/ 130 w 208"/>
                  <a:gd name="T67" fmla="*/ 140 h 224"/>
                  <a:gd name="T68" fmla="*/ 112 w 208"/>
                  <a:gd name="T69" fmla="*/ 122 h 224"/>
                  <a:gd name="T70" fmla="*/ 130 w 208"/>
                  <a:gd name="T71" fmla="*/ 104 h 224"/>
                  <a:gd name="T72" fmla="*/ 130 w 208"/>
                  <a:gd name="T73" fmla="*/ 112 h 224"/>
                  <a:gd name="T74" fmla="*/ 120 w 208"/>
                  <a:gd name="T75" fmla="*/ 122 h 224"/>
                  <a:gd name="T76" fmla="*/ 130 w 208"/>
                  <a:gd name="T77" fmla="*/ 132 h 224"/>
                  <a:gd name="T78" fmla="*/ 140 w 208"/>
                  <a:gd name="T79" fmla="*/ 122 h 224"/>
                  <a:gd name="T80" fmla="*/ 130 w 208"/>
                  <a:gd name="T81" fmla="*/ 112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08" h="224">
                    <a:moveTo>
                      <a:pt x="156" y="0"/>
                    </a:moveTo>
                    <a:cubicBezTo>
                      <a:pt x="156" y="8"/>
                      <a:pt x="156" y="8"/>
                      <a:pt x="156" y="8"/>
                    </a:cubicBezTo>
                    <a:cubicBezTo>
                      <a:pt x="144" y="8"/>
                      <a:pt x="144" y="8"/>
                      <a:pt x="144" y="8"/>
                    </a:cubicBezTo>
                    <a:cubicBezTo>
                      <a:pt x="144" y="59"/>
                      <a:pt x="144" y="59"/>
                      <a:pt x="144" y="59"/>
                    </a:cubicBezTo>
                    <a:cubicBezTo>
                      <a:pt x="208" y="204"/>
                      <a:pt x="208" y="204"/>
                      <a:pt x="208" y="204"/>
                    </a:cubicBezTo>
                    <a:cubicBezTo>
                      <a:pt x="201" y="224"/>
                      <a:pt x="201" y="224"/>
                      <a:pt x="201" y="224"/>
                    </a:cubicBezTo>
                    <a:cubicBezTo>
                      <a:pt x="7" y="224"/>
                      <a:pt x="7" y="224"/>
                      <a:pt x="7" y="224"/>
                    </a:cubicBezTo>
                    <a:cubicBezTo>
                      <a:pt x="0" y="204"/>
                      <a:pt x="0" y="204"/>
                      <a:pt x="0" y="204"/>
                    </a:cubicBezTo>
                    <a:cubicBezTo>
                      <a:pt x="64" y="59"/>
                      <a:pt x="64" y="59"/>
                      <a:pt x="64" y="59"/>
                    </a:cubicBezTo>
                    <a:cubicBezTo>
                      <a:pt x="64" y="8"/>
                      <a:pt x="64" y="8"/>
                      <a:pt x="64" y="8"/>
                    </a:cubicBezTo>
                    <a:cubicBezTo>
                      <a:pt x="52" y="8"/>
                      <a:pt x="52" y="8"/>
                      <a:pt x="52" y="8"/>
                    </a:cubicBezTo>
                    <a:cubicBezTo>
                      <a:pt x="52" y="0"/>
                      <a:pt x="52" y="0"/>
                      <a:pt x="52" y="0"/>
                    </a:cubicBezTo>
                    <a:lnTo>
                      <a:pt x="156" y="0"/>
                    </a:lnTo>
                    <a:close/>
                    <a:moveTo>
                      <a:pt x="108" y="174"/>
                    </a:moveTo>
                    <a:cubicBezTo>
                      <a:pt x="106" y="175"/>
                      <a:pt x="106" y="175"/>
                      <a:pt x="106" y="175"/>
                    </a:cubicBezTo>
                    <a:cubicBezTo>
                      <a:pt x="83" y="192"/>
                      <a:pt x="50" y="191"/>
                      <a:pt x="22" y="174"/>
                    </a:cubicBezTo>
                    <a:cubicBezTo>
                      <a:pt x="8" y="204"/>
                      <a:pt x="8" y="204"/>
                      <a:pt x="8" y="204"/>
                    </a:cubicBezTo>
                    <a:cubicBezTo>
                      <a:pt x="13" y="216"/>
                      <a:pt x="13" y="216"/>
                      <a:pt x="13" y="216"/>
                    </a:cubicBezTo>
                    <a:cubicBezTo>
                      <a:pt x="195" y="216"/>
                      <a:pt x="195" y="216"/>
                      <a:pt x="195" y="216"/>
                    </a:cubicBezTo>
                    <a:cubicBezTo>
                      <a:pt x="200" y="204"/>
                      <a:pt x="200" y="204"/>
                      <a:pt x="200" y="204"/>
                    </a:cubicBezTo>
                    <a:cubicBezTo>
                      <a:pt x="185" y="171"/>
                      <a:pt x="185" y="171"/>
                      <a:pt x="185" y="171"/>
                    </a:cubicBezTo>
                    <a:cubicBezTo>
                      <a:pt x="159" y="159"/>
                      <a:pt x="128" y="160"/>
                      <a:pt x="108" y="174"/>
                    </a:cubicBezTo>
                    <a:close/>
                    <a:moveTo>
                      <a:pt x="136" y="8"/>
                    </a:moveTo>
                    <a:cubicBezTo>
                      <a:pt x="72" y="8"/>
                      <a:pt x="72" y="8"/>
                      <a:pt x="72" y="8"/>
                    </a:cubicBezTo>
                    <a:cubicBezTo>
                      <a:pt x="72" y="61"/>
                      <a:pt x="72" y="61"/>
                      <a:pt x="72" y="61"/>
                    </a:cubicBezTo>
                    <a:cubicBezTo>
                      <a:pt x="25" y="166"/>
                      <a:pt x="25" y="166"/>
                      <a:pt x="25" y="166"/>
                    </a:cubicBezTo>
                    <a:cubicBezTo>
                      <a:pt x="50" y="182"/>
                      <a:pt x="80" y="183"/>
                      <a:pt x="101" y="170"/>
                    </a:cubicBezTo>
                    <a:cubicBezTo>
                      <a:pt x="102" y="169"/>
                      <a:pt x="102" y="169"/>
                      <a:pt x="102" y="169"/>
                    </a:cubicBezTo>
                    <a:cubicBezTo>
                      <a:pt x="123" y="154"/>
                      <a:pt x="153" y="151"/>
                      <a:pt x="180" y="160"/>
                    </a:cubicBezTo>
                    <a:cubicBezTo>
                      <a:pt x="136" y="61"/>
                      <a:pt x="136" y="61"/>
                      <a:pt x="136" y="61"/>
                    </a:cubicBezTo>
                    <a:lnTo>
                      <a:pt x="136" y="8"/>
                    </a:lnTo>
                    <a:close/>
                    <a:moveTo>
                      <a:pt x="130" y="104"/>
                    </a:moveTo>
                    <a:cubicBezTo>
                      <a:pt x="140" y="104"/>
                      <a:pt x="148" y="112"/>
                      <a:pt x="148" y="122"/>
                    </a:cubicBezTo>
                    <a:cubicBezTo>
                      <a:pt x="148" y="132"/>
                      <a:pt x="140" y="140"/>
                      <a:pt x="130" y="140"/>
                    </a:cubicBezTo>
                    <a:cubicBezTo>
                      <a:pt x="120" y="140"/>
                      <a:pt x="112" y="132"/>
                      <a:pt x="112" y="122"/>
                    </a:cubicBezTo>
                    <a:cubicBezTo>
                      <a:pt x="112" y="112"/>
                      <a:pt x="120" y="104"/>
                      <a:pt x="130" y="104"/>
                    </a:cubicBezTo>
                    <a:close/>
                    <a:moveTo>
                      <a:pt x="130" y="112"/>
                    </a:moveTo>
                    <a:cubicBezTo>
                      <a:pt x="124" y="112"/>
                      <a:pt x="120" y="116"/>
                      <a:pt x="120" y="122"/>
                    </a:cubicBezTo>
                    <a:cubicBezTo>
                      <a:pt x="120" y="128"/>
                      <a:pt x="124" y="132"/>
                      <a:pt x="130" y="132"/>
                    </a:cubicBezTo>
                    <a:cubicBezTo>
                      <a:pt x="136" y="132"/>
                      <a:pt x="140" y="128"/>
                      <a:pt x="140" y="122"/>
                    </a:cubicBezTo>
                    <a:cubicBezTo>
                      <a:pt x="140" y="116"/>
                      <a:pt x="136" y="112"/>
                      <a:pt x="130" y="11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7198" dirty="0"/>
              </a:p>
            </p:txBody>
          </p:sp>
        </p:grpSp>
        <p:grpSp>
          <p:nvGrpSpPr>
            <p:cNvPr id="116" name="ïšḷîdé">
              <a:extLst>
                <a:ext uri="{FF2B5EF4-FFF2-40B4-BE49-F238E27FC236}">
                  <a16:creationId xmlns:a16="http://schemas.microsoft.com/office/drawing/2014/main" id="{069CE7C2-8237-4934-BE6C-1916DFC6F205}"/>
                </a:ext>
              </a:extLst>
            </p:cNvPr>
            <p:cNvGrpSpPr/>
            <p:nvPr/>
          </p:nvGrpSpPr>
          <p:grpSpPr>
            <a:xfrm>
              <a:off x="4510158" y="3470445"/>
              <a:ext cx="576984" cy="576988"/>
              <a:chOff x="4353757" y="2671580"/>
              <a:chExt cx="774078" cy="774084"/>
            </a:xfrm>
          </p:grpSpPr>
          <p:sp>
            <p:nvSpPr>
              <p:cNvPr id="129" name="islíḓé">
                <a:extLst>
                  <a:ext uri="{FF2B5EF4-FFF2-40B4-BE49-F238E27FC236}">
                    <a16:creationId xmlns:a16="http://schemas.microsoft.com/office/drawing/2014/main" id="{2FE61CC3-3A66-4161-A250-4CF41F00C6CC}"/>
                  </a:ext>
                </a:extLst>
              </p:cNvPr>
              <p:cNvSpPr/>
              <p:nvPr/>
            </p:nvSpPr>
            <p:spPr>
              <a:xfrm>
                <a:off x="4353757" y="2671580"/>
                <a:ext cx="774078" cy="774084"/>
              </a:xfrm>
              <a:prstGeom prst="ellipse">
                <a:avLst/>
              </a:prstGeom>
              <a:solidFill>
                <a:schemeClr val="accent2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dirty="0"/>
              </a:p>
            </p:txBody>
          </p:sp>
          <p:sp>
            <p:nvSpPr>
              <p:cNvPr id="130" name="íṩḻîḍè">
                <a:extLst>
                  <a:ext uri="{FF2B5EF4-FFF2-40B4-BE49-F238E27FC236}">
                    <a16:creationId xmlns:a16="http://schemas.microsoft.com/office/drawing/2014/main" id="{B0D009DD-2840-4250-8487-E2AF95309EF3}"/>
                  </a:ext>
                </a:extLst>
              </p:cNvPr>
              <p:cNvSpPr/>
              <p:nvPr/>
            </p:nvSpPr>
            <p:spPr bwMode="auto">
              <a:xfrm>
                <a:off x="4567081" y="2869210"/>
                <a:ext cx="347429" cy="378824"/>
              </a:xfrm>
              <a:custGeom>
                <a:avLst/>
                <a:gdLst>
                  <a:gd name="T0" fmla="*/ 168 w 208"/>
                  <a:gd name="T1" fmla="*/ 0 h 224"/>
                  <a:gd name="T2" fmla="*/ 168 w 208"/>
                  <a:gd name="T3" fmla="*/ 68 h 224"/>
                  <a:gd name="T4" fmla="*/ 108 w 208"/>
                  <a:gd name="T5" fmla="*/ 68 h 224"/>
                  <a:gd name="T6" fmla="*/ 108 w 208"/>
                  <a:gd name="T7" fmla="*/ 124 h 224"/>
                  <a:gd name="T8" fmla="*/ 192 w 208"/>
                  <a:gd name="T9" fmla="*/ 124 h 224"/>
                  <a:gd name="T10" fmla="*/ 192 w 208"/>
                  <a:gd name="T11" fmla="*/ 184 h 224"/>
                  <a:gd name="T12" fmla="*/ 208 w 208"/>
                  <a:gd name="T13" fmla="*/ 184 h 224"/>
                  <a:gd name="T14" fmla="*/ 208 w 208"/>
                  <a:gd name="T15" fmla="*/ 224 h 224"/>
                  <a:gd name="T16" fmla="*/ 168 w 208"/>
                  <a:gd name="T17" fmla="*/ 224 h 224"/>
                  <a:gd name="T18" fmla="*/ 168 w 208"/>
                  <a:gd name="T19" fmla="*/ 184 h 224"/>
                  <a:gd name="T20" fmla="*/ 184 w 208"/>
                  <a:gd name="T21" fmla="*/ 184 h 224"/>
                  <a:gd name="T22" fmla="*/ 184 w 208"/>
                  <a:gd name="T23" fmla="*/ 132 h 224"/>
                  <a:gd name="T24" fmla="*/ 108 w 208"/>
                  <a:gd name="T25" fmla="*/ 132 h 224"/>
                  <a:gd name="T26" fmla="*/ 108 w 208"/>
                  <a:gd name="T27" fmla="*/ 184 h 224"/>
                  <a:gd name="T28" fmla="*/ 124 w 208"/>
                  <a:gd name="T29" fmla="*/ 184 h 224"/>
                  <a:gd name="T30" fmla="*/ 124 w 208"/>
                  <a:gd name="T31" fmla="*/ 224 h 224"/>
                  <a:gd name="T32" fmla="*/ 84 w 208"/>
                  <a:gd name="T33" fmla="*/ 224 h 224"/>
                  <a:gd name="T34" fmla="*/ 84 w 208"/>
                  <a:gd name="T35" fmla="*/ 184 h 224"/>
                  <a:gd name="T36" fmla="*/ 100 w 208"/>
                  <a:gd name="T37" fmla="*/ 184 h 224"/>
                  <a:gd name="T38" fmla="*/ 100 w 208"/>
                  <a:gd name="T39" fmla="*/ 132 h 224"/>
                  <a:gd name="T40" fmla="*/ 24 w 208"/>
                  <a:gd name="T41" fmla="*/ 132 h 224"/>
                  <a:gd name="T42" fmla="*/ 24 w 208"/>
                  <a:gd name="T43" fmla="*/ 184 h 224"/>
                  <a:gd name="T44" fmla="*/ 40 w 208"/>
                  <a:gd name="T45" fmla="*/ 184 h 224"/>
                  <a:gd name="T46" fmla="*/ 40 w 208"/>
                  <a:gd name="T47" fmla="*/ 224 h 224"/>
                  <a:gd name="T48" fmla="*/ 0 w 208"/>
                  <a:gd name="T49" fmla="*/ 224 h 224"/>
                  <a:gd name="T50" fmla="*/ 0 w 208"/>
                  <a:gd name="T51" fmla="*/ 184 h 224"/>
                  <a:gd name="T52" fmla="*/ 16 w 208"/>
                  <a:gd name="T53" fmla="*/ 184 h 224"/>
                  <a:gd name="T54" fmla="*/ 16 w 208"/>
                  <a:gd name="T55" fmla="*/ 124 h 224"/>
                  <a:gd name="T56" fmla="*/ 100 w 208"/>
                  <a:gd name="T57" fmla="*/ 124 h 224"/>
                  <a:gd name="T58" fmla="*/ 100 w 208"/>
                  <a:gd name="T59" fmla="*/ 68 h 224"/>
                  <a:gd name="T60" fmla="*/ 40 w 208"/>
                  <a:gd name="T61" fmla="*/ 68 h 224"/>
                  <a:gd name="T62" fmla="*/ 40 w 208"/>
                  <a:gd name="T63" fmla="*/ 0 h 224"/>
                  <a:gd name="T64" fmla="*/ 168 w 208"/>
                  <a:gd name="T65" fmla="*/ 0 h 224"/>
                  <a:gd name="T66" fmla="*/ 32 w 208"/>
                  <a:gd name="T67" fmla="*/ 192 h 224"/>
                  <a:gd name="T68" fmla="*/ 8 w 208"/>
                  <a:gd name="T69" fmla="*/ 192 h 224"/>
                  <a:gd name="T70" fmla="*/ 8 w 208"/>
                  <a:gd name="T71" fmla="*/ 216 h 224"/>
                  <a:gd name="T72" fmla="*/ 32 w 208"/>
                  <a:gd name="T73" fmla="*/ 216 h 224"/>
                  <a:gd name="T74" fmla="*/ 32 w 208"/>
                  <a:gd name="T75" fmla="*/ 192 h 224"/>
                  <a:gd name="T76" fmla="*/ 116 w 208"/>
                  <a:gd name="T77" fmla="*/ 192 h 224"/>
                  <a:gd name="T78" fmla="*/ 92 w 208"/>
                  <a:gd name="T79" fmla="*/ 192 h 224"/>
                  <a:gd name="T80" fmla="*/ 92 w 208"/>
                  <a:gd name="T81" fmla="*/ 216 h 224"/>
                  <a:gd name="T82" fmla="*/ 116 w 208"/>
                  <a:gd name="T83" fmla="*/ 216 h 224"/>
                  <a:gd name="T84" fmla="*/ 116 w 208"/>
                  <a:gd name="T85" fmla="*/ 192 h 224"/>
                  <a:gd name="T86" fmla="*/ 200 w 208"/>
                  <a:gd name="T87" fmla="*/ 192 h 224"/>
                  <a:gd name="T88" fmla="*/ 176 w 208"/>
                  <a:gd name="T89" fmla="*/ 192 h 224"/>
                  <a:gd name="T90" fmla="*/ 176 w 208"/>
                  <a:gd name="T91" fmla="*/ 216 h 224"/>
                  <a:gd name="T92" fmla="*/ 200 w 208"/>
                  <a:gd name="T93" fmla="*/ 216 h 224"/>
                  <a:gd name="T94" fmla="*/ 200 w 208"/>
                  <a:gd name="T95" fmla="*/ 192 h 224"/>
                  <a:gd name="T96" fmla="*/ 160 w 208"/>
                  <a:gd name="T97" fmla="*/ 8 h 224"/>
                  <a:gd name="T98" fmla="*/ 48 w 208"/>
                  <a:gd name="T99" fmla="*/ 8 h 224"/>
                  <a:gd name="T100" fmla="*/ 48 w 208"/>
                  <a:gd name="T101" fmla="*/ 60 h 224"/>
                  <a:gd name="T102" fmla="*/ 160 w 208"/>
                  <a:gd name="T103" fmla="*/ 60 h 224"/>
                  <a:gd name="T104" fmla="*/ 160 w 208"/>
                  <a:gd name="T105" fmla="*/ 8 h 224"/>
                  <a:gd name="T106" fmla="*/ 66 w 208"/>
                  <a:gd name="T107" fmla="*/ 36 h 224"/>
                  <a:gd name="T108" fmla="*/ 72 w 208"/>
                  <a:gd name="T109" fmla="*/ 42 h 224"/>
                  <a:gd name="T110" fmla="*/ 66 w 208"/>
                  <a:gd name="T111" fmla="*/ 48 h 224"/>
                  <a:gd name="T112" fmla="*/ 60 w 208"/>
                  <a:gd name="T113" fmla="*/ 42 h 224"/>
                  <a:gd name="T114" fmla="*/ 66 w 208"/>
                  <a:gd name="T115" fmla="*/ 36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08" h="224">
                    <a:moveTo>
                      <a:pt x="168" y="0"/>
                    </a:moveTo>
                    <a:cubicBezTo>
                      <a:pt x="168" y="68"/>
                      <a:pt x="168" y="68"/>
                      <a:pt x="168" y="68"/>
                    </a:cubicBezTo>
                    <a:cubicBezTo>
                      <a:pt x="108" y="68"/>
                      <a:pt x="108" y="68"/>
                      <a:pt x="108" y="68"/>
                    </a:cubicBezTo>
                    <a:cubicBezTo>
                      <a:pt x="108" y="124"/>
                      <a:pt x="108" y="124"/>
                      <a:pt x="108" y="124"/>
                    </a:cubicBezTo>
                    <a:cubicBezTo>
                      <a:pt x="192" y="124"/>
                      <a:pt x="192" y="124"/>
                      <a:pt x="192" y="124"/>
                    </a:cubicBezTo>
                    <a:cubicBezTo>
                      <a:pt x="192" y="184"/>
                      <a:pt x="192" y="184"/>
                      <a:pt x="192" y="184"/>
                    </a:cubicBezTo>
                    <a:cubicBezTo>
                      <a:pt x="208" y="184"/>
                      <a:pt x="208" y="184"/>
                      <a:pt x="208" y="184"/>
                    </a:cubicBezTo>
                    <a:cubicBezTo>
                      <a:pt x="208" y="224"/>
                      <a:pt x="208" y="224"/>
                      <a:pt x="208" y="224"/>
                    </a:cubicBezTo>
                    <a:cubicBezTo>
                      <a:pt x="168" y="224"/>
                      <a:pt x="168" y="224"/>
                      <a:pt x="168" y="224"/>
                    </a:cubicBezTo>
                    <a:cubicBezTo>
                      <a:pt x="168" y="184"/>
                      <a:pt x="168" y="184"/>
                      <a:pt x="168" y="184"/>
                    </a:cubicBezTo>
                    <a:cubicBezTo>
                      <a:pt x="184" y="184"/>
                      <a:pt x="184" y="184"/>
                      <a:pt x="184" y="184"/>
                    </a:cubicBezTo>
                    <a:cubicBezTo>
                      <a:pt x="184" y="132"/>
                      <a:pt x="184" y="132"/>
                      <a:pt x="184" y="132"/>
                    </a:cubicBezTo>
                    <a:cubicBezTo>
                      <a:pt x="108" y="132"/>
                      <a:pt x="108" y="132"/>
                      <a:pt x="108" y="132"/>
                    </a:cubicBezTo>
                    <a:cubicBezTo>
                      <a:pt x="108" y="184"/>
                      <a:pt x="108" y="184"/>
                      <a:pt x="108" y="184"/>
                    </a:cubicBezTo>
                    <a:cubicBezTo>
                      <a:pt x="124" y="184"/>
                      <a:pt x="124" y="184"/>
                      <a:pt x="124" y="184"/>
                    </a:cubicBezTo>
                    <a:cubicBezTo>
                      <a:pt x="124" y="224"/>
                      <a:pt x="124" y="224"/>
                      <a:pt x="124" y="224"/>
                    </a:cubicBezTo>
                    <a:cubicBezTo>
                      <a:pt x="84" y="224"/>
                      <a:pt x="84" y="224"/>
                      <a:pt x="84" y="224"/>
                    </a:cubicBezTo>
                    <a:cubicBezTo>
                      <a:pt x="84" y="184"/>
                      <a:pt x="84" y="184"/>
                      <a:pt x="84" y="184"/>
                    </a:cubicBezTo>
                    <a:cubicBezTo>
                      <a:pt x="100" y="184"/>
                      <a:pt x="100" y="184"/>
                      <a:pt x="100" y="184"/>
                    </a:cubicBezTo>
                    <a:cubicBezTo>
                      <a:pt x="100" y="132"/>
                      <a:pt x="100" y="132"/>
                      <a:pt x="100" y="132"/>
                    </a:cubicBezTo>
                    <a:cubicBezTo>
                      <a:pt x="24" y="132"/>
                      <a:pt x="24" y="132"/>
                      <a:pt x="24" y="132"/>
                    </a:cubicBezTo>
                    <a:cubicBezTo>
                      <a:pt x="24" y="184"/>
                      <a:pt x="24" y="184"/>
                      <a:pt x="24" y="184"/>
                    </a:cubicBezTo>
                    <a:cubicBezTo>
                      <a:pt x="40" y="184"/>
                      <a:pt x="40" y="184"/>
                      <a:pt x="40" y="184"/>
                    </a:cubicBezTo>
                    <a:cubicBezTo>
                      <a:pt x="40" y="224"/>
                      <a:pt x="40" y="224"/>
                      <a:pt x="40" y="224"/>
                    </a:cubicBezTo>
                    <a:cubicBezTo>
                      <a:pt x="0" y="224"/>
                      <a:pt x="0" y="224"/>
                      <a:pt x="0" y="224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16" y="184"/>
                      <a:pt x="16" y="184"/>
                      <a:pt x="16" y="184"/>
                    </a:cubicBezTo>
                    <a:cubicBezTo>
                      <a:pt x="16" y="124"/>
                      <a:pt x="16" y="124"/>
                      <a:pt x="16" y="124"/>
                    </a:cubicBezTo>
                    <a:cubicBezTo>
                      <a:pt x="100" y="124"/>
                      <a:pt x="100" y="124"/>
                      <a:pt x="100" y="124"/>
                    </a:cubicBezTo>
                    <a:cubicBezTo>
                      <a:pt x="100" y="68"/>
                      <a:pt x="100" y="68"/>
                      <a:pt x="100" y="68"/>
                    </a:cubicBezTo>
                    <a:cubicBezTo>
                      <a:pt x="40" y="68"/>
                      <a:pt x="40" y="68"/>
                      <a:pt x="40" y="68"/>
                    </a:cubicBezTo>
                    <a:cubicBezTo>
                      <a:pt x="40" y="0"/>
                      <a:pt x="40" y="0"/>
                      <a:pt x="40" y="0"/>
                    </a:cubicBezTo>
                    <a:lnTo>
                      <a:pt x="168" y="0"/>
                    </a:lnTo>
                    <a:close/>
                    <a:moveTo>
                      <a:pt x="32" y="192"/>
                    </a:moveTo>
                    <a:cubicBezTo>
                      <a:pt x="8" y="192"/>
                      <a:pt x="8" y="192"/>
                      <a:pt x="8" y="192"/>
                    </a:cubicBezTo>
                    <a:cubicBezTo>
                      <a:pt x="8" y="216"/>
                      <a:pt x="8" y="216"/>
                      <a:pt x="8" y="216"/>
                    </a:cubicBezTo>
                    <a:cubicBezTo>
                      <a:pt x="32" y="216"/>
                      <a:pt x="32" y="216"/>
                      <a:pt x="32" y="216"/>
                    </a:cubicBezTo>
                    <a:lnTo>
                      <a:pt x="32" y="192"/>
                    </a:lnTo>
                    <a:close/>
                    <a:moveTo>
                      <a:pt x="116" y="192"/>
                    </a:moveTo>
                    <a:cubicBezTo>
                      <a:pt x="92" y="192"/>
                      <a:pt x="92" y="192"/>
                      <a:pt x="92" y="192"/>
                    </a:cubicBezTo>
                    <a:cubicBezTo>
                      <a:pt x="92" y="216"/>
                      <a:pt x="92" y="216"/>
                      <a:pt x="92" y="216"/>
                    </a:cubicBezTo>
                    <a:cubicBezTo>
                      <a:pt x="116" y="216"/>
                      <a:pt x="116" y="216"/>
                      <a:pt x="116" y="216"/>
                    </a:cubicBezTo>
                    <a:lnTo>
                      <a:pt x="116" y="192"/>
                    </a:lnTo>
                    <a:close/>
                    <a:moveTo>
                      <a:pt x="200" y="192"/>
                    </a:moveTo>
                    <a:cubicBezTo>
                      <a:pt x="176" y="192"/>
                      <a:pt x="176" y="192"/>
                      <a:pt x="176" y="192"/>
                    </a:cubicBezTo>
                    <a:cubicBezTo>
                      <a:pt x="176" y="216"/>
                      <a:pt x="176" y="216"/>
                      <a:pt x="176" y="216"/>
                    </a:cubicBezTo>
                    <a:cubicBezTo>
                      <a:pt x="200" y="216"/>
                      <a:pt x="200" y="216"/>
                      <a:pt x="200" y="216"/>
                    </a:cubicBezTo>
                    <a:lnTo>
                      <a:pt x="200" y="192"/>
                    </a:lnTo>
                    <a:close/>
                    <a:moveTo>
                      <a:pt x="160" y="8"/>
                    </a:moveTo>
                    <a:cubicBezTo>
                      <a:pt x="48" y="8"/>
                      <a:pt x="48" y="8"/>
                      <a:pt x="48" y="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160" y="60"/>
                      <a:pt x="160" y="60"/>
                      <a:pt x="160" y="60"/>
                    </a:cubicBezTo>
                    <a:lnTo>
                      <a:pt x="160" y="8"/>
                    </a:lnTo>
                    <a:close/>
                    <a:moveTo>
                      <a:pt x="66" y="36"/>
                    </a:moveTo>
                    <a:cubicBezTo>
                      <a:pt x="69" y="36"/>
                      <a:pt x="72" y="39"/>
                      <a:pt x="72" y="42"/>
                    </a:cubicBezTo>
                    <a:cubicBezTo>
                      <a:pt x="72" y="45"/>
                      <a:pt x="69" y="48"/>
                      <a:pt x="66" y="48"/>
                    </a:cubicBezTo>
                    <a:cubicBezTo>
                      <a:pt x="63" y="48"/>
                      <a:pt x="60" y="45"/>
                      <a:pt x="60" y="42"/>
                    </a:cubicBezTo>
                    <a:cubicBezTo>
                      <a:pt x="60" y="39"/>
                      <a:pt x="63" y="36"/>
                      <a:pt x="66" y="3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7198" dirty="0"/>
              </a:p>
            </p:txBody>
          </p:sp>
        </p:grpSp>
        <p:grpSp>
          <p:nvGrpSpPr>
            <p:cNvPr id="117" name="iSľídè">
              <a:extLst>
                <a:ext uri="{FF2B5EF4-FFF2-40B4-BE49-F238E27FC236}">
                  <a16:creationId xmlns:a16="http://schemas.microsoft.com/office/drawing/2014/main" id="{C78D6A9C-E7FE-494D-85A2-19A73356B750}"/>
                </a:ext>
              </a:extLst>
            </p:cNvPr>
            <p:cNvGrpSpPr/>
            <p:nvPr/>
          </p:nvGrpSpPr>
          <p:grpSpPr>
            <a:xfrm>
              <a:off x="7104858" y="3470445"/>
              <a:ext cx="576984" cy="576988"/>
              <a:chOff x="6811954" y="3540445"/>
              <a:chExt cx="774078" cy="774084"/>
            </a:xfrm>
          </p:grpSpPr>
          <p:sp>
            <p:nvSpPr>
              <p:cNvPr id="127" name="îṥļiḓe">
                <a:extLst>
                  <a:ext uri="{FF2B5EF4-FFF2-40B4-BE49-F238E27FC236}">
                    <a16:creationId xmlns:a16="http://schemas.microsoft.com/office/drawing/2014/main" id="{7401670D-97BE-4B05-BA1A-DCBF85229FBB}"/>
                  </a:ext>
                </a:extLst>
              </p:cNvPr>
              <p:cNvSpPr/>
              <p:nvPr/>
            </p:nvSpPr>
            <p:spPr>
              <a:xfrm>
                <a:off x="6811954" y="3540445"/>
                <a:ext cx="774078" cy="774084"/>
              </a:xfrm>
              <a:prstGeom prst="ellipse">
                <a:avLst/>
              </a:prstGeom>
              <a:solidFill>
                <a:schemeClr val="accent2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dirty="0"/>
              </a:p>
            </p:txBody>
          </p:sp>
          <p:sp>
            <p:nvSpPr>
              <p:cNvPr id="128" name="ïŝliḋê">
                <a:extLst>
                  <a:ext uri="{FF2B5EF4-FFF2-40B4-BE49-F238E27FC236}">
                    <a16:creationId xmlns:a16="http://schemas.microsoft.com/office/drawing/2014/main" id="{64C6536E-AC2A-4E74-A7E0-CD54DEB5A525}"/>
                  </a:ext>
                </a:extLst>
              </p:cNvPr>
              <p:cNvSpPr/>
              <p:nvPr/>
            </p:nvSpPr>
            <p:spPr bwMode="auto">
              <a:xfrm>
                <a:off x="7009581" y="3769378"/>
                <a:ext cx="378824" cy="316216"/>
              </a:xfrm>
              <a:custGeom>
                <a:avLst/>
                <a:gdLst>
                  <a:gd name="T0" fmla="*/ 224 w 224"/>
                  <a:gd name="T1" fmla="*/ 0 h 184"/>
                  <a:gd name="T2" fmla="*/ 224 w 224"/>
                  <a:gd name="T3" fmla="*/ 156 h 184"/>
                  <a:gd name="T4" fmla="*/ 86 w 224"/>
                  <a:gd name="T5" fmla="*/ 156 h 184"/>
                  <a:gd name="T6" fmla="*/ 48 w 224"/>
                  <a:gd name="T7" fmla="*/ 184 h 184"/>
                  <a:gd name="T8" fmla="*/ 48 w 224"/>
                  <a:gd name="T9" fmla="*/ 156 h 184"/>
                  <a:gd name="T10" fmla="*/ 0 w 224"/>
                  <a:gd name="T11" fmla="*/ 156 h 184"/>
                  <a:gd name="T12" fmla="*/ 0 w 224"/>
                  <a:gd name="T13" fmla="*/ 0 h 184"/>
                  <a:gd name="T14" fmla="*/ 224 w 224"/>
                  <a:gd name="T15" fmla="*/ 0 h 184"/>
                  <a:gd name="T16" fmla="*/ 216 w 224"/>
                  <a:gd name="T17" fmla="*/ 8 h 184"/>
                  <a:gd name="T18" fmla="*/ 8 w 224"/>
                  <a:gd name="T19" fmla="*/ 8 h 184"/>
                  <a:gd name="T20" fmla="*/ 8 w 224"/>
                  <a:gd name="T21" fmla="*/ 148 h 184"/>
                  <a:gd name="T22" fmla="*/ 56 w 224"/>
                  <a:gd name="T23" fmla="*/ 148 h 184"/>
                  <a:gd name="T24" fmla="*/ 56 w 224"/>
                  <a:gd name="T25" fmla="*/ 168 h 184"/>
                  <a:gd name="T26" fmla="*/ 83 w 224"/>
                  <a:gd name="T27" fmla="*/ 148 h 184"/>
                  <a:gd name="T28" fmla="*/ 216 w 224"/>
                  <a:gd name="T29" fmla="*/ 148 h 184"/>
                  <a:gd name="T30" fmla="*/ 216 w 224"/>
                  <a:gd name="T31" fmla="*/ 8 h 184"/>
                  <a:gd name="T32" fmla="*/ 56 w 224"/>
                  <a:gd name="T33" fmla="*/ 60 h 184"/>
                  <a:gd name="T34" fmla="*/ 74 w 224"/>
                  <a:gd name="T35" fmla="*/ 78 h 184"/>
                  <a:gd name="T36" fmla="*/ 56 w 224"/>
                  <a:gd name="T37" fmla="*/ 96 h 184"/>
                  <a:gd name="T38" fmla="*/ 38 w 224"/>
                  <a:gd name="T39" fmla="*/ 78 h 184"/>
                  <a:gd name="T40" fmla="*/ 56 w 224"/>
                  <a:gd name="T41" fmla="*/ 60 h 184"/>
                  <a:gd name="T42" fmla="*/ 112 w 224"/>
                  <a:gd name="T43" fmla="*/ 60 h 184"/>
                  <a:gd name="T44" fmla="*/ 130 w 224"/>
                  <a:gd name="T45" fmla="*/ 78 h 184"/>
                  <a:gd name="T46" fmla="*/ 112 w 224"/>
                  <a:gd name="T47" fmla="*/ 96 h 184"/>
                  <a:gd name="T48" fmla="*/ 94 w 224"/>
                  <a:gd name="T49" fmla="*/ 78 h 184"/>
                  <a:gd name="T50" fmla="*/ 112 w 224"/>
                  <a:gd name="T51" fmla="*/ 60 h 184"/>
                  <a:gd name="T52" fmla="*/ 168 w 224"/>
                  <a:gd name="T53" fmla="*/ 60 h 184"/>
                  <a:gd name="T54" fmla="*/ 186 w 224"/>
                  <a:gd name="T55" fmla="*/ 78 h 184"/>
                  <a:gd name="T56" fmla="*/ 168 w 224"/>
                  <a:gd name="T57" fmla="*/ 96 h 184"/>
                  <a:gd name="T58" fmla="*/ 150 w 224"/>
                  <a:gd name="T59" fmla="*/ 78 h 184"/>
                  <a:gd name="T60" fmla="*/ 168 w 224"/>
                  <a:gd name="T61" fmla="*/ 60 h 184"/>
                  <a:gd name="T62" fmla="*/ 56 w 224"/>
                  <a:gd name="T63" fmla="*/ 68 h 184"/>
                  <a:gd name="T64" fmla="*/ 46 w 224"/>
                  <a:gd name="T65" fmla="*/ 78 h 184"/>
                  <a:gd name="T66" fmla="*/ 56 w 224"/>
                  <a:gd name="T67" fmla="*/ 88 h 184"/>
                  <a:gd name="T68" fmla="*/ 66 w 224"/>
                  <a:gd name="T69" fmla="*/ 78 h 184"/>
                  <a:gd name="T70" fmla="*/ 56 w 224"/>
                  <a:gd name="T71" fmla="*/ 68 h 184"/>
                  <a:gd name="T72" fmla="*/ 112 w 224"/>
                  <a:gd name="T73" fmla="*/ 68 h 184"/>
                  <a:gd name="T74" fmla="*/ 102 w 224"/>
                  <a:gd name="T75" fmla="*/ 78 h 184"/>
                  <a:gd name="T76" fmla="*/ 112 w 224"/>
                  <a:gd name="T77" fmla="*/ 88 h 184"/>
                  <a:gd name="T78" fmla="*/ 122 w 224"/>
                  <a:gd name="T79" fmla="*/ 78 h 184"/>
                  <a:gd name="T80" fmla="*/ 112 w 224"/>
                  <a:gd name="T81" fmla="*/ 68 h 184"/>
                  <a:gd name="T82" fmla="*/ 168 w 224"/>
                  <a:gd name="T83" fmla="*/ 68 h 184"/>
                  <a:gd name="T84" fmla="*/ 158 w 224"/>
                  <a:gd name="T85" fmla="*/ 78 h 184"/>
                  <a:gd name="T86" fmla="*/ 168 w 224"/>
                  <a:gd name="T87" fmla="*/ 88 h 184"/>
                  <a:gd name="T88" fmla="*/ 178 w 224"/>
                  <a:gd name="T89" fmla="*/ 78 h 184"/>
                  <a:gd name="T90" fmla="*/ 168 w 224"/>
                  <a:gd name="T91" fmla="*/ 68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24" h="184">
                    <a:moveTo>
                      <a:pt x="224" y="0"/>
                    </a:moveTo>
                    <a:cubicBezTo>
                      <a:pt x="224" y="156"/>
                      <a:pt x="224" y="156"/>
                      <a:pt x="224" y="156"/>
                    </a:cubicBezTo>
                    <a:cubicBezTo>
                      <a:pt x="86" y="156"/>
                      <a:pt x="86" y="156"/>
                      <a:pt x="86" y="156"/>
                    </a:cubicBezTo>
                    <a:cubicBezTo>
                      <a:pt x="48" y="184"/>
                      <a:pt x="48" y="184"/>
                      <a:pt x="48" y="184"/>
                    </a:cubicBezTo>
                    <a:cubicBezTo>
                      <a:pt x="48" y="156"/>
                      <a:pt x="48" y="156"/>
                      <a:pt x="48" y="156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224" y="0"/>
                    </a:lnTo>
                    <a:close/>
                    <a:moveTo>
                      <a:pt x="216" y="8"/>
                    </a:moveTo>
                    <a:cubicBezTo>
                      <a:pt x="8" y="8"/>
                      <a:pt x="8" y="8"/>
                      <a:pt x="8" y="8"/>
                    </a:cubicBezTo>
                    <a:cubicBezTo>
                      <a:pt x="8" y="148"/>
                      <a:pt x="8" y="148"/>
                      <a:pt x="8" y="148"/>
                    </a:cubicBezTo>
                    <a:cubicBezTo>
                      <a:pt x="56" y="148"/>
                      <a:pt x="56" y="148"/>
                      <a:pt x="56" y="148"/>
                    </a:cubicBezTo>
                    <a:cubicBezTo>
                      <a:pt x="56" y="168"/>
                      <a:pt x="56" y="168"/>
                      <a:pt x="56" y="168"/>
                    </a:cubicBezTo>
                    <a:cubicBezTo>
                      <a:pt x="83" y="148"/>
                      <a:pt x="83" y="148"/>
                      <a:pt x="83" y="148"/>
                    </a:cubicBezTo>
                    <a:cubicBezTo>
                      <a:pt x="216" y="148"/>
                      <a:pt x="216" y="148"/>
                      <a:pt x="216" y="148"/>
                    </a:cubicBezTo>
                    <a:lnTo>
                      <a:pt x="216" y="8"/>
                    </a:lnTo>
                    <a:close/>
                    <a:moveTo>
                      <a:pt x="56" y="60"/>
                    </a:moveTo>
                    <a:cubicBezTo>
                      <a:pt x="66" y="60"/>
                      <a:pt x="74" y="68"/>
                      <a:pt x="74" y="78"/>
                    </a:cubicBezTo>
                    <a:cubicBezTo>
                      <a:pt x="74" y="88"/>
                      <a:pt x="66" y="96"/>
                      <a:pt x="56" y="96"/>
                    </a:cubicBezTo>
                    <a:cubicBezTo>
                      <a:pt x="46" y="96"/>
                      <a:pt x="38" y="88"/>
                      <a:pt x="38" y="78"/>
                    </a:cubicBezTo>
                    <a:cubicBezTo>
                      <a:pt x="38" y="68"/>
                      <a:pt x="46" y="60"/>
                      <a:pt x="56" y="60"/>
                    </a:cubicBezTo>
                    <a:close/>
                    <a:moveTo>
                      <a:pt x="112" y="60"/>
                    </a:moveTo>
                    <a:cubicBezTo>
                      <a:pt x="122" y="60"/>
                      <a:pt x="130" y="68"/>
                      <a:pt x="130" y="78"/>
                    </a:cubicBezTo>
                    <a:cubicBezTo>
                      <a:pt x="130" y="88"/>
                      <a:pt x="122" y="96"/>
                      <a:pt x="112" y="96"/>
                    </a:cubicBezTo>
                    <a:cubicBezTo>
                      <a:pt x="102" y="96"/>
                      <a:pt x="94" y="88"/>
                      <a:pt x="94" y="78"/>
                    </a:cubicBezTo>
                    <a:cubicBezTo>
                      <a:pt x="94" y="68"/>
                      <a:pt x="102" y="60"/>
                      <a:pt x="112" y="60"/>
                    </a:cubicBezTo>
                    <a:close/>
                    <a:moveTo>
                      <a:pt x="168" y="60"/>
                    </a:moveTo>
                    <a:cubicBezTo>
                      <a:pt x="178" y="60"/>
                      <a:pt x="186" y="68"/>
                      <a:pt x="186" y="78"/>
                    </a:cubicBezTo>
                    <a:cubicBezTo>
                      <a:pt x="186" y="88"/>
                      <a:pt x="178" y="96"/>
                      <a:pt x="168" y="96"/>
                    </a:cubicBezTo>
                    <a:cubicBezTo>
                      <a:pt x="158" y="96"/>
                      <a:pt x="150" y="88"/>
                      <a:pt x="150" y="78"/>
                    </a:cubicBezTo>
                    <a:cubicBezTo>
                      <a:pt x="150" y="68"/>
                      <a:pt x="158" y="60"/>
                      <a:pt x="168" y="60"/>
                    </a:cubicBezTo>
                    <a:close/>
                    <a:moveTo>
                      <a:pt x="56" y="68"/>
                    </a:moveTo>
                    <a:cubicBezTo>
                      <a:pt x="50" y="68"/>
                      <a:pt x="46" y="72"/>
                      <a:pt x="46" y="78"/>
                    </a:cubicBezTo>
                    <a:cubicBezTo>
                      <a:pt x="46" y="84"/>
                      <a:pt x="50" y="88"/>
                      <a:pt x="56" y="88"/>
                    </a:cubicBezTo>
                    <a:cubicBezTo>
                      <a:pt x="62" y="88"/>
                      <a:pt x="66" y="84"/>
                      <a:pt x="66" y="78"/>
                    </a:cubicBezTo>
                    <a:cubicBezTo>
                      <a:pt x="66" y="72"/>
                      <a:pt x="62" y="68"/>
                      <a:pt x="56" y="68"/>
                    </a:cubicBezTo>
                    <a:close/>
                    <a:moveTo>
                      <a:pt x="112" y="68"/>
                    </a:moveTo>
                    <a:cubicBezTo>
                      <a:pt x="106" y="68"/>
                      <a:pt x="102" y="72"/>
                      <a:pt x="102" y="78"/>
                    </a:cubicBezTo>
                    <a:cubicBezTo>
                      <a:pt x="102" y="84"/>
                      <a:pt x="106" y="88"/>
                      <a:pt x="112" y="88"/>
                    </a:cubicBezTo>
                    <a:cubicBezTo>
                      <a:pt x="118" y="88"/>
                      <a:pt x="122" y="84"/>
                      <a:pt x="122" y="78"/>
                    </a:cubicBezTo>
                    <a:cubicBezTo>
                      <a:pt x="122" y="72"/>
                      <a:pt x="118" y="68"/>
                      <a:pt x="112" y="68"/>
                    </a:cubicBezTo>
                    <a:close/>
                    <a:moveTo>
                      <a:pt x="168" y="68"/>
                    </a:moveTo>
                    <a:cubicBezTo>
                      <a:pt x="162" y="68"/>
                      <a:pt x="158" y="72"/>
                      <a:pt x="158" y="78"/>
                    </a:cubicBezTo>
                    <a:cubicBezTo>
                      <a:pt x="158" y="84"/>
                      <a:pt x="162" y="88"/>
                      <a:pt x="168" y="88"/>
                    </a:cubicBezTo>
                    <a:cubicBezTo>
                      <a:pt x="174" y="88"/>
                      <a:pt x="178" y="84"/>
                      <a:pt x="178" y="78"/>
                    </a:cubicBezTo>
                    <a:cubicBezTo>
                      <a:pt x="178" y="72"/>
                      <a:pt x="174" y="68"/>
                      <a:pt x="168" y="6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7198" dirty="0"/>
              </a:p>
            </p:txBody>
          </p:sp>
        </p:grpSp>
        <p:grpSp>
          <p:nvGrpSpPr>
            <p:cNvPr id="118" name="íṥlîḋé">
              <a:extLst>
                <a:ext uri="{FF2B5EF4-FFF2-40B4-BE49-F238E27FC236}">
                  <a16:creationId xmlns:a16="http://schemas.microsoft.com/office/drawing/2014/main" id="{80B30460-7B61-4FAA-888C-4268218DD4E5}"/>
                </a:ext>
              </a:extLst>
            </p:cNvPr>
            <p:cNvGrpSpPr/>
            <p:nvPr/>
          </p:nvGrpSpPr>
          <p:grpSpPr>
            <a:xfrm>
              <a:off x="673100" y="3243111"/>
              <a:ext cx="3360088" cy="1427599"/>
              <a:chOff x="726130" y="2619834"/>
              <a:chExt cx="2846629" cy="1427599"/>
            </a:xfrm>
          </p:grpSpPr>
          <p:sp>
            <p:nvSpPr>
              <p:cNvPr id="125" name="ïşľíďé">
                <a:extLst>
                  <a:ext uri="{FF2B5EF4-FFF2-40B4-BE49-F238E27FC236}">
                    <a16:creationId xmlns:a16="http://schemas.microsoft.com/office/drawing/2014/main" id="{4B7E8F78-BEFF-48E6-9AA5-D17F4C436AA0}"/>
                  </a:ext>
                </a:extLst>
              </p:cNvPr>
              <p:cNvSpPr txBox="1"/>
              <p:nvPr/>
            </p:nvSpPr>
            <p:spPr bwMode="auto">
              <a:xfrm>
                <a:off x="726130" y="3104401"/>
                <a:ext cx="2846629" cy="943032"/>
              </a:xfrm>
              <a:prstGeom prst="rect">
                <a:avLst/>
              </a:prstGeom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26" name="íSḻïḋe">
                <a:extLst>
                  <a:ext uri="{FF2B5EF4-FFF2-40B4-BE49-F238E27FC236}">
                    <a16:creationId xmlns:a16="http://schemas.microsoft.com/office/drawing/2014/main" id="{65AB8397-285F-458C-89BB-A83D8D170CB5}"/>
                  </a:ext>
                </a:extLst>
              </p:cNvPr>
              <p:cNvSpPr txBox="1"/>
              <p:nvPr/>
            </p:nvSpPr>
            <p:spPr bwMode="auto">
              <a:xfrm>
                <a:off x="726130" y="2619834"/>
                <a:ext cx="2846629" cy="484567"/>
              </a:xfrm>
              <a:prstGeom prst="rect">
                <a:avLst/>
              </a:prstGeom>
              <a:noFill/>
              <a:scene3d>
                <a:camera prst="orthographicFront">
                  <a:rot lat="0" lon="0" rev="0"/>
                </a:camera>
                <a:lightRig rig="threePt" dir="t"/>
              </a:scene3d>
              <a:sp3d prstMaterial="matte">
                <a:bevelT w="1270" h="1270"/>
              </a:sp3d>
            </p:spPr>
            <p:txBody>
              <a:bodyPr wrap="square" lIns="91440" tIns="45720" rIns="91440" bIns="45720" anchor="ctr" anchorCtr="0">
                <a:normAutofit/>
                <a:sp3d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spcBef>
                    <a:spcPct val="0"/>
                  </a:spcBef>
                </a:pPr>
                <a:r>
                  <a:rPr lang="en-US" altLang="zh-CN" sz="1600" b="1" dirty="0"/>
                  <a:t>Text here</a:t>
                </a:r>
              </a:p>
            </p:txBody>
          </p:sp>
        </p:grpSp>
        <p:grpSp>
          <p:nvGrpSpPr>
            <p:cNvPr id="119" name="ïṡļïḍé">
              <a:extLst>
                <a:ext uri="{FF2B5EF4-FFF2-40B4-BE49-F238E27FC236}">
                  <a16:creationId xmlns:a16="http://schemas.microsoft.com/office/drawing/2014/main" id="{9FCAEC25-02B3-4B27-B8D9-D1DAC43B0584}"/>
                </a:ext>
              </a:extLst>
            </p:cNvPr>
            <p:cNvGrpSpPr/>
            <p:nvPr/>
          </p:nvGrpSpPr>
          <p:grpSpPr>
            <a:xfrm>
              <a:off x="8158812" y="3243111"/>
              <a:ext cx="3360088" cy="1427599"/>
              <a:chOff x="726130" y="2619834"/>
              <a:chExt cx="2846629" cy="1427599"/>
            </a:xfrm>
          </p:grpSpPr>
          <p:sp>
            <p:nvSpPr>
              <p:cNvPr id="123" name="ïṧľíḑé">
                <a:extLst>
                  <a:ext uri="{FF2B5EF4-FFF2-40B4-BE49-F238E27FC236}">
                    <a16:creationId xmlns:a16="http://schemas.microsoft.com/office/drawing/2014/main" id="{19BFC015-E9E5-4276-B1B5-10353D3100CA}"/>
                  </a:ext>
                </a:extLst>
              </p:cNvPr>
              <p:cNvSpPr txBox="1"/>
              <p:nvPr/>
            </p:nvSpPr>
            <p:spPr bwMode="auto">
              <a:xfrm>
                <a:off x="726130" y="3104401"/>
                <a:ext cx="2846629" cy="943032"/>
              </a:xfrm>
              <a:prstGeom prst="rect">
                <a:avLst/>
              </a:prstGeom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24" name="îṧlïḋé">
                <a:extLst>
                  <a:ext uri="{FF2B5EF4-FFF2-40B4-BE49-F238E27FC236}">
                    <a16:creationId xmlns:a16="http://schemas.microsoft.com/office/drawing/2014/main" id="{DDA8E3D3-FA9E-4A6C-96CF-931D8D3FF09A}"/>
                  </a:ext>
                </a:extLst>
              </p:cNvPr>
              <p:cNvSpPr txBox="1"/>
              <p:nvPr/>
            </p:nvSpPr>
            <p:spPr bwMode="auto">
              <a:xfrm>
                <a:off x="726130" y="2619834"/>
                <a:ext cx="2846629" cy="484567"/>
              </a:xfrm>
              <a:prstGeom prst="rect">
                <a:avLst/>
              </a:prstGeom>
              <a:noFill/>
              <a:scene3d>
                <a:camera prst="orthographicFront">
                  <a:rot lat="0" lon="0" rev="0"/>
                </a:camera>
                <a:lightRig rig="threePt" dir="t"/>
              </a:scene3d>
              <a:sp3d prstMaterial="matte">
                <a:bevelT w="1270" h="1270"/>
              </a:sp3d>
            </p:spPr>
            <p:txBody>
              <a:bodyPr wrap="square" lIns="91440" tIns="45720" rIns="91440" bIns="45720" anchor="ctr" anchorCtr="0">
                <a:normAutofit/>
                <a:sp3d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sz="1600" b="1" dirty="0"/>
                  <a:t>Text here</a:t>
                </a:r>
              </a:p>
            </p:txBody>
          </p:sp>
        </p:grpSp>
        <p:grpSp>
          <p:nvGrpSpPr>
            <p:cNvPr id="120" name="íšḷíḓe">
              <a:extLst>
                <a:ext uri="{FF2B5EF4-FFF2-40B4-BE49-F238E27FC236}">
                  <a16:creationId xmlns:a16="http://schemas.microsoft.com/office/drawing/2014/main" id="{6CB113C4-4CF6-4317-85B3-52A2450599C4}"/>
                </a:ext>
              </a:extLst>
            </p:cNvPr>
            <p:cNvGrpSpPr/>
            <p:nvPr/>
          </p:nvGrpSpPr>
          <p:grpSpPr>
            <a:xfrm>
              <a:off x="4415956" y="1130300"/>
              <a:ext cx="3360088" cy="1427599"/>
              <a:chOff x="726130" y="2619834"/>
              <a:chExt cx="2846629" cy="1427599"/>
            </a:xfrm>
          </p:grpSpPr>
          <p:sp>
            <p:nvSpPr>
              <p:cNvPr id="121" name="iślíḑè">
                <a:extLst>
                  <a:ext uri="{FF2B5EF4-FFF2-40B4-BE49-F238E27FC236}">
                    <a16:creationId xmlns:a16="http://schemas.microsoft.com/office/drawing/2014/main" id="{A4BB0889-FE5B-47CB-8378-BB58FBEE72A3}"/>
                  </a:ext>
                </a:extLst>
              </p:cNvPr>
              <p:cNvSpPr txBox="1"/>
              <p:nvPr/>
            </p:nvSpPr>
            <p:spPr bwMode="auto">
              <a:xfrm>
                <a:off x="726130" y="3104401"/>
                <a:ext cx="2846629" cy="943032"/>
              </a:xfrm>
              <a:prstGeom prst="rect">
                <a:avLst/>
              </a:prstGeom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22" name="îşḷiḍê">
                <a:extLst>
                  <a:ext uri="{FF2B5EF4-FFF2-40B4-BE49-F238E27FC236}">
                    <a16:creationId xmlns:a16="http://schemas.microsoft.com/office/drawing/2014/main" id="{0EB39D30-B448-445B-8BFD-5A49C72EF483}"/>
                  </a:ext>
                </a:extLst>
              </p:cNvPr>
              <p:cNvSpPr txBox="1"/>
              <p:nvPr/>
            </p:nvSpPr>
            <p:spPr bwMode="auto">
              <a:xfrm>
                <a:off x="726130" y="2619834"/>
                <a:ext cx="2846629" cy="484567"/>
              </a:xfrm>
              <a:prstGeom prst="rect">
                <a:avLst/>
              </a:prstGeom>
              <a:noFill/>
              <a:scene3d>
                <a:camera prst="orthographicFront">
                  <a:rot lat="0" lon="0" rev="0"/>
                </a:camera>
                <a:lightRig rig="threePt" dir="t"/>
              </a:scene3d>
              <a:sp3d prstMaterial="matte">
                <a:bevelT w="1270" h="1270"/>
              </a:sp3d>
            </p:spPr>
            <p:txBody>
              <a:bodyPr wrap="square" lIns="91440" tIns="45720" rIns="91440" bIns="45720" anchor="ctr" anchorCtr="0">
                <a:normAutofit/>
                <a:sp3d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sz="1600" b="1" dirty="0"/>
                  <a:t>Text here</a:t>
                </a: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9592760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07C3B4D-0BBC-4C36-8AAB-1A94C3B38C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E74D8D79-A051-49C2-9DC0-5318540DB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CD02EB9-E132-4095-AD57-2AACC49317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grpSp>
        <p:nvGrpSpPr>
          <p:cNvPr id="125" name="fdaaa325-f67a-43b5-ae35-a6f53a7a142b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4AA7B34-484A-4492-BFE5-417848B2D20B}"/>
              </a:ext>
            </a:extLst>
          </p:cNvPr>
          <p:cNvGrpSpPr>
            <a:grpSpLocks noChangeAspect="1"/>
          </p:cNvGrpSpPr>
          <p:nvPr/>
        </p:nvGrpSpPr>
        <p:grpSpPr>
          <a:xfrm>
            <a:off x="966000" y="1597981"/>
            <a:ext cx="10280741" cy="3704174"/>
            <a:chOff x="966000" y="1597981"/>
            <a:chExt cx="10280741" cy="3704174"/>
          </a:xfrm>
        </p:grpSpPr>
        <p:sp>
          <p:nvSpPr>
            <p:cNvPr id="126" name="iṧḻiḋê">
              <a:extLst>
                <a:ext uri="{FF2B5EF4-FFF2-40B4-BE49-F238E27FC236}">
                  <a16:creationId xmlns:a16="http://schemas.microsoft.com/office/drawing/2014/main" id="{50217584-E5D0-4988-9816-CB3BC4950F72}"/>
                </a:ext>
              </a:extLst>
            </p:cNvPr>
            <p:cNvSpPr/>
            <p:nvPr/>
          </p:nvSpPr>
          <p:spPr bwMode="auto">
            <a:xfrm>
              <a:off x="4232561" y="1597981"/>
              <a:ext cx="3704174" cy="3704174"/>
            </a:xfrm>
            <a:prstGeom prst="ellipse">
              <a:avLst/>
            </a:prstGeom>
            <a:noFill/>
            <a:ln w="76200">
              <a:solidFill>
                <a:schemeClr val="accent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/>
            </a:p>
          </p:txBody>
        </p:sp>
        <p:sp>
          <p:nvSpPr>
            <p:cNvPr id="127" name="ïṡ1iḍe">
              <a:extLst>
                <a:ext uri="{FF2B5EF4-FFF2-40B4-BE49-F238E27FC236}">
                  <a16:creationId xmlns:a16="http://schemas.microsoft.com/office/drawing/2014/main" id="{EF0D34C2-0330-43C6-A89B-539CE0B983BA}"/>
                </a:ext>
              </a:extLst>
            </p:cNvPr>
            <p:cNvSpPr txBox="1"/>
            <p:nvPr/>
          </p:nvSpPr>
          <p:spPr bwMode="auto">
            <a:xfrm>
              <a:off x="4783833" y="2982893"/>
              <a:ext cx="2581084" cy="371513"/>
            </a:xfrm>
            <a:prstGeom prst="rect">
              <a:avLst/>
            </a:prstGeom>
            <a:noFill/>
          </p:spPr>
          <p:txBody>
            <a:bodyPr wrap="non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r>
                <a:rPr lang="en-US" altLang="zh-CN" sz="1800" b="1" dirty="0">
                  <a:solidFill>
                    <a:schemeClr val="tx1"/>
                  </a:solidFill>
                  <a:effectLst/>
                </a:rPr>
                <a:t>Text here</a:t>
              </a:r>
              <a:endParaRPr lang="zh-CN" altLang="en-US" sz="1800" b="1" dirty="0"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28" name="ïšḻiḋè">
              <a:extLst>
                <a:ext uri="{FF2B5EF4-FFF2-40B4-BE49-F238E27FC236}">
                  <a16:creationId xmlns:a16="http://schemas.microsoft.com/office/drawing/2014/main" id="{8A2CD798-8D74-44F1-A181-789E0D4DDC2C}"/>
                </a:ext>
              </a:extLst>
            </p:cNvPr>
            <p:cNvSpPr txBox="1"/>
            <p:nvPr/>
          </p:nvSpPr>
          <p:spPr bwMode="auto">
            <a:xfrm>
              <a:off x="4783833" y="3416700"/>
              <a:ext cx="2581084" cy="556178"/>
            </a:xfrm>
            <a:prstGeom prst="rect">
              <a:avLst/>
            </a:prstGeom>
            <a:noFill/>
          </p:spPr>
          <p:txBody>
            <a:bodyPr wrap="squar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000" dirty="0"/>
                <a:t>Copy paste fonts. Choose the only option to retain text.</a:t>
              </a:r>
            </a:p>
          </p:txBody>
        </p:sp>
        <p:grpSp>
          <p:nvGrpSpPr>
            <p:cNvPr id="129" name="iṣḻide">
              <a:extLst>
                <a:ext uri="{FF2B5EF4-FFF2-40B4-BE49-F238E27FC236}">
                  <a16:creationId xmlns:a16="http://schemas.microsoft.com/office/drawing/2014/main" id="{A0E5D158-117F-4A2F-8629-18988CEFCBCD}"/>
                </a:ext>
              </a:extLst>
            </p:cNvPr>
            <p:cNvGrpSpPr/>
            <p:nvPr/>
          </p:nvGrpSpPr>
          <p:grpSpPr>
            <a:xfrm>
              <a:off x="7571471" y="2314999"/>
              <a:ext cx="651934" cy="651934"/>
              <a:chOff x="7264362" y="2314999"/>
              <a:chExt cx="651934" cy="651934"/>
            </a:xfrm>
          </p:grpSpPr>
          <p:sp>
            <p:nvSpPr>
              <p:cNvPr id="153" name="ïṩļiḓè">
                <a:extLst>
                  <a:ext uri="{FF2B5EF4-FFF2-40B4-BE49-F238E27FC236}">
                    <a16:creationId xmlns:a16="http://schemas.microsoft.com/office/drawing/2014/main" id="{16376B0B-BA01-440D-B762-8956D71E1B4E}"/>
                  </a:ext>
                </a:extLst>
              </p:cNvPr>
              <p:cNvSpPr/>
              <p:nvPr/>
            </p:nvSpPr>
            <p:spPr bwMode="auto">
              <a:xfrm>
                <a:off x="7264362" y="2314999"/>
                <a:ext cx="651934" cy="651934"/>
              </a:xfrm>
              <a:prstGeom prst="ellipse">
                <a:avLst/>
              </a:prstGeom>
              <a:solidFill>
                <a:schemeClr val="bg2"/>
              </a:solidFill>
              <a:ln w="19050">
                <a:noFill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154" name="ïṣľïḑê">
                <a:extLst>
                  <a:ext uri="{FF2B5EF4-FFF2-40B4-BE49-F238E27FC236}">
                    <a16:creationId xmlns:a16="http://schemas.microsoft.com/office/drawing/2014/main" id="{FA622CC9-6C08-4075-BCEF-DCF8289B4F90}"/>
                  </a:ext>
                </a:extLst>
              </p:cNvPr>
              <p:cNvSpPr/>
              <p:nvPr/>
            </p:nvSpPr>
            <p:spPr bwMode="auto">
              <a:xfrm>
                <a:off x="7401370" y="2450791"/>
                <a:ext cx="364104" cy="397004"/>
              </a:xfrm>
              <a:custGeom>
                <a:avLst/>
                <a:gdLst>
                  <a:gd name="T0" fmla="*/ 156 w 208"/>
                  <a:gd name="T1" fmla="*/ 0 h 224"/>
                  <a:gd name="T2" fmla="*/ 156 w 208"/>
                  <a:gd name="T3" fmla="*/ 8 h 224"/>
                  <a:gd name="T4" fmla="*/ 144 w 208"/>
                  <a:gd name="T5" fmla="*/ 8 h 224"/>
                  <a:gd name="T6" fmla="*/ 144 w 208"/>
                  <a:gd name="T7" fmla="*/ 59 h 224"/>
                  <a:gd name="T8" fmla="*/ 208 w 208"/>
                  <a:gd name="T9" fmla="*/ 204 h 224"/>
                  <a:gd name="T10" fmla="*/ 201 w 208"/>
                  <a:gd name="T11" fmla="*/ 224 h 224"/>
                  <a:gd name="T12" fmla="*/ 7 w 208"/>
                  <a:gd name="T13" fmla="*/ 224 h 224"/>
                  <a:gd name="T14" fmla="*/ 0 w 208"/>
                  <a:gd name="T15" fmla="*/ 204 h 224"/>
                  <a:gd name="T16" fmla="*/ 64 w 208"/>
                  <a:gd name="T17" fmla="*/ 59 h 224"/>
                  <a:gd name="T18" fmla="*/ 64 w 208"/>
                  <a:gd name="T19" fmla="*/ 8 h 224"/>
                  <a:gd name="T20" fmla="*/ 52 w 208"/>
                  <a:gd name="T21" fmla="*/ 8 h 224"/>
                  <a:gd name="T22" fmla="*/ 52 w 208"/>
                  <a:gd name="T23" fmla="*/ 0 h 224"/>
                  <a:gd name="T24" fmla="*/ 156 w 208"/>
                  <a:gd name="T25" fmla="*/ 0 h 224"/>
                  <a:gd name="T26" fmla="*/ 108 w 208"/>
                  <a:gd name="T27" fmla="*/ 174 h 224"/>
                  <a:gd name="T28" fmla="*/ 106 w 208"/>
                  <a:gd name="T29" fmla="*/ 175 h 224"/>
                  <a:gd name="T30" fmla="*/ 22 w 208"/>
                  <a:gd name="T31" fmla="*/ 174 h 224"/>
                  <a:gd name="T32" fmla="*/ 8 w 208"/>
                  <a:gd name="T33" fmla="*/ 204 h 224"/>
                  <a:gd name="T34" fmla="*/ 13 w 208"/>
                  <a:gd name="T35" fmla="*/ 216 h 224"/>
                  <a:gd name="T36" fmla="*/ 195 w 208"/>
                  <a:gd name="T37" fmla="*/ 216 h 224"/>
                  <a:gd name="T38" fmla="*/ 200 w 208"/>
                  <a:gd name="T39" fmla="*/ 204 h 224"/>
                  <a:gd name="T40" fmla="*/ 185 w 208"/>
                  <a:gd name="T41" fmla="*/ 171 h 224"/>
                  <a:gd name="T42" fmla="*/ 108 w 208"/>
                  <a:gd name="T43" fmla="*/ 174 h 224"/>
                  <a:gd name="T44" fmla="*/ 136 w 208"/>
                  <a:gd name="T45" fmla="*/ 8 h 224"/>
                  <a:gd name="T46" fmla="*/ 72 w 208"/>
                  <a:gd name="T47" fmla="*/ 8 h 224"/>
                  <a:gd name="T48" fmla="*/ 72 w 208"/>
                  <a:gd name="T49" fmla="*/ 61 h 224"/>
                  <a:gd name="T50" fmla="*/ 25 w 208"/>
                  <a:gd name="T51" fmla="*/ 166 h 224"/>
                  <a:gd name="T52" fmla="*/ 101 w 208"/>
                  <a:gd name="T53" fmla="*/ 170 h 224"/>
                  <a:gd name="T54" fmla="*/ 102 w 208"/>
                  <a:gd name="T55" fmla="*/ 169 h 224"/>
                  <a:gd name="T56" fmla="*/ 180 w 208"/>
                  <a:gd name="T57" fmla="*/ 160 h 224"/>
                  <a:gd name="T58" fmla="*/ 136 w 208"/>
                  <a:gd name="T59" fmla="*/ 61 h 224"/>
                  <a:gd name="T60" fmla="*/ 136 w 208"/>
                  <a:gd name="T61" fmla="*/ 8 h 224"/>
                  <a:gd name="T62" fmla="*/ 130 w 208"/>
                  <a:gd name="T63" fmla="*/ 104 h 224"/>
                  <a:gd name="T64" fmla="*/ 148 w 208"/>
                  <a:gd name="T65" fmla="*/ 122 h 224"/>
                  <a:gd name="T66" fmla="*/ 130 w 208"/>
                  <a:gd name="T67" fmla="*/ 140 h 224"/>
                  <a:gd name="T68" fmla="*/ 112 w 208"/>
                  <a:gd name="T69" fmla="*/ 122 h 224"/>
                  <a:gd name="T70" fmla="*/ 130 w 208"/>
                  <a:gd name="T71" fmla="*/ 104 h 224"/>
                  <a:gd name="T72" fmla="*/ 130 w 208"/>
                  <a:gd name="T73" fmla="*/ 112 h 224"/>
                  <a:gd name="T74" fmla="*/ 120 w 208"/>
                  <a:gd name="T75" fmla="*/ 122 h 224"/>
                  <a:gd name="T76" fmla="*/ 130 w 208"/>
                  <a:gd name="T77" fmla="*/ 132 h 224"/>
                  <a:gd name="T78" fmla="*/ 140 w 208"/>
                  <a:gd name="T79" fmla="*/ 122 h 224"/>
                  <a:gd name="T80" fmla="*/ 130 w 208"/>
                  <a:gd name="T81" fmla="*/ 112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08" h="224">
                    <a:moveTo>
                      <a:pt x="156" y="0"/>
                    </a:moveTo>
                    <a:cubicBezTo>
                      <a:pt x="156" y="8"/>
                      <a:pt x="156" y="8"/>
                      <a:pt x="156" y="8"/>
                    </a:cubicBezTo>
                    <a:cubicBezTo>
                      <a:pt x="144" y="8"/>
                      <a:pt x="144" y="8"/>
                      <a:pt x="144" y="8"/>
                    </a:cubicBezTo>
                    <a:cubicBezTo>
                      <a:pt x="144" y="59"/>
                      <a:pt x="144" y="59"/>
                      <a:pt x="144" y="59"/>
                    </a:cubicBezTo>
                    <a:cubicBezTo>
                      <a:pt x="208" y="204"/>
                      <a:pt x="208" y="204"/>
                      <a:pt x="208" y="204"/>
                    </a:cubicBezTo>
                    <a:cubicBezTo>
                      <a:pt x="201" y="224"/>
                      <a:pt x="201" y="224"/>
                      <a:pt x="201" y="224"/>
                    </a:cubicBezTo>
                    <a:cubicBezTo>
                      <a:pt x="7" y="224"/>
                      <a:pt x="7" y="224"/>
                      <a:pt x="7" y="224"/>
                    </a:cubicBezTo>
                    <a:cubicBezTo>
                      <a:pt x="0" y="204"/>
                      <a:pt x="0" y="204"/>
                      <a:pt x="0" y="204"/>
                    </a:cubicBezTo>
                    <a:cubicBezTo>
                      <a:pt x="64" y="59"/>
                      <a:pt x="64" y="59"/>
                      <a:pt x="64" y="59"/>
                    </a:cubicBezTo>
                    <a:cubicBezTo>
                      <a:pt x="64" y="8"/>
                      <a:pt x="64" y="8"/>
                      <a:pt x="64" y="8"/>
                    </a:cubicBezTo>
                    <a:cubicBezTo>
                      <a:pt x="52" y="8"/>
                      <a:pt x="52" y="8"/>
                      <a:pt x="52" y="8"/>
                    </a:cubicBezTo>
                    <a:cubicBezTo>
                      <a:pt x="52" y="0"/>
                      <a:pt x="52" y="0"/>
                      <a:pt x="52" y="0"/>
                    </a:cubicBezTo>
                    <a:lnTo>
                      <a:pt x="156" y="0"/>
                    </a:lnTo>
                    <a:close/>
                    <a:moveTo>
                      <a:pt x="108" y="174"/>
                    </a:moveTo>
                    <a:cubicBezTo>
                      <a:pt x="106" y="175"/>
                      <a:pt x="106" y="175"/>
                      <a:pt x="106" y="175"/>
                    </a:cubicBezTo>
                    <a:cubicBezTo>
                      <a:pt x="83" y="192"/>
                      <a:pt x="50" y="191"/>
                      <a:pt x="22" y="174"/>
                    </a:cubicBezTo>
                    <a:cubicBezTo>
                      <a:pt x="8" y="204"/>
                      <a:pt x="8" y="204"/>
                      <a:pt x="8" y="204"/>
                    </a:cubicBezTo>
                    <a:cubicBezTo>
                      <a:pt x="13" y="216"/>
                      <a:pt x="13" y="216"/>
                      <a:pt x="13" y="216"/>
                    </a:cubicBezTo>
                    <a:cubicBezTo>
                      <a:pt x="195" y="216"/>
                      <a:pt x="195" y="216"/>
                      <a:pt x="195" y="216"/>
                    </a:cubicBezTo>
                    <a:cubicBezTo>
                      <a:pt x="200" y="204"/>
                      <a:pt x="200" y="204"/>
                      <a:pt x="200" y="204"/>
                    </a:cubicBezTo>
                    <a:cubicBezTo>
                      <a:pt x="185" y="171"/>
                      <a:pt x="185" y="171"/>
                      <a:pt x="185" y="171"/>
                    </a:cubicBezTo>
                    <a:cubicBezTo>
                      <a:pt x="159" y="159"/>
                      <a:pt x="128" y="160"/>
                      <a:pt x="108" y="174"/>
                    </a:cubicBezTo>
                    <a:close/>
                    <a:moveTo>
                      <a:pt x="136" y="8"/>
                    </a:moveTo>
                    <a:cubicBezTo>
                      <a:pt x="72" y="8"/>
                      <a:pt x="72" y="8"/>
                      <a:pt x="72" y="8"/>
                    </a:cubicBezTo>
                    <a:cubicBezTo>
                      <a:pt x="72" y="61"/>
                      <a:pt x="72" y="61"/>
                      <a:pt x="72" y="61"/>
                    </a:cubicBezTo>
                    <a:cubicBezTo>
                      <a:pt x="25" y="166"/>
                      <a:pt x="25" y="166"/>
                      <a:pt x="25" y="166"/>
                    </a:cubicBezTo>
                    <a:cubicBezTo>
                      <a:pt x="50" y="182"/>
                      <a:pt x="80" y="183"/>
                      <a:pt x="101" y="170"/>
                    </a:cubicBezTo>
                    <a:cubicBezTo>
                      <a:pt x="102" y="169"/>
                      <a:pt x="102" y="169"/>
                      <a:pt x="102" y="169"/>
                    </a:cubicBezTo>
                    <a:cubicBezTo>
                      <a:pt x="123" y="154"/>
                      <a:pt x="153" y="151"/>
                      <a:pt x="180" y="160"/>
                    </a:cubicBezTo>
                    <a:cubicBezTo>
                      <a:pt x="136" y="61"/>
                      <a:pt x="136" y="61"/>
                      <a:pt x="136" y="61"/>
                    </a:cubicBezTo>
                    <a:lnTo>
                      <a:pt x="136" y="8"/>
                    </a:lnTo>
                    <a:close/>
                    <a:moveTo>
                      <a:pt x="130" y="104"/>
                    </a:moveTo>
                    <a:cubicBezTo>
                      <a:pt x="140" y="104"/>
                      <a:pt x="148" y="112"/>
                      <a:pt x="148" y="122"/>
                    </a:cubicBezTo>
                    <a:cubicBezTo>
                      <a:pt x="148" y="132"/>
                      <a:pt x="140" y="140"/>
                      <a:pt x="130" y="140"/>
                    </a:cubicBezTo>
                    <a:cubicBezTo>
                      <a:pt x="120" y="140"/>
                      <a:pt x="112" y="132"/>
                      <a:pt x="112" y="122"/>
                    </a:cubicBezTo>
                    <a:cubicBezTo>
                      <a:pt x="112" y="112"/>
                      <a:pt x="120" y="104"/>
                      <a:pt x="130" y="104"/>
                    </a:cubicBezTo>
                    <a:close/>
                    <a:moveTo>
                      <a:pt x="130" y="112"/>
                    </a:moveTo>
                    <a:cubicBezTo>
                      <a:pt x="124" y="112"/>
                      <a:pt x="120" y="116"/>
                      <a:pt x="120" y="122"/>
                    </a:cubicBezTo>
                    <a:cubicBezTo>
                      <a:pt x="120" y="128"/>
                      <a:pt x="124" y="132"/>
                      <a:pt x="130" y="132"/>
                    </a:cubicBezTo>
                    <a:cubicBezTo>
                      <a:pt x="136" y="132"/>
                      <a:pt x="140" y="128"/>
                      <a:pt x="140" y="122"/>
                    </a:cubicBezTo>
                    <a:cubicBezTo>
                      <a:pt x="140" y="116"/>
                      <a:pt x="136" y="112"/>
                      <a:pt x="130" y="112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</p:grpSp>
        <p:grpSp>
          <p:nvGrpSpPr>
            <p:cNvPr id="130" name="iṣ1îdé">
              <a:extLst>
                <a:ext uri="{FF2B5EF4-FFF2-40B4-BE49-F238E27FC236}">
                  <a16:creationId xmlns:a16="http://schemas.microsoft.com/office/drawing/2014/main" id="{69C5509C-3597-428A-B6AB-7C5EAFB6CFB4}"/>
                </a:ext>
              </a:extLst>
            </p:cNvPr>
            <p:cNvGrpSpPr/>
            <p:nvPr/>
          </p:nvGrpSpPr>
          <p:grpSpPr>
            <a:xfrm>
              <a:off x="3981204" y="2312185"/>
              <a:ext cx="651934" cy="651934"/>
              <a:chOff x="4252996" y="2312185"/>
              <a:chExt cx="651934" cy="651934"/>
            </a:xfrm>
          </p:grpSpPr>
          <p:sp>
            <p:nvSpPr>
              <p:cNvPr id="151" name="ïśḻiḑé">
                <a:extLst>
                  <a:ext uri="{FF2B5EF4-FFF2-40B4-BE49-F238E27FC236}">
                    <a16:creationId xmlns:a16="http://schemas.microsoft.com/office/drawing/2014/main" id="{211CB84C-B644-491F-B274-64CE66762C20}"/>
                  </a:ext>
                </a:extLst>
              </p:cNvPr>
              <p:cNvSpPr/>
              <p:nvPr/>
            </p:nvSpPr>
            <p:spPr bwMode="auto">
              <a:xfrm>
                <a:off x="4252996" y="2312185"/>
                <a:ext cx="651934" cy="651934"/>
              </a:xfrm>
              <a:prstGeom prst="ellipse">
                <a:avLst/>
              </a:prstGeom>
              <a:solidFill>
                <a:schemeClr val="accent2"/>
              </a:solidFill>
              <a:ln w="19050">
                <a:noFill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149" name="îṧlidé">
                <a:extLst>
                  <a:ext uri="{FF2B5EF4-FFF2-40B4-BE49-F238E27FC236}">
                    <a16:creationId xmlns:a16="http://schemas.microsoft.com/office/drawing/2014/main" id="{43A46088-29EB-4301-88AB-D63628F17C43}"/>
                  </a:ext>
                </a:extLst>
              </p:cNvPr>
              <p:cNvSpPr/>
              <p:nvPr/>
            </p:nvSpPr>
            <p:spPr bwMode="auto">
              <a:xfrm>
                <a:off x="4412706" y="2456874"/>
                <a:ext cx="332514" cy="362558"/>
              </a:xfrm>
              <a:custGeom>
                <a:avLst/>
                <a:gdLst>
                  <a:gd name="T0" fmla="*/ 168 w 208"/>
                  <a:gd name="T1" fmla="*/ 0 h 224"/>
                  <a:gd name="T2" fmla="*/ 168 w 208"/>
                  <a:gd name="T3" fmla="*/ 68 h 224"/>
                  <a:gd name="T4" fmla="*/ 108 w 208"/>
                  <a:gd name="T5" fmla="*/ 68 h 224"/>
                  <a:gd name="T6" fmla="*/ 108 w 208"/>
                  <a:gd name="T7" fmla="*/ 124 h 224"/>
                  <a:gd name="T8" fmla="*/ 192 w 208"/>
                  <a:gd name="T9" fmla="*/ 124 h 224"/>
                  <a:gd name="T10" fmla="*/ 192 w 208"/>
                  <a:gd name="T11" fmla="*/ 184 h 224"/>
                  <a:gd name="T12" fmla="*/ 208 w 208"/>
                  <a:gd name="T13" fmla="*/ 184 h 224"/>
                  <a:gd name="T14" fmla="*/ 208 w 208"/>
                  <a:gd name="T15" fmla="*/ 224 h 224"/>
                  <a:gd name="T16" fmla="*/ 168 w 208"/>
                  <a:gd name="T17" fmla="*/ 224 h 224"/>
                  <a:gd name="T18" fmla="*/ 168 w 208"/>
                  <a:gd name="T19" fmla="*/ 184 h 224"/>
                  <a:gd name="T20" fmla="*/ 184 w 208"/>
                  <a:gd name="T21" fmla="*/ 184 h 224"/>
                  <a:gd name="T22" fmla="*/ 184 w 208"/>
                  <a:gd name="T23" fmla="*/ 132 h 224"/>
                  <a:gd name="T24" fmla="*/ 108 w 208"/>
                  <a:gd name="T25" fmla="*/ 132 h 224"/>
                  <a:gd name="T26" fmla="*/ 108 w 208"/>
                  <a:gd name="T27" fmla="*/ 184 h 224"/>
                  <a:gd name="T28" fmla="*/ 124 w 208"/>
                  <a:gd name="T29" fmla="*/ 184 h 224"/>
                  <a:gd name="T30" fmla="*/ 124 w 208"/>
                  <a:gd name="T31" fmla="*/ 224 h 224"/>
                  <a:gd name="T32" fmla="*/ 84 w 208"/>
                  <a:gd name="T33" fmla="*/ 224 h 224"/>
                  <a:gd name="T34" fmla="*/ 84 w 208"/>
                  <a:gd name="T35" fmla="*/ 184 h 224"/>
                  <a:gd name="T36" fmla="*/ 100 w 208"/>
                  <a:gd name="T37" fmla="*/ 184 h 224"/>
                  <a:gd name="T38" fmla="*/ 100 w 208"/>
                  <a:gd name="T39" fmla="*/ 132 h 224"/>
                  <a:gd name="T40" fmla="*/ 24 w 208"/>
                  <a:gd name="T41" fmla="*/ 132 h 224"/>
                  <a:gd name="T42" fmla="*/ 24 w 208"/>
                  <a:gd name="T43" fmla="*/ 184 h 224"/>
                  <a:gd name="T44" fmla="*/ 40 w 208"/>
                  <a:gd name="T45" fmla="*/ 184 h 224"/>
                  <a:gd name="T46" fmla="*/ 40 w 208"/>
                  <a:gd name="T47" fmla="*/ 224 h 224"/>
                  <a:gd name="T48" fmla="*/ 0 w 208"/>
                  <a:gd name="T49" fmla="*/ 224 h 224"/>
                  <a:gd name="T50" fmla="*/ 0 w 208"/>
                  <a:gd name="T51" fmla="*/ 184 h 224"/>
                  <a:gd name="T52" fmla="*/ 16 w 208"/>
                  <a:gd name="T53" fmla="*/ 184 h 224"/>
                  <a:gd name="T54" fmla="*/ 16 w 208"/>
                  <a:gd name="T55" fmla="*/ 124 h 224"/>
                  <a:gd name="T56" fmla="*/ 100 w 208"/>
                  <a:gd name="T57" fmla="*/ 124 h 224"/>
                  <a:gd name="T58" fmla="*/ 100 w 208"/>
                  <a:gd name="T59" fmla="*/ 68 h 224"/>
                  <a:gd name="T60" fmla="*/ 40 w 208"/>
                  <a:gd name="T61" fmla="*/ 68 h 224"/>
                  <a:gd name="T62" fmla="*/ 40 w 208"/>
                  <a:gd name="T63" fmla="*/ 0 h 224"/>
                  <a:gd name="T64" fmla="*/ 168 w 208"/>
                  <a:gd name="T65" fmla="*/ 0 h 224"/>
                  <a:gd name="T66" fmla="*/ 32 w 208"/>
                  <a:gd name="T67" fmla="*/ 192 h 224"/>
                  <a:gd name="T68" fmla="*/ 8 w 208"/>
                  <a:gd name="T69" fmla="*/ 192 h 224"/>
                  <a:gd name="T70" fmla="*/ 8 w 208"/>
                  <a:gd name="T71" fmla="*/ 216 h 224"/>
                  <a:gd name="T72" fmla="*/ 32 w 208"/>
                  <a:gd name="T73" fmla="*/ 216 h 224"/>
                  <a:gd name="T74" fmla="*/ 32 w 208"/>
                  <a:gd name="T75" fmla="*/ 192 h 224"/>
                  <a:gd name="T76" fmla="*/ 116 w 208"/>
                  <a:gd name="T77" fmla="*/ 192 h 224"/>
                  <a:gd name="T78" fmla="*/ 92 w 208"/>
                  <a:gd name="T79" fmla="*/ 192 h 224"/>
                  <a:gd name="T80" fmla="*/ 92 w 208"/>
                  <a:gd name="T81" fmla="*/ 216 h 224"/>
                  <a:gd name="T82" fmla="*/ 116 w 208"/>
                  <a:gd name="T83" fmla="*/ 216 h 224"/>
                  <a:gd name="T84" fmla="*/ 116 w 208"/>
                  <a:gd name="T85" fmla="*/ 192 h 224"/>
                  <a:gd name="T86" fmla="*/ 200 w 208"/>
                  <a:gd name="T87" fmla="*/ 192 h 224"/>
                  <a:gd name="T88" fmla="*/ 176 w 208"/>
                  <a:gd name="T89" fmla="*/ 192 h 224"/>
                  <a:gd name="T90" fmla="*/ 176 w 208"/>
                  <a:gd name="T91" fmla="*/ 216 h 224"/>
                  <a:gd name="T92" fmla="*/ 200 w 208"/>
                  <a:gd name="T93" fmla="*/ 216 h 224"/>
                  <a:gd name="T94" fmla="*/ 200 w 208"/>
                  <a:gd name="T95" fmla="*/ 192 h 224"/>
                  <a:gd name="T96" fmla="*/ 160 w 208"/>
                  <a:gd name="T97" fmla="*/ 8 h 224"/>
                  <a:gd name="T98" fmla="*/ 48 w 208"/>
                  <a:gd name="T99" fmla="*/ 8 h 224"/>
                  <a:gd name="T100" fmla="*/ 48 w 208"/>
                  <a:gd name="T101" fmla="*/ 60 h 224"/>
                  <a:gd name="T102" fmla="*/ 160 w 208"/>
                  <a:gd name="T103" fmla="*/ 60 h 224"/>
                  <a:gd name="T104" fmla="*/ 160 w 208"/>
                  <a:gd name="T105" fmla="*/ 8 h 224"/>
                  <a:gd name="T106" fmla="*/ 66 w 208"/>
                  <a:gd name="T107" fmla="*/ 36 h 224"/>
                  <a:gd name="T108" fmla="*/ 72 w 208"/>
                  <a:gd name="T109" fmla="*/ 42 h 224"/>
                  <a:gd name="T110" fmla="*/ 66 w 208"/>
                  <a:gd name="T111" fmla="*/ 48 h 224"/>
                  <a:gd name="T112" fmla="*/ 60 w 208"/>
                  <a:gd name="T113" fmla="*/ 42 h 224"/>
                  <a:gd name="T114" fmla="*/ 66 w 208"/>
                  <a:gd name="T115" fmla="*/ 36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08" h="224">
                    <a:moveTo>
                      <a:pt x="168" y="0"/>
                    </a:moveTo>
                    <a:cubicBezTo>
                      <a:pt x="168" y="68"/>
                      <a:pt x="168" y="68"/>
                      <a:pt x="168" y="68"/>
                    </a:cubicBezTo>
                    <a:cubicBezTo>
                      <a:pt x="108" y="68"/>
                      <a:pt x="108" y="68"/>
                      <a:pt x="108" y="68"/>
                    </a:cubicBezTo>
                    <a:cubicBezTo>
                      <a:pt x="108" y="124"/>
                      <a:pt x="108" y="124"/>
                      <a:pt x="108" y="124"/>
                    </a:cubicBezTo>
                    <a:cubicBezTo>
                      <a:pt x="192" y="124"/>
                      <a:pt x="192" y="124"/>
                      <a:pt x="192" y="124"/>
                    </a:cubicBezTo>
                    <a:cubicBezTo>
                      <a:pt x="192" y="184"/>
                      <a:pt x="192" y="184"/>
                      <a:pt x="192" y="184"/>
                    </a:cubicBezTo>
                    <a:cubicBezTo>
                      <a:pt x="208" y="184"/>
                      <a:pt x="208" y="184"/>
                      <a:pt x="208" y="184"/>
                    </a:cubicBezTo>
                    <a:cubicBezTo>
                      <a:pt x="208" y="224"/>
                      <a:pt x="208" y="224"/>
                      <a:pt x="208" y="224"/>
                    </a:cubicBezTo>
                    <a:cubicBezTo>
                      <a:pt x="168" y="224"/>
                      <a:pt x="168" y="224"/>
                      <a:pt x="168" y="224"/>
                    </a:cubicBezTo>
                    <a:cubicBezTo>
                      <a:pt x="168" y="184"/>
                      <a:pt x="168" y="184"/>
                      <a:pt x="168" y="184"/>
                    </a:cubicBezTo>
                    <a:cubicBezTo>
                      <a:pt x="184" y="184"/>
                      <a:pt x="184" y="184"/>
                      <a:pt x="184" y="184"/>
                    </a:cubicBezTo>
                    <a:cubicBezTo>
                      <a:pt x="184" y="132"/>
                      <a:pt x="184" y="132"/>
                      <a:pt x="184" y="132"/>
                    </a:cubicBezTo>
                    <a:cubicBezTo>
                      <a:pt x="108" y="132"/>
                      <a:pt x="108" y="132"/>
                      <a:pt x="108" y="132"/>
                    </a:cubicBezTo>
                    <a:cubicBezTo>
                      <a:pt x="108" y="184"/>
                      <a:pt x="108" y="184"/>
                      <a:pt x="108" y="184"/>
                    </a:cubicBezTo>
                    <a:cubicBezTo>
                      <a:pt x="124" y="184"/>
                      <a:pt x="124" y="184"/>
                      <a:pt x="124" y="184"/>
                    </a:cubicBezTo>
                    <a:cubicBezTo>
                      <a:pt x="124" y="224"/>
                      <a:pt x="124" y="224"/>
                      <a:pt x="124" y="224"/>
                    </a:cubicBezTo>
                    <a:cubicBezTo>
                      <a:pt x="84" y="224"/>
                      <a:pt x="84" y="224"/>
                      <a:pt x="84" y="224"/>
                    </a:cubicBezTo>
                    <a:cubicBezTo>
                      <a:pt x="84" y="184"/>
                      <a:pt x="84" y="184"/>
                      <a:pt x="84" y="184"/>
                    </a:cubicBezTo>
                    <a:cubicBezTo>
                      <a:pt x="100" y="184"/>
                      <a:pt x="100" y="184"/>
                      <a:pt x="100" y="184"/>
                    </a:cubicBezTo>
                    <a:cubicBezTo>
                      <a:pt x="100" y="132"/>
                      <a:pt x="100" y="132"/>
                      <a:pt x="100" y="132"/>
                    </a:cubicBezTo>
                    <a:cubicBezTo>
                      <a:pt x="24" y="132"/>
                      <a:pt x="24" y="132"/>
                      <a:pt x="24" y="132"/>
                    </a:cubicBezTo>
                    <a:cubicBezTo>
                      <a:pt x="24" y="184"/>
                      <a:pt x="24" y="184"/>
                      <a:pt x="24" y="184"/>
                    </a:cubicBezTo>
                    <a:cubicBezTo>
                      <a:pt x="40" y="184"/>
                      <a:pt x="40" y="184"/>
                      <a:pt x="40" y="184"/>
                    </a:cubicBezTo>
                    <a:cubicBezTo>
                      <a:pt x="40" y="224"/>
                      <a:pt x="40" y="224"/>
                      <a:pt x="40" y="224"/>
                    </a:cubicBezTo>
                    <a:cubicBezTo>
                      <a:pt x="0" y="224"/>
                      <a:pt x="0" y="224"/>
                      <a:pt x="0" y="224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16" y="184"/>
                      <a:pt x="16" y="184"/>
                      <a:pt x="16" y="184"/>
                    </a:cubicBezTo>
                    <a:cubicBezTo>
                      <a:pt x="16" y="124"/>
                      <a:pt x="16" y="124"/>
                      <a:pt x="16" y="124"/>
                    </a:cubicBezTo>
                    <a:cubicBezTo>
                      <a:pt x="100" y="124"/>
                      <a:pt x="100" y="124"/>
                      <a:pt x="100" y="124"/>
                    </a:cubicBezTo>
                    <a:cubicBezTo>
                      <a:pt x="100" y="68"/>
                      <a:pt x="100" y="68"/>
                      <a:pt x="100" y="68"/>
                    </a:cubicBezTo>
                    <a:cubicBezTo>
                      <a:pt x="40" y="68"/>
                      <a:pt x="40" y="68"/>
                      <a:pt x="40" y="68"/>
                    </a:cubicBezTo>
                    <a:cubicBezTo>
                      <a:pt x="40" y="0"/>
                      <a:pt x="40" y="0"/>
                      <a:pt x="40" y="0"/>
                    </a:cubicBezTo>
                    <a:lnTo>
                      <a:pt x="168" y="0"/>
                    </a:lnTo>
                    <a:close/>
                    <a:moveTo>
                      <a:pt x="32" y="192"/>
                    </a:moveTo>
                    <a:cubicBezTo>
                      <a:pt x="8" y="192"/>
                      <a:pt x="8" y="192"/>
                      <a:pt x="8" y="192"/>
                    </a:cubicBezTo>
                    <a:cubicBezTo>
                      <a:pt x="8" y="216"/>
                      <a:pt x="8" y="216"/>
                      <a:pt x="8" y="216"/>
                    </a:cubicBezTo>
                    <a:cubicBezTo>
                      <a:pt x="32" y="216"/>
                      <a:pt x="32" y="216"/>
                      <a:pt x="32" y="216"/>
                    </a:cubicBezTo>
                    <a:lnTo>
                      <a:pt x="32" y="192"/>
                    </a:lnTo>
                    <a:close/>
                    <a:moveTo>
                      <a:pt x="116" y="192"/>
                    </a:moveTo>
                    <a:cubicBezTo>
                      <a:pt x="92" y="192"/>
                      <a:pt x="92" y="192"/>
                      <a:pt x="92" y="192"/>
                    </a:cubicBezTo>
                    <a:cubicBezTo>
                      <a:pt x="92" y="216"/>
                      <a:pt x="92" y="216"/>
                      <a:pt x="92" y="216"/>
                    </a:cubicBezTo>
                    <a:cubicBezTo>
                      <a:pt x="116" y="216"/>
                      <a:pt x="116" y="216"/>
                      <a:pt x="116" y="216"/>
                    </a:cubicBezTo>
                    <a:lnTo>
                      <a:pt x="116" y="192"/>
                    </a:lnTo>
                    <a:close/>
                    <a:moveTo>
                      <a:pt x="200" y="192"/>
                    </a:moveTo>
                    <a:cubicBezTo>
                      <a:pt x="176" y="192"/>
                      <a:pt x="176" y="192"/>
                      <a:pt x="176" y="192"/>
                    </a:cubicBezTo>
                    <a:cubicBezTo>
                      <a:pt x="176" y="216"/>
                      <a:pt x="176" y="216"/>
                      <a:pt x="176" y="216"/>
                    </a:cubicBezTo>
                    <a:cubicBezTo>
                      <a:pt x="200" y="216"/>
                      <a:pt x="200" y="216"/>
                      <a:pt x="200" y="216"/>
                    </a:cubicBezTo>
                    <a:lnTo>
                      <a:pt x="200" y="192"/>
                    </a:lnTo>
                    <a:close/>
                    <a:moveTo>
                      <a:pt x="160" y="8"/>
                    </a:moveTo>
                    <a:cubicBezTo>
                      <a:pt x="48" y="8"/>
                      <a:pt x="48" y="8"/>
                      <a:pt x="48" y="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160" y="60"/>
                      <a:pt x="160" y="60"/>
                      <a:pt x="160" y="60"/>
                    </a:cubicBezTo>
                    <a:lnTo>
                      <a:pt x="160" y="8"/>
                    </a:lnTo>
                    <a:close/>
                    <a:moveTo>
                      <a:pt x="66" y="36"/>
                    </a:moveTo>
                    <a:cubicBezTo>
                      <a:pt x="69" y="36"/>
                      <a:pt x="72" y="39"/>
                      <a:pt x="72" y="42"/>
                    </a:cubicBezTo>
                    <a:cubicBezTo>
                      <a:pt x="72" y="45"/>
                      <a:pt x="69" y="48"/>
                      <a:pt x="66" y="48"/>
                    </a:cubicBezTo>
                    <a:cubicBezTo>
                      <a:pt x="63" y="48"/>
                      <a:pt x="60" y="45"/>
                      <a:pt x="60" y="42"/>
                    </a:cubicBezTo>
                    <a:cubicBezTo>
                      <a:pt x="60" y="39"/>
                      <a:pt x="63" y="36"/>
                      <a:pt x="66" y="3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</p:grpSp>
        <p:grpSp>
          <p:nvGrpSpPr>
            <p:cNvPr id="131" name="îSlïḓé">
              <a:extLst>
                <a:ext uri="{FF2B5EF4-FFF2-40B4-BE49-F238E27FC236}">
                  <a16:creationId xmlns:a16="http://schemas.microsoft.com/office/drawing/2014/main" id="{822F018B-3F63-4841-A7FC-371337F13CEB}"/>
                </a:ext>
              </a:extLst>
            </p:cNvPr>
            <p:cNvGrpSpPr/>
            <p:nvPr/>
          </p:nvGrpSpPr>
          <p:grpSpPr>
            <a:xfrm>
              <a:off x="7578689" y="3929423"/>
              <a:ext cx="651934" cy="651934"/>
              <a:chOff x="7271580" y="3929423"/>
              <a:chExt cx="651934" cy="651934"/>
            </a:xfrm>
          </p:grpSpPr>
          <p:sp>
            <p:nvSpPr>
              <p:cNvPr id="147" name="íṧļîḋê">
                <a:extLst>
                  <a:ext uri="{FF2B5EF4-FFF2-40B4-BE49-F238E27FC236}">
                    <a16:creationId xmlns:a16="http://schemas.microsoft.com/office/drawing/2014/main" id="{B5E3A01B-BFEC-408E-A2BD-4175803598DB}"/>
                  </a:ext>
                </a:extLst>
              </p:cNvPr>
              <p:cNvSpPr/>
              <p:nvPr/>
            </p:nvSpPr>
            <p:spPr bwMode="auto">
              <a:xfrm>
                <a:off x="7271580" y="3929423"/>
                <a:ext cx="651934" cy="651934"/>
              </a:xfrm>
              <a:prstGeom prst="ellipse">
                <a:avLst/>
              </a:prstGeom>
              <a:solidFill>
                <a:schemeClr val="bg2"/>
              </a:solidFill>
              <a:ln w="19050">
                <a:noFill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145" name="ïsľïďê">
                <a:extLst>
                  <a:ext uri="{FF2B5EF4-FFF2-40B4-BE49-F238E27FC236}">
                    <a16:creationId xmlns:a16="http://schemas.microsoft.com/office/drawing/2014/main" id="{BBB5D9B3-BB05-4097-9042-B916D10F885F}"/>
                  </a:ext>
                </a:extLst>
              </p:cNvPr>
              <p:cNvSpPr/>
              <p:nvPr/>
            </p:nvSpPr>
            <p:spPr bwMode="auto">
              <a:xfrm>
                <a:off x="7394583" y="4082473"/>
                <a:ext cx="405930" cy="345834"/>
              </a:xfrm>
              <a:custGeom>
                <a:avLst/>
                <a:gdLst>
                  <a:gd name="T0" fmla="*/ 332 w 358"/>
                  <a:gd name="T1" fmla="*/ 0 h 305"/>
                  <a:gd name="T2" fmla="*/ 332 w 358"/>
                  <a:gd name="T3" fmla="*/ 91 h 305"/>
                  <a:gd name="T4" fmla="*/ 358 w 358"/>
                  <a:gd name="T5" fmla="*/ 91 h 305"/>
                  <a:gd name="T6" fmla="*/ 345 w 358"/>
                  <a:gd name="T7" fmla="*/ 272 h 305"/>
                  <a:gd name="T8" fmla="*/ 306 w 358"/>
                  <a:gd name="T9" fmla="*/ 272 h 305"/>
                  <a:gd name="T10" fmla="*/ 306 w 358"/>
                  <a:gd name="T11" fmla="*/ 305 h 305"/>
                  <a:gd name="T12" fmla="*/ 294 w 358"/>
                  <a:gd name="T13" fmla="*/ 305 h 305"/>
                  <a:gd name="T14" fmla="*/ 294 w 358"/>
                  <a:gd name="T15" fmla="*/ 272 h 305"/>
                  <a:gd name="T16" fmla="*/ 64 w 358"/>
                  <a:gd name="T17" fmla="*/ 272 h 305"/>
                  <a:gd name="T18" fmla="*/ 64 w 358"/>
                  <a:gd name="T19" fmla="*/ 305 h 305"/>
                  <a:gd name="T20" fmla="*/ 51 w 358"/>
                  <a:gd name="T21" fmla="*/ 305 h 305"/>
                  <a:gd name="T22" fmla="*/ 51 w 358"/>
                  <a:gd name="T23" fmla="*/ 272 h 305"/>
                  <a:gd name="T24" fmla="*/ 13 w 358"/>
                  <a:gd name="T25" fmla="*/ 272 h 305"/>
                  <a:gd name="T26" fmla="*/ 0 w 358"/>
                  <a:gd name="T27" fmla="*/ 91 h 305"/>
                  <a:gd name="T28" fmla="*/ 32 w 358"/>
                  <a:gd name="T29" fmla="*/ 91 h 305"/>
                  <a:gd name="T30" fmla="*/ 32 w 358"/>
                  <a:gd name="T31" fmla="*/ 0 h 305"/>
                  <a:gd name="T32" fmla="*/ 332 w 358"/>
                  <a:gd name="T33" fmla="*/ 0 h 305"/>
                  <a:gd name="T34" fmla="*/ 59 w 358"/>
                  <a:gd name="T35" fmla="*/ 104 h 305"/>
                  <a:gd name="T36" fmla="*/ 13 w 358"/>
                  <a:gd name="T37" fmla="*/ 104 h 305"/>
                  <a:gd name="T38" fmla="*/ 26 w 358"/>
                  <a:gd name="T39" fmla="*/ 259 h 305"/>
                  <a:gd name="T40" fmla="*/ 332 w 358"/>
                  <a:gd name="T41" fmla="*/ 259 h 305"/>
                  <a:gd name="T42" fmla="*/ 345 w 358"/>
                  <a:gd name="T43" fmla="*/ 104 h 305"/>
                  <a:gd name="T44" fmla="*/ 298 w 358"/>
                  <a:gd name="T45" fmla="*/ 104 h 305"/>
                  <a:gd name="T46" fmla="*/ 279 w 358"/>
                  <a:gd name="T47" fmla="*/ 208 h 305"/>
                  <a:gd name="T48" fmla="*/ 78 w 358"/>
                  <a:gd name="T49" fmla="*/ 208 h 305"/>
                  <a:gd name="T50" fmla="*/ 59 w 358"/>
                  <a:gd name="T51" fmla="*/ 104 h 305"/>
                  <a:gd name="T52" fmla="*/ 319 w 358"/>
                  <a:gd name="T53" fmla="*/ 13 h 305"/>
                  <a:gd name="T54" fmla="*/ 45 w 358"/>
                  <a:gd name="T55" fmla="*/ 13 h 305"/>
                  <a:gd name="T56" fmla="*/ 45 w 358"/>
                  <a:gd name="T57" fmla="*/ 91 h 305"/>
                  <a:gd name="T58" fmla="*/ 69 w 358"/>
                  <a:gd name="T59" fmla="*/ 91 h 305"/>
                  <a:gd name="T60" fmla="*/ 88 w 358"/>
                  <a:gd name="T61" fmla="*/ 195 h 305"/>
                  <a:gd name="T62" fmla="*/ 270 w 358"/>
                  <a:gd name="T63" fmla="*/ 195 h 305"/>
                  <a:gd name="T64" fmla="*/ 289 w 358"/>
                  <a:gd name="T65" fmla="*/ 91 h 305"/>
                  <a:gd name="T66" fmla="*/ 319 w 358"/>
                  <a:gd name="T67" fmla="*/ 91 h 305"/>
                  <a:gd name="T68" fmla="*/ 319 w 358"/>
                  <a:gd name="T69" fmla="*/ 13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58" h="305">
                    <a:moveTo>
                      <a:pt x="332" y="0"/>
                    </a:moveTo>
                    <a:lnTo>
                      <a:pt x="332" y="91"/>
                    </a:lnTo>
                    <a:lnTo>
                      <a:pt x="358" y="91"/>
                    </a:lnTo>
                    <a:lnTo>
                      <a:pt x="345" y="272"/>
                    </a:lnTo>
                    <a:lnTo>
                      <a:pt x="306" y="272"/>
                    </a:lnTo>
                    <a:lnTo>
                      <a:pt x="306" y="305"/>
                    </a:lnTo>
                    <a:lnTo>
                      <a:pt x="294" y="305"/>
                    </a:lnTo>
                    <a:lnTo>
                      <a:pt x="294" y="272"/>
                    </a:lnTo>
                    <a:lnTo>
                      <a:pt x="64" y="272"/>
                    </a:lnTo>
                    <a:lnTo>
                      <a:pt x="64" y="305"/>
                    </a:lnTo>
                    <a:lnTo>
                      <a:pt x="51" y="305"/>
                    </a:lnTo>
                    <a:lnTo>
                      <a:pt x="51" y="272"/>
                    </a:lnTo>
                    <a:lnTo>
                      <a:pt x="13" y="272"/>
                    </a:lnTo>
                    <a:lnTo>
                      <a:pt x="0" y="91"/>
                    </a:lnTo>
                    <a:lnTo>
                      <a:pt x="32" y="91"/>
                    </a:lnTo>
                    <a:lnTo>
                      <a:pt x="32" y="0"/>
                    </a:lnTo>
                    <a:lnTo>
                      <a:pt x="332" y="0"/>
                    </a:lnTo>
                    <a:close/>
                    <a:moveTo>
                      <a:pt x="59" y="104"/>
                    </a:moveTo>
                    <a:lnTo>
                      <a:pt x="13" y="104"/>
                    </a:lnTo>
                    <a:lnTo>
                      <a:pt x="26" y="259"/>
                    </a:lnTo>
                    <a:lnTo>
                      <a:pt x="332" y="259"/>
                    </a:lnTo>
                    <a:lnTo>
                      <a:pt x="345" y="104"/>
                    </a:lnTo>
                    <a:lnTo>
                      <a:pt x="298" y="104"/>
                    </a:lnTo>
                    <a:lnTo>
                      <a:pt x="279" y="208"/>
                    </a:lnTo>
                    <a:lnTo>
                      <a:pt x="78" y="208"/>
                    </a:lnTo>
                    <a:lnTo>
                      <a:pt x="59" y="104"/>
                    </a:lnTo>
                    <a:close/>
                    <a:moveTo>
                      <a:pt x="319" y="13"/>
                    </a:moveTo>
                    <a:lnTo>
                      <a:pt x="45" y="13"/>
                    </a:lnTo>
                    <a:lnTo>
                      <a:pt x="45" y="91"/>
                    </a:lnTo>
                    <a:lnTo>
                      <a:pt x="69" y="91"/>
                    </a:lnTo>
                    <a:lnTo>
                      <a:pt x="88" y="195"/>
                    </a:lnTo>
                    <a:lnTo>
                      <a:pt x="270" y="195"/>
                    </a:lnTo>
                    <a:lnTo>
                      <a:pt x="289" y="91"/>
                    </a:lnTo>
                    <a:lnTo>
                      <a:pt x="319" y="91"/>
                    </a:lnTo>
                    <a:lnTo>
                      <a:pt x="319" y="13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</p:grpSp>
        <p:grpSp>
          <p:nvGrpSpPr>
            <p:cNvPr id="132" name="iṧḻíḍe">
              <a:extLst>
                <a:ext uri="{FF2B5EF4-FFF2-40B4-BE49-F238E27FC236}">
                  <a16:creationId xmlns:a16="http://schemas.microsoft.com/office/drawing/2014/main" id="{491CE923-A90F-48B5-A5A4-7FA116671D06}"/>
                </a:ext>
              </a:extLst>
            </p:cNvPr>
            <p:cNvGrpSpPr/>
            <p:nvPr/>
          </p:nvGrpSpPr>
          <p:grpSpPr>
            <a:xfrm>
              <a:off x="3981204" y="3931045"/>
              <a:ext cx="651934" cy="651934"/>
              <a:chOff x="4252996" y="3931045"/>
              <a:chExt cx="651934" cy="651934"/>
            </a:xfrm>
          </p:grpSpPr>
          <p:sp>
            <p:nvSpPr>
              <p:cNvPr id="142" name="iŝḷïḍe">
                <a:extLst>
                  <a:ext uri="{FF2B5EF4-FFF2-40B4-BE49-F238E27FC236}">
                    <a16:creationId xmlns:a16="http://schemas.microsoft.com/office/drawing/2014/main" id="{D7BEEA43-25CD-4FDC-8E99-DC5A6677FAF0}"/>
                  </a:ext>
                </a:extLst>
              </p:cNvPr>
              <p:cNvSpPr/>
              <p:nvPr/>
            </p:nvSpPr>
            <p:spPr bwMode="auto">
              <a:xfrm>
                <a:off x="4252996" y="3931045"/>
                <a:ext cx="651934" cy="651934"/>
              </a:xfrm>
              <a:prstGeom prst="ellipse">
                <a:avLst/>
              </a:prstGeom>
              <a:solidFill>
                <a:schemeClr val="bg2"/>
              </a:solidFill>
              <a:ln w="19050">
                <a:noFill/>
                <a:round/>
                <a:headEnd/>
                <a:tailEnd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143" name="iŝļïḋê">
                <a:extLst>
                  <a:ext uri="{FF2B5EF4-FFF2-40B4-BE49-F238E27FC236}">
                    <a16:creationId xmlns:a16="http://schemas.microsoft.com/office/drawing/2014/main" id="{FC761302-6903-4F4B-A3BE-3A66812854B3}"/>
                  </a:ext>
                </a:extLst>
              </p:cNvPr>
              <p:cNvSpPr/>
              <p:nvPr/>
            </p:nvSpPr>
            <p:spPr bwMode="auto">
              <a:xfrm>
                <a:off x="4403064" y="4110183"/>
                <a:ext cx="351800" cy="293658"/>
              </a:xfrm>
              <a:custGeom>
                <a:avLst/>
                <a:gdLst>
                  <a:gd name="T0" fmla="*/ 224 w 224"/>
                  <a:gd name="T1" fmla="*/ 0 h 184"/>
                  <a:gd name="T2" fmla="*/ 224 w 224"/>
                  <a:gd name="T3" fmla="*/ 156 h 184"/>
                  <a:gd name="T4" fmla="*/ 86 w 224"/>
                  <a:gd name="T5" fmla="*/ 156 h 184"/>
                  <a:gd name="T6" fmla="*/ 48 w 224"/>
                  <a:gd name="T7" fmla="*/ 184 h 184"/>
                  <a:gd name="T8" fmla="*/ 48 w 224"/>
                  <a:gd name="T9" fmla="*/ 156 h 184"/>
                  <a:gd name="T10" fmla="*/ 0 w 224"/>
                  <a:gd name="T11" fmla="*/ 156 h 184"/>
                  <a:gd name="T12" fmla="*/ 0 w 224"/>
                  <a:gd name="T13" fmla="*/ 0 h 184"/>
                  <a:gd name="T14" fmla="*/ 224 w 224"/>
                  <a:gd name="T15" fmla="*/ 0 h 184"/>
                  <a:gd name="T16" fmla="*/ 216 w 224"/>
                  <a:gd name="T17" fmla="*/ 8 h 184"/>
                  <a:gd name="T18" fmla="*/ 8 w 224"/>
                  <a:gd name="T19" fmla="*/ 8 h 184"/>
                  <a:gd name="T20" fmla="*/ 8 w 224"/>
                  <a:gd name="T21" fmla="*/ 148 h 184"/>
                  <a:gd name="T22" fmla="*/ 56 w 224"/>
                  <a:gd name="T23" fmla="*/ 148 h 184"/>
                  <a:gd name="T24" fmla="*/ 56 w 224"/>
                  <a:gd name="T25" fmla="*/ 168 h 184"/>
                  <a:gd name="T26" fmla="*/ 83 w 224"/>
                  <a:gd name="T27" fmla="*/ 148 h 184"/>
                  <a:gd name="T28" fmla="*/ 216 w 224"/>
                  <a:gd name="T29" fmla="*/ 148 h 184"/>
                  <a:gd name="T30" fmla="*/ 216 w 224"/>
                  <a:gd name="T31" fmla="*/ 8 h 184"/>
                  <a:gd name="T32" fmla="*/ 56 w 224"/>
                  <a:gd name="T33" fmla="*/ 60 h 184"/>
                  <a:gd name="T34" fmla="*/ 74 w 224"/>
                  <a:gd name="T35" fmla="*/ 78 h 184"/>
                  <a:gd name="T36" fmla="*/ 56 w 224"/>
                  <a:gd name="T37" fmla="*/ 96 h 184"/>
                  <a:gd name="T38" fmla="*/ 38 w 224"/>
                  <a:gd name="T39" fmla="*/ 78 h 184"/>
                  <a:gd name="T40" fmla="*/ 56 w 224"/>
                  <a:gd name="T41" fmla="*/ 60 h 184"/>
                  <a:gd name="T42" fmla="*/ 112 w 224"/>
                  <a:gd name="T43" fmla="*/ 60 h 184"/>
                  <a:gd name="T44" fmla="*/ 130 w 224"/>
                  <a:gd name="T45" fmla="*/ 78 h 184"/>
                  <a:gd name="T46" fmla="*/ 112 w 224"/>
                  <a:gd name="T47" fmla="*/ 96 h 184"/>
                  <a:gd name="T48" fmla="*/ 94 w 224"/>
                  <a:gd name="T49" fmla="*/ 78 h 184"/>
                  <a:gd name="T50" fmla="*/ 112 w 224"/>
                  <a:gd name="T51" fmla="*/ 60 h 184"/>
                  <a:gd name="T52" fmla="*/ 168 w 224"/>
                  <a:gd name="T53" fmla="*/ 60 h 184"/>
                  <a:gd name="T54" fmla="*/ 186 w 224"/>
                  <a:gd name="T55" fmla="*/ 78 h 184"/>
                  <a:gd name="T56" fmla="*/ 168 w 224"/>
                  <a:gd name="T57" fmla="*/ 96 h 184"/>
                  <a:gd name="T58" fmla="*/ 150 w 224"/>
                  <a:gd name="T59" fmla="*/ 78 h 184"/>
                  <a:gd name="T60" fmla="*/ 168 w 224"/>
                  <a:gd name="T61" fmla="*/ 60 h 184"/>
                  <a:gd name="T62" fmla="*/ 56 w 224"/>
                  <a:gd name="T63" fmla="*/ 68 h 184"/>
                  <a:gd name="T64" fmla="*/ 46 w 224"/>
                  <a:gd name="T65" fmla="*/ 78 h 184"/>
                  <a:gd name="T66" fmla="*/ 56 w 224"/>
                  <a:gd name="T67" fmla="*/ 88 h 184"/>
                  <a:gd name="T68" fmla="*/ 66 w 224"/>
                  <a:gd name="T69" fmla="*/ 78 h 184"/>
                  <a:gd name="T70" fmla="*/ 56 w 224"/>
                  <a:gd name="T71" fmla="*/ 68 h 184"/>
                  <a:gd name="T72" fmla="*/ 112 w 224"/>
                  <a:gd name="T73" fmla="*/ 68 h 184"/>
                  <a:gd name="T74" fmla="*/ 102 w 224"/>
                  <a:gd name="T75" fmla="*/ 78 h 184"/>
                  <a:gd name="T76" fmla="*/ 112 w 224"/>
                  <a:gd name="T77" fmla="*/ 88 h 184"/>
                  <a:gd name="T78" fmla="*/ 122 w 224"/>
                  <a:gd name="T79" fmla="*/ 78 h 184"/>
                  <a:gd name="T80" fmla="*/ 112 w 224"/>
                  <a:gd name="T81" fmla="*/ 68 h 184"/>
                  <a:gd name="T82" fmla="*/ 168 w 224"/>
                  <a:gd name="T83" fmla="*/ 68 h 184"/>
                  <a:gd name="T84" fmla="*/ 158 w 224"/>
                  <a:gd name="T85" fmla="*/ 78 h 184"/>
                  <a:gd name="T86" fmla="*/ 168 w 224"/>
                  <a:gd name="T87" fmla="*/ 88 h 184"/>
                  <a:gd name="T88" fmla="*/ 178 w 224"/>
                  <a:gd name="T89" fmla="*/ 78 h 184"/>
                  <a:gd name="T90" fmla="*/ 168 w 224"/>
                  <a:gd name="T91" fmla="*/ 68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24" h="184">
                    <a:moveTo>
                      <a:pt x="224" y="0"/>
                    </a:moveTo>
                    <a:cubicBezTo>
                      <a:pt x="224" y="156"/>
                      <a:pt x="224" y="156"/>
                      <a:pt x="224" y="156"/>
                    </a:cubicBezTo>
                    <a:cubicBezTo>
                      <a:pt x="86" y="156"/>
                      <a:pt x="86" y="156"/>
                      <a:pt x="86" y="156"/>
                    </a:cubicBezTo>
                    <a:cubicBezTo>
                      <a:pt x="48" y="184"/>
                      <a:pt x="48" y="184"/>
                      <a:pt x="48" y="184"/>
                    </a:cubicBezTo>
                    <a:cubicBezTo>
                      <a:pt x="48" y="156"/>
                      <a:pt x="48" y="156"/>
                      <a:pt x="48" y="156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224" y="0"/>
                    </a:lnTo>
                    <a:close/>
                    <a:moveTo>
                      <a:pt x="216" y="8"/>
                    </a:moveTo>
                    <a:cubicBezTo>
                      <a:pt x="8" y="8"/>
                      <a:pt x="8" y="8"/>
                      <a:pt x="8" y="8"/>
                    </a:cubicBezTo>
                    <a:cubicBezTo>
                      <a:pt x="8" y="148"/>
                      <a:pt x="8" y="148"/>
                      <a:pt x="8" y="148"/>
                    </a:cubicBezTo>
                    <a:cubicBezTo>
                      <a:pt x="56" y="148"/>
                      <a:pt x="56" y="148"/>
                      <a:pt x="56" y="148"/>
                    </a:cubicBezTo>
                    <a:cubicBezTo>
                      <a:pt x="56" y="168"/>
                      <a:pt x="56" y="168"/>
                      <a:pt x="56" y="168"/>
                    </a:cubicBezTo>
                    <a:cubicBezTo>
                      <a:pt x="83" y="148"/>
                      <a:pt x="83" y="148"/>
                      <a:pt x="83" y="148"/>
                    </a:cubicBezTo>
                    <a:cubicBezTo>
                      <a:pt x="216" y="148"/>
                      <a:pt x="216" y="148"/>
                      <a:pt x="216" y="148"/>
                    </a:cubicBezTo>
                    <a:lnTo>
                      <a:pt x="216" y="8"/>
                    </a:lnTo>
                    <a:close/>
                    <a:moveTo>
                      <a:pt x="56" y="60"/>
                    </a:moveTo>
                    <a:cubicBezTo>
                      <a:pt x="66" y="60"/>
                      <a:pt x="74" y="68"/>
                      <a:pt x="74" y="78"/>
                    </a:cubicBezTo>
                    <a:cubicBezTo>
                      <a:pt x="74" y="88"/>
                      <a:pt x="66" y="96"/>
                      <a:pt x="56" y="96"/>
                    </a:cubicBezTo>
                    <a:cubicBezTo>
                      <a:pt x="46" y="96"/>
                      <a:pt x="38" y="88"/>
                      <a:pt x="38" y="78"/>
                    </a:cubicBezTo>
                    <a:cubicBezTo>
                      <a:pt x="38" y="68"/>
                      <a:pt x="46" y="60"/>
                      <a:pt x="56" y="60"/>
                    </a:cubicBezTo>
                    <a:close/>
                    <a:moveTo>
                      <a:pt x="112" y="60"/>
                    </a:moveTo>
                    <a:cubicBezTo>
                      <a:pt x="122" y="60"/>
                      <a:pt x="130" y="68"/>
                      <a:pt x="130" y="78"/>
                    </a:cubicBezTo>
                    <a:cubicBezTo>
                      <a:pt x="130" y="88"/>
                      <a:pt x="122" y="96"/>
                      <a:pt x="112" y="96"/>
                    </a:cubicBezTo>
                    <a:cubicBezTo>
                      <a:pt x="102" y="96"/>
                      <a:pt x="94" y="88"/>
                      <a:pt x="94" y="78"/>
                    </a:cubicBezTo>
                    <a:cubicBezTo>
                      <a:pt x="94" y="68"/>
                      <a:pt x="102" y="60"/>
                      <a:pt x="112" y="60"/>
                    </a:cubicBezTo>
                    <a:close/>
                    <a:moveTo>
                      <a:pt x="168" y="60"/>
                    </a:moveTo>
                    <a:cubicBezTo>
                      <a:pt x="178" y="60"/>
                      <a:pt x="186" y="68"/>
                      <a:pt x="186" y="78"/>
                    </a:cubicBezTo>
                    <a:cubicBezTo>
                      <a:pt x="186" y="88"/>
                      <a:pt x="178" y="96"/>
                      <a:pt x="168" y="96"/>
                    </a:cubicBezTo>
                    <a:cubicBezTo>
                      <a:pt x="158" y="96"/>
                      <a:pt x="150" y="88"/>
                      <a:pt x="150" y="78"/>
                    </a:cubicBezTo>
                    <a:cubicBezTo>
                      <a:pt x="150" y="68"/>
                      <a:pt x="158" y="60"/>
                      <a:pt x="168" y="60"/>
                    </a:cubicBezTo>
                    <a:close/>
                    <a:moveTo>
                      <a:pt x="56" y="68"/>
                    </a:moveTo>
                    <a:cubicBezTo>
                      <a:pt x="50" y="68"/>
                      <a:pt x="46" y="72"/>
                      <a:pt x="46" y="78"/>
                    </a:cubicBezTo>
                    <a:cubicBezTo>
                      <a:pt x="46" y="84"/>
                      <a:pt x="50" y="88"/>
                      <a:pt x="56" y="88"/>
                    </a:cubicBezTo>
                    <a:cubicBezTo>
                      <a:pt x="62" y="88"/>
                      <a:pt x="66" y="84"/>
                      <a:pt x="66" y="78"/>
                    </a:cubicBezTo>
                    <a:cubicBezTo>
                      <a:pt x="66" y="72"/>
                      <a:pt x="62" y="68"/>
                      <a:pt x="56" y="68"/>
                    </a:cubicBezTo>
                    <a:close/>
                    <a:moveTo>
                      <a:pt x="112" y="68"/>
                    </a:moveTo>
                    <a:cubicBezTo>
                      <a:pt x="106" y="68"/>
                      <a:pt x="102" y="72"/>
                      <a:pt x="102" y="78"/>
                    </a:cubicBezTo>
                    <a:cubicBezTo>
                      <a:pt x="102" y="84"/>
                      <a:pt x="106" y="88"/>
                      <a:pt x="112" y="88"/>
                    </a:cubicBezTo>
                    <a:cubicBezTo>
                      <a:pt x="118" y="88"/>
                      <a:pt x="122" y="84"/>
                      <a:pt x="122" y="78"/>
                    </a:cubicBezTo>
                    <a:cubicBezTo>
                      <a:pt x="122" y="72"/>
                      <a:pt x="118" y="68"/>
                      <a:pt x="112" y="68"/>
                    </a:cubicBezTo>
                    <a:close/>
                    <a:moveTo>
                      <a:pt x="168" y="68"/>
                    </a:moveTo>
                    <a:cubicBezTo>
                      <a:pt x="162" y="68"/>
                      <a:pt x="158" y="72"/>
                      <a:pt x="158" y="78"/>
                    </a:cubicBezTo>
                    <a:cubicBezTo>
                      <a:pt x="158" y="84"/>
                      <a:pt x="162" y="88"/>
                      <a:pt x="168" y="88"/>
                    </a:cubicBezTo>
                    <a:cubicBezTo>
                      <a:pt x="174" y="88"/>
                      <a:pt x="178" y="84"/>
                      <a:pt x="178" y="78"/>
                    </a:cubicBezTo>
                    <a:cubicBezTo>
                      <a:pt x="178" y="72"/>
                      <a:pt x="174" y="68"/>
                      <a:pt x="168" y="68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</p:grpSp>
        <p:sp>
          <p:nvSpPr>
            <p:cNvPr id="133" name="îS1ide">
              <a:extLst>
                <a:ext uri="{FF2B5EF4-FFF2-40B4-BE49-F238E27FC236}">
                  <a16:creationId xmlns:a16="http://schemas.microsoft.com/office/drawing/2014/main" id="{957E303F-276E-46C9-A59A-2C0C6E237909}"/>
                </a:ext>
              </a:extLst>
            </p:cNvPr>
            <p:cNvSpPr txBox="1"/>
            <p:nvPr/>
          </p:nvSpPr>
          <p:spPr bwMode="auto">
            <a:xfrm>
              <a:off x="8265941" y="3892454"/>
              <a:ext cx="2980800" cy="340735"/>
            </a:xfrm>
            <a:prstGeom prst="rect">
              <a:avLst/>
            </a:prstGeom>
            <a:noFill/>
          </p:spPr>
          <p:txBody>
            <a:bodyPr wrap="non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latinLnBrk="0"/>
              <a:r>
                <a:rPr lang="en-US" altLang="zh-CN" sz="1600" b="1" dirty="0">
                  <a:effectLst/>
                </a:rPr>
                <a:t>Text here</a:t>
              </a:r>
              <a:endParaRPr lang="zh-CN" altLang="en-US" sz="1600" b="1" dirty="0">
                <a:effectLst/>
              </a:endParaRPr>
            </a:p>
          </p:txBody>
        </p:sp>
        <p:sp>
          <p:nvSpPr>
            <p:cNvPr id="134" name="îs1ïḋé">
              <a:extLst>
                <a:ext uri="{FF2B5EF4-FFF2-40B4-BE49-F238E27FC236}">
                  <a16:creationId xmlns:a16="http://schemas.microsoft.com/office/drawing/2014/main" id="{B4F47B8A-8100-468C-A691-5098E1C1247C}"/>
                </a:ext>
              </a:extLst>
            </p:cNvPr>
            <p:cNvSpPr txBox="1"/>
            <p:nvPr/>
          </p:nvSpPr>
          <p:spPr bwMode="auto">
            <a:xfrm>
              <a:off x="8265939" y="4233187"/>
              <a:ext cx="2980800" cy="892800"/>
            </a:xfrm>
            <a:prstGeom prst="rect">
              <a:avLst/>
            </a:prstGeom>
            <a:noFill/>
          </p:spPr>
          <p:txBody>
            <a:bodyPr wrap="squar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lnSpc>
                  <a:spcPct val="17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000" dirty="0"/>
                <a:t>Supporting text here.</a:t>
              </a:r>
              <a:endParaRPr lang="zh-CN" altLang="en-US" sz="1000" dirty="0"/>
            </a:p>
            <a:p>
              <a:pPr marL="171450" indent="-171450">
                <a:lnSpc>
                  <a:spcPct val="17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000" dirty="0"/>
                <a:t>When you copy &amp; paste, choose "keep text only" option.</a:t>
              </a:r>
              <a:endParaRPr lang="zh-CN" altLang="en-US" sz="1000" dirty="0"/>
            </a:p>
          </p:txBody>
        </p:sp>
        <p:sp>
          <p:nvSpPr>
            <p:cNvPr id="135" name="íṥḻíḓè">
              <a:extLst>
                <a:ext uri="{FF2B5EF4-FFF2-40B4-BE49-F238E27FC236}">
                  <a16:creationId xmlns:a16="http://schemas.microsoft.com/office/drawing/2014/main" id="{2B8BAAAB-2C47-4894-BC7A-D8A2315A7728}"/>
                </a:ext>
              </a:extLst>
            </p:cNvPr>
            <p:cNvSpPr txBox="1"/>
            <p:nvPr/>
          </p:nvSpPr>
          <p:spPr bwMode="auto">
            <a:xfrm>
              <a:off x="8258724" y="2276872"/>
              <a:ext cx="2980800" cy="340735"/>
            </a:xfrm>
            <a:prstGeom prst="rect">
              <a:avLst/>
            </a:prstGeom>
            <a:noFill/>
          </p:spPr>
          <p:txBody>
            <a:bodyPr wrap="non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latinLnBrk="0"/>
              <a:r>
                <a:rPr lang="en-US" altLang="zh-CN" sz="1600" b="1" dirty="0">
                  <a:effectLst/>
                </a:rPr>
                <a:t>Text here</a:t>
              </a:r>
              <a:endParaRPr lang="zh-CN" altLang="en-US" sz="1600" b="1" dirty="0">
                <a:effectLst/>
              </a:endParaRPr>
            </a:p>
          </p:txBody>
        </p:sp>
        <p:sp>
          <p:nvSpPr>
            <p:cNvPr id="136" name="îsḻiďé">
              <a:extLst>
                <a:ext uri="{FF2B5EF4-FFF2-40B4-BE49-F238E27FC236}">
                  <a16:creationId xmlns:a16="http://schemas.microsoft.com/office/drawing/2014/main" id="{0D6FAA4D-FD74-4AA3-A5A6-BA90FB8F03E3}"/>
                </a:ext>
              </a:extLst>
            </p:cNvPr>
            <p:cNvSpPr txBox="1"/>
            <p:nvPr/>
          </p:nvSpPr>
          <p:spPr bwMode="auto">
            <a:xfrm>
              <a:off x="8258722" y="2617605"/>
              <a:ext cx="2980800" cy="892800"/>
            </a:xfrm>
            <a:prstGeom prst="rect">
              <a:avLst/>
            </a:prstGeom>
            <a:noFill/>
          </p:spPr>
          <p:txBody>
            <a:bodyPr wrap="squar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lnSpc>
                  <a:spcPct val="17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000" dirty="0"/>
                <a:t>Supporting text here.</a:t>
              </a:r>
              <a:endParaRPr lang="zh-CN" altLang="en-US" sz="1000" dirty="0"/>
            </a:p>
            <a:p>
              <a:pPr marL="171450" indent="-171450">
                <a:lnSpc>
                  <a:spcPct val="17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000" dirty="0"/>
                <a:t>When you copy &amp; paste, choose "keep text only" option.</a:t>
              </a:r>
              <a:endParaRPr lang="zh-CN" altLang="en-US" sz="1000" dirty="0"/>
            </a:p>
          </p:txBody>
        </p:sp>
        <p:sp>
          <p:nvSpPr>
            <p:cNvPr id="137" name="iṩlîḑè">
              <a:extLst>
                <a:ext uri="{FF2B5EF4-FFF2-40B4-BE49-F238E27FC236}">
                  <a16:creationId xmlns:a16="http://schemas.microsoft.com/office/drawing/2014/main" id="{32D93DB6-29D0-4F01-8C38-AF03B2384D1A}"/>
                </a:ext>
              </a:extLst>
            </p:cNvPr>
            <p:cNvSpPr txBox="1"/>
            <p:nvPr/>
          </p:nvSpPr>
          <p:spPr bwMode="auto">
            <a:xfrm>
              <a:off x="966000" y="3892454"/>
              <a:ext cx="2979889" cy="340735"/>
            </a:xfrm>
            <a:prstGeom prst="rect">
              <a:avLst/>
            </a:prstGeom>
            <a:noFill/>
          </p:spPr>
          <p:txBody>
            <a:bodyPr wrap="non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latinLnBrk="0"/>
              <a:r>
                <a:rPr lang="en-US" altLang="zh-CN" sz="1600" b="1" dirty="0">
                  <a:effectLst/>
                </a:rPr>
                <a:t>Text here</a:t>
              </a:r>
              <a:endParaRPr lang="zh-CN" altLang="en-US" sz="1600" b="1" dirty="0">
                <a:effectLst/>
              </a:endParaRPr>
            </a:p>
          </p:txBody>
        </p:sp>
        <p:sp>
          <p:nvSpPr>
            <p:cNvPr id="138" name="íşḻíḍê">
              <a:extLst>
                <a:ext uri="{FF2B5EF4-FFF2-40B4-BE49-F238E27FC236}">
                  <a16:creationId xmlns:a16="http://schemas.microsoft.com/office/drawing/2014/main" id="{623386A0-38A5-4F1C-8AB9-00D4E6D5915A}"/>
                </a:ext>
              </a:extLst>
            </p:cNvPr>
            <p:cNvSpPr txBox="1"/>
            <p:nvPr/>
          </p:nvSpPr>
          <p:spPr bwMode="auto">
            <a:xfrm>
              <a:off x="966000" y="4233188"/>
              <a:ext cx="2979888" cy="893023"/>
            </a:xfrm>
            <a:prstGeom prst="rect">
              <a:avLst/>
            </a:prstGeom>
            <a:noFill/>
          </p:spPr>
          <p:txBody>
            <a:bodyPr wrap="squar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 algn="r">
                <a:lnSpc>
                  <a:spcPct val="17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000" dirty="0"/>
                <a:t>Supporting text here.</a:t>
              </a:r>
              <a:endParaRPr lang="zh-CN" altLang="en-US" sz="1000" dirty="0"/>
            </a:p>
            <a:p>
              <a:pPr marL="171450" indent="-171450" algn="r">
                <a:lnSpc>
                  <a:spcPct val="17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000" dirty="0"/>
                <a:t>When you copy &amp; paste, choose "keep text only" option.</a:t>
              </a:r>
              <a:endParaRPr lang="zh-CN" altLang="en-US" sz="1000" dirty="0"/>
            </a:p>
          </p:txBody>
        </p:sp>
        <p:sp>
          <p:nvSpPr>
            <p:cNvPr id="139" name="ï$ľîḓé">
              <a:extLst>
                <a:ext uri="{FF2B5EF4-FFF2-40B4-BE49-F238E27FC236}">
                  <a16:creationId xmlns:a16="http://schemas.microsoft.com/office/drawing/2014/main" id="{331C2BC9-0027-4BC8-AA50-09E08540F3C0}"/>
                </a:ext>
              </a:extLst>
            </p:cNvPr>
            <p:cNvSpPr txBox="1"/>
            <p:nvPr/>
          </p:nvSpPr>
          <p:spPr bwMode="auto">
            <a:xfrm>
              <a:off x="966000" y="2276872"/>
              <a:ext cx="2979889" cy="340735"/>
            </a:xfrm>
            <a:prstGeom prst="rect">
              <a:avLst/>
            </a:prstGeom>
            <a:noFill/>
          </p:spPr>
          <p:txBody>
            <a:bodyPr wrap="non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latinLnBrk="0"/>
              <a:r>
                <a:rPr lang="en-US" altLang="zh-CN" sz="1600" b="1" dirty="0">
                  <a:solidFill>
                    <a:schemeClr val="accent2"/>
                  </a:solidFill>
                  <a:effectLst/>
                </a:rPr>
                <a:t>Text here</a:t>
              </a:r>
              <a:endParaRPr lang="zh-CN" altLang="en-US" sz="1600" b="1" dirty="0">
                <a:solidFill>
                  <a:schemeClr val="accent2"/>
                </a:solidFill>
                <a:effectLst/>
              </a:endParaRPr>
            </a:p>
          </p:txBody>
        </p:sp>
        <p:sp>
          <p:nvSpPr>
            <p:cNvPr id="140" name="isľíḑê">
              <a:extLst>
                <a:ext uri="{FF2B5EF4-FFF2-40B4-BE49-F238E27FC236}">
                  <a16:creationId xmlns:a16="http://schemas.microsoft.com/office/drawing/2014/main" id="{B023FE87-501F-4069-8AFD-F6C01184E8E6}"/>
                </a:ext>
              </a:extLst>
            </p:cNvPr>
            <p:cNvSpPr txBox="1"/>
            <p:nvPr/>
          </p:nvSpPr>
          <p:spPr bwMode="auto">
            <a:xfrm>
              <a:off x="966000" y="2617606"/>
              <a:ext cx="2979888" cy="893023"/>
            </a:xfrm>
            <a:prstGeom prst="rect">
              <a:avLst/>
            </a:prstGeom>
            <a:noFill/>
          </p:spPr>
          <p:txBody>
            <a:bodyPr wrap="squar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 algn="r">
                <a:lnSpc>
                  <a:spcPct val="17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accent2"/>
                  </a:solidFill>
                </a:rPr>
                <a:t>Supporting text here.</a:t>
              </a:r>
              <a:endParaRPr lang="zh-CN" altLang="en-US" sz="1000" dirty="0">
                <a:solidFill>
                  <a:schemeClr val="accent2"/>
                </a:solidFill>
              </a:endParaRPr>
            </a:p>
            <a:p>
              <a:pPr marL="171450" indent="-171450" algn="r">
                <a:lnSpc>
                  <a:spcPct val="17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accent2"/>
                  </a:solidFill>
                </a:rPr>
                <a:t>When you copy &amp; paste, choose "keep text only" option.</a:t>
              </a:r>
              <a:endParaRPr lang="zh-CN" altLang="en-US" sz="1000" dirty="0">
                <a:solidFill>
                  <a:schemeClr val="accent2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606382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ISLIDE.THEME" val="225bf695-daa2-4759-97b7-6398e4bba18c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84;#438782;#438780;#438777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84;#438783;#438781;#438780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82;#438784;#438783;#438781;#438780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84;#438783;#438781;#438780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84;#438782;#438780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84;#438782;#438782;#438782;#438780;#438781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84;#438782;#438780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80;#438783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83;#438780;#438776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84;#438783;#438782;#438781;#438780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#186220;#186256;#186220;#186256;#186263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47998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4932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82;#438780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5982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55858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83;#438781;#438780;#438777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84;#438781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82;#438780;#438778;#438776;#438777;#438781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83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84;#438783;#438781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84;#438782;#438780;#438777;"/>
</p:tagLst>
</file>

<file path=ppt/theme/theme1.xml><?xml version="1.0" encoding="utf-8"?>
<a:theme xmlns:a="http://schemas.openxmlformats.org/drawingml/2006/main" name="主题5">
  <a:themeElements>
    <a:clrScheme name="012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2F2F2F"/>
      </a:accent1>
      <a:accent2>
        <a:srgbClr val="21A966"/>
      </a:accent2>
      <a:accent3>
        <a:srgbClr val="8B8B8B"/>
      </a:accent3>
      <a:accent4>
        <a:srgbClr val="555555"/>
      </a:accent4>
      <a:accent5>
        <a:srgbClr val="C6C6C6"/>
      </a:accent5>
      <a:accent6>
        <a:srgbClr val="A1A1A1"/>
      </a:accent6>
      <a:hlink>
        <a:srgbClr val="2F2F2F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012">
    <a:dk1>
      <a:srgbClr val="000000"/>
    </a:dk1>
    <a:lt1>
      <a:srgbClr val="FFFFFF"/>
    </a:lt1>
    <a:dk2>
      <a:srgbClr val="778495"/>
    </a:dk2>
    <a:lt2>
      <a:srgbClr val="F0F0F0"/>
    </a:lt2>
    <a:accent1>
      <a:srgbClr val="2F2F2F"/>
    </a:accent1>
    <a:accent2>
      <a:srgbClr val="21A966"/>
    </a:accent2>
    <a:accent3>
      <a:srgbClr val="8B8B8B"/>
    </a:accent3>
    <a:accent4>
      <a:srgbClr val="555555"/>
    </a:accent4>
    <a:accent5>
      <a:srgbClr val="C6C6C6"/>
    </a:accent5>
    <a:accent6>
      <a:srgbClr val="A1A1A1"/>
    </a:accent6>
    <a:hlink>
      <a:srgbClr val="2F2F2F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012">
    <a:dk1>
      <a:srgbClr val="000000"/>
    </a:dk1>
    <a:lt1>
      <a:srgbClr val="FFFFFF"/>
    </a:lt1>
    <a:dk2>
      <a:srgbClr val="778495"/>
    </a:dk2>
    <a:lt2>
      <a:srgbClr val="F0F0F0"/>
    </a:lt2>
    <a:accent1>
      <a:srgbClr val="2F2F2F"/>
    </a:accent1>
    <a:accent2>
      <a:srgbClr val="21A966"/>
    </a:accent2>
    <a:accent3>
      <a:srgbClr val="8B8B8B"/>
    </a:accent3>
    <a:accent4>
      <a:srgbClr val="555555"/>
    </a:accent4>
    <a:accent5>
      <a:srgbClr val="C6C6C6"/>
    </a:accent5>
    <a:accent6>
      <a:srgbClr val="A1A1A1"/>
    </a:accent6>
    <a:hlink>
      <a:srgbClr val="2F2F2F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012">
    <a:dk1>
      <a:srgbClr val="000000"/>
    </a:dk1>
    <a:lt1>
      <a:srgbClr val="FFFFFF"/>
    </a:lt1>
    <a:dk2>
      <a:srgbClr val="778495"/>
    </a:dk2>
    <a:lt2>
      <a:srgbClr val="F0F0F0"/>
    </a:lt2>
    <a:accent1>
      <a:srgbClr val="2F2F2F"/>
    </a:accent1>
    <a:accent2>
      <a:srgbClr val="21A966"/>
    </a:accent2>
    <a:accent3>
      <a:srgbClr val="8B8B8B"/>
    </a:accent3>
    <a:accent4>
      <a:srgbClr val="555555"/>
    </a:accent4>
    <a:accent5>
      <a:srgbClr val="C6C6C6"/>
    </a:accent5>
    <a:accent6>
      <a:srgbClr val="A1A1A1"/>
    </a:accent6>
    <a:hlink>
      <a:srgbClr val="2F2F2F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012">
    <a:dk1>
      <a:srgbClr val="000000"/>
    </a:dk1>
    <a:lt1>
      <a:srgbClr val="FFFFFF"/>
    </a:lt1>
    <a:dk2>
      <a:srgbClr val="778495"/>
    </a:dk2>
    <a:lt2>
      <a:srgbClr val="F0F0F0"/>
    </a:lt2>
    <a:accent1>
      <a:srgbClr val="2F2F2F"/>
    </a:accent1>
    <a:accent2>
      <a:srgbClr val="21A966"/>
    </a:accent2>
    <a:accent3>
      <a:srgbClr val="8B8B8B"/>
    </a:accent3>
    <a:accent4>
      <a:srgbClr val="555555"/>
    </a:accent4>
    <a:accent5>
      <a:srgbClr val="C6C6C6"/>
    </a:accent5>
    <a:accent6>
      <a:srgbClr val="A1A1A1"/>
    </a:accent6>
    <a:hlink>
      <a:srgbClr val="2F2F2F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589</TotalTime>
  <Words>2035</Words>
  <Application>Microsoft Office PowerPoint</Application>
  <PresentationFormat>宽屏</PresentationFormat>
  <Paragraphs>405</Paragraphs>
  <Slides>26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6</vt:i4>
      </vt:variant>
    </vt:vector>
  </HeadingPairs>
  <TitlesOfParts>
    <vt:vector size="34" baseType="lpstr">
      <vt:lpstr>等线</vt:lpstr>
      <vt:lpstr>微软雅黑</vt:lpstr>
      <vt:lpstr>微软雅黑</vt:lpstr>
      <vt:lpstr>Arial</vt:lpstr>
      <vt:lpstr>Arial</vt:lpstr>
      <vt:lpstr>Calibri</vt:lpstr>
      <vt:lpstr>主题5</vt:lpstr>
      <vt:lpstr>think-cell Slide</vt:lpstr>
      <vt:lpstr>福建农林大学 汇报答辩通用模板</vt:lpstr>
      <vt:lpstr>PowerPoint 演示文稿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THANKS And Your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福建农林大学论文答辩PPT模板</dc:title>
  <dc:creator>iSlide</dc:creator>
  <cp:keywords>51PPT模板网（www.51pptmoban.com）</cp:keywords>
  <dc:description>51PPT模板网，幻灯片演示模板及素材免费下载！_x000d_
51PPT模板网 唯一访问网址：www.51pptmoban.com</dc:description>
  <cp:lastModifiedBy>jingtao hu</cp:lastModifiedBy>
  <cp:revision>126</cp:revision>
  <cp:lastPrinted>2017-11-14T16:00:00Z</cp:lastPrinted>
  <dcterms:created xsi:type="dcterms:W3CDTF">2017-11-14T16:00:00Z</dcterms:created>
  <dcterms:modified xsi:type="dcterms:W3CDTF">2024-09-15T02:55:43Z</dcterms:modified>
  <cp:contentStatus>福建农林大学论文答辩PPT模板，www.51pptmoban.com</cp:contentStatus>
  <cp:version>51pptmoban.com（V51PPT-24051301版）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